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2"/>
  </p:notesMasterIdLst>
  <p:sldIdLst>
    <p:sldId id="1834" r:id="rId2"/>
    <p:sldId id="1844" r:id="rId3"/>
    <p:sldId id="331" r:id="rId4"/>
    <p:sldId id="1563" r:id="rId5"/>
    <p:sldId id="1561" r:id="rId6"/>
    <p:sldId id="1845" r:id="rId7"/>
    <p:sldId id="1831" r:id="rId8"/>
    <p:sldId id="1851" r:id="rId9"/>
    <p:sldId id="1841" r:id="rId10"/>
    <p:sldId id="1855" r:id="rId11"/>
    <p:sldId id="1835" r:id="rId12"/>
    <p:sldId id="1836" r:id="rId13"/>
    <p:sldId id="1826" r:id="rId14"/>
    <p:sldId id="1828" r:id="rId15"/>
    <p:sldId id="1838" r:id="rId16"/>
    <p:sldId id="1856" r:id="rId17"/>
    <p:sldId id="1832" r:id="rId18"/>
    <p:sldId id="1857" r:id="rId19"/>
    <p:sldId id="1847" r:id="rId20"/>
    <p:sldId id="1848" r:id="rId2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F4AEC8-6C3C-D194-7A45-3FD09E9C242D}" v="23" dt="2021-04-27T16:57:16.6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8"/>
  </p:normalViewPr>
  <p:slideViewPr>
    <p:cSldViewPr snapToGrid="0">
      <p:cViewPr varScale="1">
        <p:scale>
          <a:sx n="117" d="100"/>
          <a:sy n="117" d="100"/>
        </p:scale>
        <p:origin x="36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öschen, Philipp" userId="S::philipp.boeschen@tui.com::372852c5-74c4-43c7-9655-30fa1716d64a" providerId="AD" clId="Web-{76F4AEC8-6C3C-D194-7A45-3FD09E9C242D}"/>
    <pc:docChg chg="modSld">
      <pc:chgData name="Böschen, Philipp" userId="S::philipp.boeschen@tui.com::372852c5-74c4-43c7-9655-30fa1716d64a" providerId="AD" clId="Web-{76F4AEC8-6C3C-D194-7A45-3FD09E9C242D}" dt="2021-04-27T16:57:15.055" v="13" actId="20577"/>
      <pc:docMkLst>
        <pc:docMk/>
      </pc:docMkLst>
      <pc:sldChg chg="modSp">
        <pc:chgData name="Böschen, Philipp" userId="S::philipp.boeschen@tui.com::372852c5-74c4-43c7-9655-30fa1716d64a" providerId="AD" clId="Web-{76F4AEC8-6C3C-D194-7A45-3FD09E9C242D}" dt="2021-04-27T16:53:30.754" v="6" actId="20577"/>
        <pc:sldMkLst>
          <pc:docMk/>
          <pc:sldMk cId="326527711" sldId="1826"/>
        </pc:sldMkLst>
        <pc:spChg chg="mod">
          <ac:chgData name="Böschen, Philipp" userId="S::philipp.boeschen@tui.com::372852c5-74c4-43c7-9655-30fa1716d64a" providerId="AD" clId="Web-{76F4AEC8-6C3C-D194-7A45-3FD09E9C242D}" dt="2021-04-27T16:53:30.754" v="6" actId="20577"/>
          <ac:spMkLst>
            <pc:docMk/>
            <pc:sldMk cId="326527711" sldId="1826"/>
            <ac:spMk id="3" creationId="{49CFA4C7-B5BC-9241-ADF9-41B3B276E190}"/>
          </ac:spMkLst>
        </pc:spChg>
        <pc:spChg chg="mod">
          <ac:chgData name="Böschen, Philipp" userId="S::philipp.boeschen@tui.com::372852c5-74c4-43c7-9655-30fa1716d64a" providerId="AD" clId="Web-{76F4AEC8-6C3C-D194-7A45-3FD09E9C242D}" dt="2021-04-27T16:53:26.691" v="5" actId="20577"/>
          <ac:spMkLst>
            <pc:docMk/>
            <pc:sldMk cId="326527711" sldId="1826"/>
            <ac:spMk id="15" creationId="{294B3722-33EE-B842-B96F-FA0491B03C58}"/>
          </ac:spMkLst>
        </pc:spChg>
      </pc:sldChg>
      <pc:sldChg chg="modSp">
        <pc:chgData name="Böschen, Philipp" userId="S::philipp.boeschen@tui.com::372852c5-74c4-43c7-9655-30fa1716d64a" providerId="AD" clId="Web-{76F4AEC8-6C3C-D194-7A45-3FD09E9C242D}" dt="2021-04-27T16:53:18.847" v="4" actId="20577"/>
        <pc:sldMkLst>
          <pc:docMk/>
          <pc:sldMk cId="1719646035" sldId="1828"/>
        </pc:sldMkLst>
        <pc:spChg chg="mod">
          <ac:chgData name="Böschen, Philipp" userId="S::philipp.boeschen@tui.com::372852c5-74c4-43c7-9655-30fa1716d64a" providerId="AD" clId="Web-{76F4AEC8-6C3C-D194-7A45-3FD09E9C242D}" dt="2021-04-27T16:53:13.519" v="3" actId="20577"/>
          <ac:spMkLst>
            <pc:docMk/>
            <pc:sldMk cId="1719646035" sldId="1828"/>
            <ac:spMk id="3" creationId="{49CFA4C7-B5BC-9241-ADF9-41B3B276E190}"/>
          </ac:spMkLst>
        </pc:spChg>
        <pc:spChg chg="mod">
          <ac:chgData name="Böschen, Philipp" userId="S::philipp.boeschen@tui.com::372852c5-74c4-43c7-9655-30fa1716d64a" providerId="AD" clId="Web-{76F4AEC8-6C3C-D194-7A45-3FD09E9C242D}" dt="2021-04-27T16:53:18.847" v="4" actId="20577"/>
          <ac:spMkLst>
            <pc:docMk/>
            <pc:sldMk cId="1719646035" sldId="1828"/>
            <ac:spMk id="15" creationId="{294B3722-33EE-B842-B96F-FA0491B03C58}"/>
          </ac:spMkLst>
        </pc:spChg>
      </pc:sldChg>
      <pc:sldChg chg="modSp">
        <pc:chgData name="Böschen, Philipp" userId="S::philipp.boeschen@tui.com::372852c5-74c4-43c7-9655-30fa1716d64a" providerId="AD" clId="Web-{76F4AEC8-6C3C-D194-7A45-3FD09E9C242D}" dt="2021-04-27T16:50:57.094" v="2" actId="1076"/>
        <pc:sldMkLst>
          <pc:docMk/>
          <pc:sldMk cId="2527061778" sldId="1836"/>
        </pc:sldMkLst>
        <pc:spChg chg="mod">
          <ac:chgData name="Böschen, Philipp" userId="S::philipp.boeschen@tui.com::372852c5-74c4-43c7-9655-30fa1716d64a" providerId="AD" clId="Web-{76F4AEC8-6C3C-D194-7A45-3FD09E9C242D}" dt="2021-04-27T16:50:57.094" v="2" actId="1076"/>
          <ac:spMkLst>
            <pc:docMk/>
            <pc:sldMk cId="2527061778" sldId="1836"/>
            <ac:spMk id="9" creationId="{00000000-0000-0000-0000-000000000000}"/>
          </ac:spMkLst>
        </pc:spChg>
        <pc:picChg chg="mod">
          <ac:chgData name="Böschen, Philipp" userId="S::philipp.boeschen@tui.com::372852c5-74c4-43c7-9655-30fa1716d64a" providerId="AD" clId="Web-{76F4AEC8-6C3C-D194-7A45-3FD09E9C242D}" dt="2021-04-27T16:50:52.813" v="1" actId="1076"/>
          <ac:picMkLst>
            <pc:docMk/>
            <pc:sldMk cId="2527061778" sldId="1836"/>
            <ac:picMk id="125000" creationId="{AEB17347-5DB4-8F4B-8EA4-DF6701523411}"/>
          </ac:picMkLst>
        </pc:picChg>
      </pc:sldChg>
      <pc:sldChg chg="modSp">
        <pc:chgData name="Böschen, Philipp" userId="S::philipp.boeschen@tui.com::372852c5-74c4-43c7-9655-30fa1716d64a" providerId="AD" clId="Web-{76F4AEC8-6C3C-D194-7A45-3FD09E9C242D}" dt="2021-04-27T16:57:15.055" v="13" actId="20577"/>
        <pc:sldMkLst>
          <pc:docMk/>
          <pc:sldMk cId="3373007030" sldId="1848"/>
        </pc:sldMkLst>
        <pc:spChg chg="mod">
          <ac:chgData name="Böschen, Philipp" userId="S::philipp.boeschen@tui.com::372852c5-74c4-43c7-9655-30fa1716d64a" providerId="AD" clId="Web-{76F4AEC8-6C3C-D194-7A45-3FD09E9C242D}" dt="2021-04-27T16:57:15.055" v="13" actId="20577"/>
          <ac:spMkLst>
            <pc:docMk/>
            <pc:sldMk cId="3373007030" sldId="1848"/>
            <ac:spMk id="10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C57155-C303-2643-8D8F-F6CD14499608}" type="datetimeFigureOut">
              <a:rPr lang="en-US" smtClean="0"/>
              <a:t>5/14/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ED1B3C-D8CE-5A4D-B863-251AB304B8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830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photos/new-zealand-queenstown-paradise-2490423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General Intro: CR</a:t>
            </a:r>
          </a:p>
          <a:p>
            <a:r>
              <a:rPr lang="en-US"/>
              <a:t>Intro people - everyo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3111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7746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6489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experiencing</a:t>
            </a:r>
            <a:r>
              <a:rPr lang="de-DE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32112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5566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R presents TUI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758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lide C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B68D2766-C49B-4C1A-9FEE-6F146754B0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04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lide C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493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2.5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million</a:t>
            </a: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customers</a:t>
            </a: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 p.a. –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only</a:t>
            </a: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 10% "normal"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year</a:t>
            </a:r>
            <a:endParaRPr lang="de-DE" sz="1200">
              <a:solidFill>
                <a:srgbClr val="092A5E"/>
              </a:solidFill>
              <a:latin typeface="TUITypeLight" panose="020B0304030202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>
              <a:solidFill>
                <a:srgbClr val="092A5E"/>
              </a:solidFill>
              <a:latin typeface="TUITypeLight" panose="020B0304030202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6.1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bn</a:t>
            </a: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 in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finance</a:t>
            </a: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 </a:t>
            </a:r>
            <a:r>
              <a:rPr lang="de-DE" sz="1200" err="1">
                <a:solidFill>
                  <a:srgbClr val="092A5E"/>
                </a:solidFill>
                <a:latin typeface="TUITypeLight" panose="020B0304030202020203" pitchFamily="34" charset="0"/>
              </a:rPr>
              <a:t>package</a:t>
            </a:r>
            <a:endParaRPr lang="de-DE" sz="1200">
              <a:solidFill>
                <a:srgbClr val="092A5E"/>
              </a:solidFill>
              <a:latin typeface="TUITypeLight" panose="020B0304030202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• IT FTE </a:t>
            </a:r>
            <a:r>
              <a:rPr lang="de-DE" err="1"/>
              <a:t>reduc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55%</a:t>
            </a:r>
            <a:endParaRPr lang="de-DE" sz="1200">
              <a:solidFill>
                <a:srgbClr val="092A5E"/>
              </a:solidFill>
              <a:latin typeface="TUITypeLight" panose="020B0304030202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>
                <a:solidFill>
                  <a:srgbClr val="092A5E"/>
                </a:solidFill>
                <a:latin typeface="TUITypeLight" panose="020B0304030202020203" pitchFamily="34" charset="0"/>
              </a:rPr>
              <a:t>Wieviel MA haben wir???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>
              <a:solidFill>
                <a:srgbClr val="092A5E"/>
              </a:solidFill>
              <a:latin typeface="TUITypeLight" panose="020B0304030202020203" pitchFamily="34" charset="0"/>
            </a:endParaRPr>
          </a:p>
          <a:p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„Life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happens</a:t>
            </a:r>
            <a:r>
              <a:rPr lang="de-DE"/>
              <a:t> </a:t>
            </a:r>
            <a:r>
              <a:rPr lang="de-DE" err="1"/>
              <a:t>while</a:t>
            </a:r>
            <a:r>
              <a:rPr lang="de-DE"/>
              <a:t> </a:t>
            </a:r>
            <a:r>
              <a:rPr lang="de-DE" err="1"/>
              <a:t>you´re</a:t>
            </a:r>
            <a:r>
              <a:rPr lang="de-DE"/>
              <a:t> </a:t>
            </a:r>
            <a:r>
              <a:rPr lang="de-DE" err="1"/>
              <a:t>busy</a:t>
            </a:r>
            <a:r>
              <a:rPr lang="de-DE"/>
              <a:t> </a:t>
            </a:r>
            <a:r>
              <a:rPr lang="de-DE" err="1"/>
              <a:t>making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 </a:t>
            </a:r>
            <a:r>
              <a:rPr lang="de-DE" err="1"/>
              <a:t>plans</a:t>
            </a:r>
            <a:r>
              <a:rPr lang="de-DE"/>
              <a:t>“ (John Lennon)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470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- Focus on gathering data independently from teams so they can focus on their deliver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1072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Image source: </a:t>
            </a:r>
            <a:r>
              <a:rPr lang="en-US">
                <a:hlinkClick r:id="rId3"/>
              </a:rPr>
              <a:t>https://pixabay.com/photos/new-zealand-queenstown-paradise-2490423/</a:t>
            </a:r>
            <a:br>
              <a:rPr lang="en-US">
                <a:cs typeface="+mn-lt"/>
              </a:rPr>
            </a:br>
            <a:r>
              <a:rPr lang="en-US">
                <a:cs typeface="Calibri"/>
              </a:rPr>
              <a:t>Copyright free for commercial use without attrib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141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320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70000"/>
              <a:buFont typeface="Wingdings" pitchFamily="2" charset="2"/>
              <a:buNone/>
              <a:tabLst/>
              <a:defRPr/>
            </a:pPr>
            <a:fld id="{5D614E2C-993C-EE4B-B91D-89E86C2064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  <a:buSzPct val="70000"/>
                <a:buFont typeface="Wingdings" pitchFamily="2" charset="2"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697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4231" b="1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9945" y="5701651"/>
            <a:ext cx="1378902" cy="609285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 userDrawn="1">
            <p:ph type="title" hasCustomPrompt="1"/>
          </p:nvPr>
        </p:nvSpPr>
        <p:spPr>
          <a:xfrm>
            <a:off x="534176" y="4302382"/>
            <a:ext cx="11123646" cy="685446"/>
          </a:xfrm>
        </p:spPr>
        <p:txBody>
          <a:bodyPr anchor="t" anchorCtr="0"/>
          <a:lstStyle>
            <a:lvl1pPr>
              <a:defRPr sz="4231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 slide</a:t>
            </a:r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34178" y="4904051"/>
            <a:ext cx="11123646" cy="581514"/>
          </a:xfrm>
        </p:spPr>
        <p:txBody>
          <a:bodyPr/>
          <a:lstStyle>
            <a:lvl1pPr marL="0" indent="0">
              <a:buNone/>
              <a:defRPr sz="2962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5991101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TUIGroup |  DevOps - OCTO  |  10.0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361A4-66E2-C147-8C07-57FAB977FB8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572514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4176" y="4302382"/>
            <a:ext cx="11123646" cy="685446"/>
          </a:xfrm>
        </p:spPr>
        <p:txBody>
          <a:bodyPr anchor="t" anchorCtr="0"/>
          <a:lstStyle>
            <a:lvl1pPr>
              <a:defRPr sz="4231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 slide</a:t>
            </a:r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4178" y="4904051"/>
            <a:ext cx="11123646" cy="581514"/>
          </a:xfrm>
        </p:spPr>
        <p:txBody>
          <a:bodyPr/>
          <a:lstStyle>
            <a:lvl1pPr marL="0" indent="0">
              <a:buNone/>
              <a:defRPr sz="2962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6056951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3836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4231" b="1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6144" y="265057"/>
            <a:ext cx="11659306" cy="6326482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38080" tIns="0" rIns="38080" bIns="0" rtlCol="0" anchor="ctr"/>
          <a:lstStyle/>
          <a:p>
            <a:pPr algn="ctr" eaLnBrk="0">
              <a:lnSpc>
                <a:spcPct val="80000"/>
              </a:lnSpc>
              <a:buClrTx/>
              <a:buSzTx/>
            </a:pPr>
            <a:endParaRPr lang="en-GB" sz="1481" b="1" kern="0"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746625" y="6352396"/>
            <a:ext cx="8901806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34176" y="1081481"/>
            <a:ext cx="11123646" cy="648072"/>
          </a:xfrm>
        </p:spPr>
        <p:txBody>
          <a:bodyPr anchor="t" anchorCtr="0"/>
          <a:lstStyle>
            <a:lvl1pPr>
              <a:defRPr sz="4231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ivider slide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4178" y="1683150"/>
            <a:ext cx="11123646" cy="1336619"/>
          </a:xfrm>
        </p:spPr>
        <p:txBody>
          <a:bodyPr/>
          <a:lstStyle>
            <a:lvl1pPr marL="0" indent="0">
              <a:buNone/>
              <a:defRPr sz="2962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3189" y="6200736"/>
            <a:ext cx="358258" cy="28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79216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4231" b="1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66551" y="6096440"/>
            <a:ext cx="11658899" cy="495099"/>
          </a:xfrm>
          <a:prstGeom prst="rect">
            <a:avLst/>
          </a:prstGeom>
          <a:gradFill flip="none" rotWithShape="1">
            <a:gsLst>
              <a:gs pos="0">
                <a:srgbClr val="00A8E7">
                  <a:alpha val="75000"/>
                </a:srgbClr>
              </a:gs>
              <a:gs pos="100000">
                <a:srgbClr val="70CBF4">
                  <a:alpha val="75000"/>
                </a:srgbClr>
              </a:gs>
            </a:gsLst>
            <a:lin ang="2400000" scaled="0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38080" tIns="0" rIns="38080" bIns="0" rtlCol="0" anchor="ctr"/>
          <a:lstStyle/>
          <a:p>
            <a:pPr algn="ctr" eaLnBrk="0">
              <a:lnSpc>
                <a:spcPct val="80000"/>
              </a:lnSpc>
              <a:buClrTx/>
              <a:buSzTx/>
            </a:pPr>
            <a:endParaRPr lang="en-GB" sz="1481" b="1" kern="0">
              <a:latin typeface="TUIType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746625" y="6352396"/>
            <a:ext cx="8901806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el 2"/>
          <p:cNvSpPr>
            <a:spLocks noGrp="1"/>
          </p:cNvSpPr>
          <p:nvPr>
            <p:ph type="title" hasCustomPrompt="1"/>
          </p:nvPr>
        </p:nvSpPr>
        <p:spPr>
          <a:xfrm>
            <a:off x="534176" y="1081481"/>
            <a:ext cx="11123646" cy="648072"/>
          </a:xfrm>
        </p:spPr>
        <p:txBody>
          <a:bodyPr anchor="t" anchorCtr="0"/>
          <a:lstStyle>
            <a:lvl1pPr>
              <a:defRPr sz="4231" b="1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Divider slide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4178" y="1683150"/>
            <a:ext cx="11123646" cy="1336619"/>
          </a:xfrm>
        </p:spPr>
        <p:txBody>
          <a:bodyPr/>
          <a:lstStyle>
            <a:lvl1pPr marL="0" indent="0">
              <a:buNone/>
              <a:defRPr sz="2962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Subtitl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3189" y="6200736"/>
            <a:ext cx="358258" cy="28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23114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 with sourc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2539" b="0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746625" y="6352396"/>
            <a:ext cx="8901806" cy="144000"/>
          </a:xfrm>
          <a:prstGeom prst="rect">
            <a:avLst/>
          </a:prstGeom>
        </p:spPr>
        <p:txBody>
          <a:bodyPr/>
          <a:lstStyle/>
          <a:p>
            <a:endParaRPr lang="en-GB" noProof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48037" y="6140083"/>
            <a:ext cx="8902366" cy="18044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46" baseline="0">
                <a:solidFill>
                  <a:schemeClr val="bg1"/>
                </a:solidFill>
              </a:defRPr>
            </a:lvl1pPr>
            <a:lvl2pPr marL="661627" indent="0">
              <a:buNone/>
              <a:defRPr sz="846"/>
            </a:lvl2pPr>
            <a:lvl3pPr marL="1214103" indent="0">
              <a:buNone/>
              <a:defRPr sz="846"/>
            </a:lvl3pPr>
            <a:lvl4pPr marL="1818636" indent="0">
              <a:buNone/>
              <a:defRPr sz="846"/>
            </a:lvl4pPr>
            <a:lvl5pPr marL="2423168" indent="0">
              <a:buNone/>
              <a:defRPr sz="846"/>
            </a:lvl5pPr>
          </a:lstStyle>
          <a:p>
            <a:pPr lvl="0"/>
            <a:r>
              <a:rPr lang="en-GB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5671150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2539" b="0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746625" y="6352396"/>
            <a:ext cx="8901806" cy="144000"/>
          </a:xfrm>
          <a:prstGeom prst="rect">
            <a:avLst/>
          </a:prstGeom>
        </p:spPr>
        <p:txBody>
          <a:bodyPr/>
          <a:lstStyle/>
          <a:p>
            <a:endParaRPr lang="en-GB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48037" y="6140083"/>
            <a:ext cx="8902366" cy="18044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46" baseline="0">
                <a:solidFill>
                  <a:schemeClr val="bg1"/>
                </a:solidFill>
              </a:defRPr>
            </a:lvl1pPr>
            <a:lvl2pPr marL="661627" indent="0">
              <a:buNone/>
              <a:defRPr sz="846"/>
            </a:lvl2pPr>
            <a:lvl3pPr marL="1214103" indent="0">
              <a:buNone/>
              <a:defRPr sz="846"/>
            </a:lvl3pPr>
            <a:lvl4pPr marL="1818636" indent="0">
              <a:buNone/>
              <a:defRPr sz="846"/>
            </a:lvl4pPr>
            <a:lvl5pPr marL="2423168" indent="0">
              <a:buNone/>
              <a:defRPr sz="846"/>
            </a:lvl5pPr>
          </a:lstStyle>
          <a:p>
            <a:pPr lvl="0"/>
            <a:r>
              <a:rPr lang="en-GB"/>
              <a:t>&lt; Source, Reference, Footnote etc. (Click to activate) &gt;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532499" y="1486125"/>
            <a:ext cx="11125323" cy="4187066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35448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2539" b="0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4178" y="1486126"/>
            <a:ext cx="11123646" cy="4189693"/>
          </a:xfrm>
          <a:prstGeom prst="rect">
            <a:avLst/>
          </a:prstGeom>
        </p:spPr>
        <p:txBody>
          <a:bodyPr/>
          <a:lstStyle>
            <a:lvl1pPr marL="282115" indent="-282115">
              <a:defRPr/>
            </a:lvl1pPr>
          </a:lstStyle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746625" y="6352396"/>
            <a:ext cx="8901806" cy="144000"/>
          </a:xfrm>
          <a:prstGeom prst="rect">
            <a:avLst/>
          </a:prstGeom>
        </p:spPr>
        <p:txBody>
          <a:bodyPr/>
          <a:lstStyle/>
          <a:p>
            <a:endParaRPr lang="en-GB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48037" y="6140083"/>
            <a:ext cx="8902366" cy="18044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46" baseline="0">
                <a:solidFill>
                  <a:schemeClr val="bg1"/>
                </a:solidFill>
              </a:defRPr>
            </a:lvl1pPr>
            <a:lvl2pPr marL="661627" indent="0">
              <a:buNone/>
              <a:defRPr sz="846"/>
            </a:lvl2pPr>
            <a:lvl3pPr marL="1214103" indent="0">
              <a:buNone/>
              <a:defRPr sz="846"/>
            </a:lvl3pPr>
            <a:lvl4pPr marL="1818636" indent="0">
              <a:buNone/>
              <a:defRPr sz="846"/>
            </a:lvl4pPr>
            <a:lvl5pPr marL="2423168" indent="0">
              <a:buNone/>
              <a:defRPr sz="846"/>
            </a:lvl5pPr>
          </a:lstStyle>
          <a:p>
            <a:pPr lvl="0"/>
            <a:r>
              <a:rPr lang="en-GB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258949813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 Headline and 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2539" b="0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4177" y="1486126"/>
            <a:ext cx="5447597" cy="41896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10227" y="1486126"/>
            <a:ext cx="5447596" cy="41896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48037" y="6140083"/>
            <a:ext cx="8902366" cy="18044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846" baseline="0">
                <a:solidFill>
                  <a:schemeClr val="bg1"/>
                </a:solidFill>
              </a:defRPr>
            </a:lvl1pPr>
            <a:lvl2pPr marL="661627" indent="0">
              <a:buNone/>
              <a:defRPr sz="846"/>
            </a:lvl2pPr>
            <a:lvl3pPr marL="1214103" indent="0">
              <a:buNone/>
              <a:defRPr sz="846"/>
            </a:lvl3pPr>
            <a:lvl4pPr marL="1818636" indent="0">
              <a:buNone/>
              <a:defRPr sz="846"/>
            </a:lvl4pPr>
            <a:lvl5pPr marL="2423168" indent="0">
              <a:buNone/>
              <a:defRPr sz="846"/>
            </a:lvl5pPr>
          </a:lstStyle>
          <a:p>
            <a:pPr lvl="0"/>
            <a:r>
              <a:rPr lang="en-GB"/>
              <a:t>&lt; Source, Reference, Footnote etc. (Click to activate) &gt;</a:t>
            </a:r>
          </a:p>
        </p:txBody>
      </p:sp>
    </p:spTree>
    <p:extLst>
      <p:ext uri="{BB962C8B-B14F-4D97-AF65-F5344CB8AC3E}">
        <p14:creationId xmlns:p14="http://schemas.microsoft.com/office/powerpoint/2010/main" val="112165154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67980" cy="167924"/>
          </a:xfrm>
          <a:prstGeom prst="rect">
            <a:avLst/>
          </a:prstGeom>
          <a:solidFill>
            <a:srgbClr val="FFFFFF">
              <a:alpha val="89000"/>
            </a:srgbClr>
          </a:solidFill>
          <a:ln>
            <a:noFill/>
          </a:ln>
        </p:spPr>
        <p:txBody>
          <a:bodyPr wrap="none" lIns="0" tIns="0" rIns="0" bIns="0" rtlCol="0" anchor="ctr"/>
          <a:lstStyle/>
          <a:p>
            <a:pPr marL="0" lvl="0" indent="0" algn="ctr" eaLnBrk="0" fontAlgn="auto">
              <a:spcBef>
                <a:spcPts val="0"/>
              </a:spcBef>
              <a:spcAft>
                <a:spcPts val="0"/>
              </a:spcAft>
              <a:buClr>
                <a:srgbClr val="092A5E"/>
              </a:buClr>
            </a:pPr>
            <a:endParaRPr lang="en-GB" sz="2539" b="0" i="0" kern="0" baseline="0">
              <a:solidFill>
                <a:sysClr val="windowText" lastClr="000000"/>
              </a:solidFill>
              <a:latin typeface="TUITypeLight" panose="020B0304030202020203" pitchFamily="34" charset="0"/>
              <a:ea typeface="+mj-ea"/>
              <a:cs typeface="+mj-cs"/>
              <a:sym typeface="TUITypeLight" panose="020B0304030202020203" pitchFamily="34" charset="0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10227" y="1486126"/>
            <a:ext cx="5447596" cy="4189693"/>
          </a:xfrm>
          <a:prstGeom prst="rect">
            <a:avLst/>
          </a:prstGeom>
        </p:spPr>
        <p:txBody>
          <a:bodyPr/>
          <a:lstStyle>
            <a:lvl1pPr>
              <a:spcBef>
                <a:spcPts val="529"/>
              </a:spcBef>
              <a:defRPr/>
            </a:lvl1pPr>
            <a:lvl2pPr>
              <a:spcBef>
                <a:spcPts val="529"/>
              </a:spcBef>
              <a:defRPr/>
            </a:lvl2pPr>
            <a:lvl3pPr>
              <a:spcBef>
                <a:spcPts val="529"/>
              </a:spcBef>
              <a:defRPr/>
            </a:lvl3pPr>
            <a:lvl4pPr>
              <a:spcBef>
                <a:spcPts val="529"/>
              </a:spcBef>
              <a:defRPr/>
            </a:lvl4pPr>
            <a:lvl5pPr>
              <a:spcBef>
                <a:spcPts val="529"/>
              </a:spcBef>
              <a:defRPr/>
            </a:lvl5pPr>
          </a:lstStyle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534177" y="1486126"/>
            <a:ext cx="5447597" cy="41896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540173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EE19FE-3C1D-AF44-8954-52D92F5AC1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AE0D45-7667-8746-8955-D2E964D42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75" indent="0" algn="ctr">
              <a:buNone/>
              <a:defRPr sz="1999"/>
            </a:lvl2pPr>
            <a:lvl3pPr marL="914150" indent="0" algn="ctr">
              <a:buNone/>
              <a:defRPr sz="1799"/>
            </a:lvl3pPr>
            <a:lvl4pPr marL="1371225" indent="0" algn="ctr">
              <a:buNone/>
              <a:defRPr sz="1599"/>
            </a:lvl4pPr>
            <a:lvl5pPr marL="1828300" indent="0" algn="ctr">
              <a:buNone/>
              <a:defRPr sz="1599"/>
            </a:lvl5pPr>
            <a:lvl6pPr marL="2285376" indent="0" algn="ctr">
              <a:buNone/>
              <a:defRPr sz="1599"/>
            </a:lvl6pPr>
            <a:lvl7pPr marL="2742450" indent="0" algn="ctr">
              <a:buNone/>
              <a:defRPr sz="1599"/>
            </a:lvl7pPr>
            <a:lvl8pPr marL="3199526" indent="0" algn="ctr">
              <a:buNone/>
              <a:defRPr sz="1599"/>
            </a:lvl8pPr>
            <a:lvl9pPr marL="3656601" indent="0" algn="ctr">
              <a:buNone/>
              <a:defRPr sz="1599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93CEA1-B357-D14E-9BE5-BFFCFF80B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4AF44-CCA9-4EBB-B5D8-3A3C3F38A60B}" type="datetime1">
              <a:rPr lang="de-DE" smtClean="0"/>
              <a:t>14.05.21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5508ED-A5D0-F843-B129-02D4384E5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F540B-B844-9140-BC4F-01E9C6F7785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740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680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216" imgH="216" progId="TCLayout.ActiveDocument.1">
                  <p:embed/>
                </p:oleObj>
              </mc:Choice>
              <mc:Fallback>
                <p:oleObj name="think-cell Folie" r:id="rId16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769" name="Rectangle 113"/>
          <p:cNvSpPr>
            <a:spLocks noGrp="1" noChangeArrowheads="1"/>
          </p:cNvSpPr>
          <p:nvPr>
            <p:ph type="title"/>
          </p:nvPr>
        </p:nvSpPr>
        <p:spPr bwMode="gray">
          <a:xfrm>
            <a:off x="534176" y="344152"/>
            <a:ext cx="11123646" cy="799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noProof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534176" y="1480970"/>
            <a:ext cx="11123646" cy="41948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34177" y="6352396"/>
            <a:ext cx="287006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>
              <a:buClrTx/>
              <a:buSzTx/>
              <a:buFontTx/>
              <a:buNone/>
              <a:defRPr sz="800"/>
            </a:lvl1pPr>
          </a:lstStyle>
          <a:p>
            <a:pPr lvl="0"/>
            <a:fld id="{BF68F70B-AC95-45BE-AEB8-15EAB33A653A}" type="slidenum">
              <a:rPr lang="en-GB" sz="846" noProof="0" smtClean="0">
                <a:solidFill>
                  <a:schemeClr val="bg1"/>
                </a:solidFill>
              </a:rPr>
              <a:pPr lvl="0"/>
              <a:t>‹#›</a:t>
            </a:fld>
            <a:endParaRPr lang="en-GB" sz="846" noProof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 rot="16200000">
            <a:off x="-2799141" y="4440205"/>
            <a:ext cx="1623201" cy="3616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116"/>
              </a:lnSpc>
            </a:pPr>
            <a:r>
              <a:rPr lang="en-GB" sz="1904" u="none">
                <a:solidFill>
                  <a:srgbClr val="646464"/>
                </a:solidFill>
              </a:rPr>
              <a:t>Primary colours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-1879515" y="3525380"/>
            <a:ext cx="0" cy="233857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-1807636" y="47203"/>
            <a:ext cx="1335629" cy="2589719"/>
          </a:xfrm>
          <a:prstGeom prst="rect">
            <a:avLst/>
          </a:prstGeom>
          <a:solidFill>
            <a:schemeClr val="bg1"/>
          </a:solidFill>
          <a:ln w="19050">
            <a:solidFill>
              <a:srgbClr val="DFDFD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01" tIns="38080" rIns="38080" bIns="38080" anchor="ctr">
            <a:noAutofit/>
          </a:bodyPr>
          <a:lstStyle/>
          <a:p>
            <a:pPr marL="99077" marR="0" lvl="0" indent="-99077" algn="l" defTabSz="1507973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269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Always use </a:t>
            </a:r>
            <a:r>
              <a:rPr kumimoji="0" lang="en-GB" sz="1269" b="0" i="0" u="none" strike="noStrike" kern="0" cap="none" spc="0" normalizeH="0" baseline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TUITypeLight</a:t>
            </a:r>
            <a:endParaRPr kumimoji="0" lang="en-GB" sz="1269" b="0" i="0" u="none" strike="noStrike" kern="0" cap="none" spc="0" normalizeH="0" baseline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TUIType"/>
              <a:ea typeface="+mn-ea"/>
              <a:cs typeface="+mn-cs"/>
            </a:endParaRPr>
          </a:p>
          <a:p>
            <a:pPr marL="99077" marR="0" lvl="0" indent="-99077" algn="l" defTabSz="1507973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269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Font size14pt</a:t>
            </a:r>
          </a:p>
          <a:p>
            <a:pPr marL="99077" marR="0" lvl="0" indent="-99077" algn="l" defTabSz="1507973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269" b="0" i="0" u="none" strike="noStrike" kern="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Line spacing 6 </a:t>
            </a:r>
            <a:r>
              <a:rPr kumimoji="0" lang="en-GB" sz="1269" b="0" i="0" u="none" strike="noStrike" kern="0" cap="none" spc="0" normalizeH="0" baseline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pt</a:t>
            </a:r>
            <a:endParaRPr kumimoji="0" lang="en-GB" sz="1269" b="0" i="0" u="none" strike="noStrike" kern="0" cap="none" spc="0" normalizeH="0" baseline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TUIType"/>
              <a:ea typeface="+mn-ea"/>
              <a:cs typeface="+mn-cs"/>
            </a:endParaRPr>
          </a:p>
          <a:p>
            <a:pPr marL="99077" marR="0" lvl="0" indent="-99077" algn="l" defTabSz="1507973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269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titles in TUI-Dark Blue</a:t>
            </a:r>
          </a:p>
          <a:p>
            <a:pPr marL="99077" marR="0" lvl="0" indent="-99077" algn="l" defTabSz="1507973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Char char="•"/>
              <a:tabLst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269" b="0" i="0" u="none" strike="noStrike" kern="0" cap="none" spc="0" normalizeH="0" baseline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TUIType"/>
                <a:ea typeface="+mn-ea"/>
                <a:cs typeface="+mn-cs"/>
              </a:rPr>
              <a:t>Bullet points &amp; standard text in TUI-Dark Blue</a:t>
            </a:r>
          </a:p>
        </p:txBody>
      </p:sp>
      <p:cxnSp>
        <p:nvCxnSpPr>
          <p:cNvPr id="11" name="Gerade Verbindung 50"/>
          <p:cNvCxnSpPr/>
          <p:nvPr/>
        </p:nvCxnSpPr>
        <p:spPr bwMode="auto">
          <a:xfrm>
            <a:off x="-1879515" y="32777"/>
            <a:ext cx="0" cy="258971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45"/>
          <p:cNvSpPr txBox="1"/>
          <p:nvPr/>
        </p:nvSpPr>
        <p:spPr>
          <a:xfrm rot="16200000">
            <a:off x="-3282398" y="1161273"/>
            <a:ext cx="2589720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16"/>
              </a:lnSpc>
            </a:pPr>
            <a:r>
              <a:rPr lang="en-GB" sz="1904" u="none">
                <a:solidFill>
                  <a:srgbClr val="646464"/>
                </a:solidFill>
              </a:rPr>
              <a:t>Conventions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-1829055" y="4149181"/>
            <a:ext cx="1409446" cy="495044"/>
          </a:xfrm>
          <a:prstGeom prst="rect">
            <a:avLst/>
          </a:prstGeom>
          <a:solidFill>
            <a:srgbClr val="C2E6FA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Blue 50%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194.230.250</a:t>
            </a: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-1829055" y="4759046"/>
            <a:ext cx="1409446" cy="495044"/>
          </a:xfrm>
          <a:prstGeom prst="rect">
            <a:avLst/>
          </a:prstGeom>
          <a:solidFill>
            <a:srgbClr val="092A5E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TUI-Dark Blue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9.42.94</a:t>
            </a:r>
            <a:endParaRPr kumimoji="0" lang="en-GB" sz="1269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gray">
          <a:xfrm>
            <a:off x="-1829055" y="3539317"/>
            <a:ext cx="1409446" cy="495044"/>
          </a:xfrm>
          <a:prstGeom prst="rect">
            <a:avLst/>
          </a:prstGeom>
          <a:solidFill>
            <a:srgbClr val="70CBF4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lvl="0" eaLnBrk="1" hangingPunct="1">
              <a:lnSpc>
                <a:spcPct val="100000"/>
              </a:lnSpc>
              <a:buClrTx/>
              <a:buSzTx/>
            </a:pPr>
            <a:r>
              <a:rPr lang="en-GB" sz="1269">
                <a:solidFill>
                  <a:srgbClr val="000000"/>
                </a:solidFill>
                <a:cs typeface="Arial" pitchFamily="34" charset="0"/>
              </a:rPr>
              <a:t>New TUI-Blue</a:t>
            </a:r>
          </a:p>
          <a:p>
            <a:pPr lvl="0" eaLnBrk="1" hangingPunct="1">
              <a:lnSpc>
                <a:spcPct val="100000"/>
              </a:lnSpc>
              <a:buClrTx/>
              <a:buSzTx/>
            </a:pPr>
            <a:r>
              <a:rPr lang="en-GB" sz="1269">
                <a:solidFill>
                  <a:srgbClr val="000000"/>
                </a:solidFill>
                <a:cs typeface="Arial" pitchFamily="34" charset="0"/>
              </a:rPr>
              <a:t>112.203.244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-1829055" y="5368910"/>
            <a:ext cx="1409446" cy="49504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TUI-White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255.255.255</a:t>
            </a:r>
          </a:p>
        </p:txBody>
      </p:sp>
      <p:sp>
        <p:nvSpPr>
          <p:cNvPr id="17" name="Textfeld 16"/>
          <p:cNvSpPr txBox="1"/>
          <p:nvPr/>
        </p:nvSpPr>
        <p:spPr>
          <a:xfrm rot="5400000">
            <a:off x="13191687" y="734534"/>
            <a:ext cx="1821404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 lvl="0" algn="ctr"/>
            <a:r>
              <a:rPr lang="en-GB" sz="1904" u="none"/>
              <a:t>Functional</a:t>
            </a:r>
          </a:p>
        </p:txBody>
      </p:sp>
      <p:cxnSp>
        <p:nvCxnSpPr>
          <p:cNvPr id="18" name="Gerade Verbindung 17"/>
          <p:cNvCxnSpPr/>
          <p:nvPr/>
        </p:nvCxnSpPr>
        <p:spPr bwMode="auto">
          <a:xfrm>
            <a:off x="13991089" y="-8386"/>
            <a:ext cx="0" cy="1751889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13991089" y="3525379"/>
            <a:ext cx="0" cy="173080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Rectangle 21"/>
          <p:cNvSpPr>
            <a:spLocks noChangeArrowheads="1"/>
          </p:cNvSpPr>
          <p:nvPr/>
        </p:nvSpPr>
        <p:spPr bwMode="gray">
          <a:xfrm>
            <a:off x="12544690" y="590280"/>
            <a:ext cx="1409446" cy="495044"/>
          </a:xfrm>
          <a:prstGeom prst="rect">
            <a:avLst/>
          </a:prstGeom>
          <a:solidFill>
            <a:srgbClr val="AAD700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Green 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170.215.0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gray">
          <a:xfrm>
            <a:off x="12544690" y="1208157"/>
            <a:ext cx="1409446" cy="495044"/>
          </a:xfrm>
          <a:prstGeom prst="rect">
            <a:avLst/>
          </a:prstGeom>
          <a:solidFill>
            <a:srgbClr val="FFE100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TUI-</a:t>
            </a:r>
            <a:r>
              <a:rPr lang="en-GB" sz="1269">
                <a:solidFill>
                  <a:srgbClr val="000000"/>
                </a:solidFill>
                <a:latin typeface="+mn-lt"/>
                <a:cs typeface="Arial" pitchFamily="34" charset="0"/>
              </a:rPr>
              <a:t>Yellow</a:t>
            </a: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 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269">
                <a:solidFill>
                  <a:srgbClr val="000000"/>
                </a:solidFill>
                <a:latin typeface="+mn-lt"/>
                <a:cs typeface="Arial" pitchFamily="34" charset="0"/>
              </a:rPr>
              <a:t>2</a:t>
            </a: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55.225.0</a:t>
            </a: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gray">
          <a:xfrm>
            <a:off x="12544690" y="17533"/>
            <a:ext cx="1409446" cy="495044"/>
          </a:xfrm>
          <a:prstGeom prst="rect">
            <a:avLst/>
          </a:prstGeom>
          <a:solidFill>
            <a:srgbClr val="D40E14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TUI-Red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212.14.20</a:t>
            </a: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gray">
          <a:xfrm>
            <a:off x="12544690" y="4761134"/>
            <a:ext cx="1409446" cy="495044"/>
          </a:xfrm>
          <a:prstGeom prst="rect">
            <a:avLst/>
          </a:prstGeom>
          <a:solidFill>
            <a:srgbClr val="0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TUI-Black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Arial" pitchFamily="34" charset="0"/>
              </a:rPr>
              <a:t>0.0.0</a:t>
            </a:r>
            <a:endParaRPr kumimoji="0" lang="en-GB" sz="1269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gray">
          <a:xfrm>
            <a:off x="12543775" y="4143257"/>
            <a:ext cx="1409446" cy="4950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Grey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115.115.115</a:t>
            </a:r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gray">
          <a:xfrm>
            <a:off x="12543775" y="3525379"/>
            <a:ext cx="1409446" cy="495044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none" lIns="0" tIns="49504" rIns="0" bIns="495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69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cs typeface="Arial" pitchFamily="34" charset="0"/>
              </a:rPr>
              <a:t>New TUI-Grey 25%</a:t>
            </a:r>
          </a:p>
          <a:p>
            <a:pPr marL="0" marR="0" lvl="0" indent="0" algn="ctr" defTabSz="967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269">
                <a:solidFill>
                  <a:srgbClr val="000000"/>
                </a:solidFill>
                <a:latin typeface="+mn-lt"/>
                <a:cs typeface="Arial" pitchFamily="34" charset="0"/>
              </a:rPr>
              <a:t>220.220.220</a:t>
            </a:r>
            <a:endParaRPr kumimoji="0" lang="en-GB" sz="1269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 rot="5400000">
            <a:off x="13236985" y="4216372"/>
            <a:ext cx="1730799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lvl="0">
              <a:lnSpc>
                <a:spcPts val="2000"/>
              </a:lnSpc>
              <a:defRPr sz="1800" u="sng">
                <a:solidFill>
                  <a:srgbClr val="646464"/>
                </a:solidFill>
              </a:defRPr>
            </a:lvl1pPr>
          </a:lstStyle>
          <a:p>
            <a:pPr lvl="0"/>
            <a:r>
              <a:rPr lang="en-GB" sz="1904" u="none"/>
              <a:t>Achromatic</a:t>
            </a: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3189" y="6200736"/>
            <a:ext cx="358258" cy="28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714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/>
  <p:hf sldNum="0" hdr="0" ftr="0" dt="0"/>
  <p:txStyles>
    <p:titleStyle>
      <a:lvl1pPr algn="l" defTabSz="298908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298908" algn="l"/>
        </a:tabLst>
        <a:defRPr sz="2539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2pPr>
      <a:lvl3pPr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3pPr>
      <a:lvl4pPr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4pPr>
      <a:lvl5pPr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5pPr>
      <a:lvl6pPr marL="483626"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6pPr>
      <a:lvl7pPr marL="967252"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7pPr>
      <a:lvl8pPr marL="1450878"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8pPr>
      <a:lvl9pPr marL="1934505" algn="l" defTabSz="298908" rtl="0" eaLnBrk="1" fontAlgn="base" hangingPunct="1">
        <a:lnSpc>
          <a:spcPts val="3279"/>
        </a:lnSpc>
        <a:spcBef>
          <a:spcPct val="0"/>
        </a:spcBef>
        <a:spcAft>
          <a:spcPct val="0"/>
        </a:spcAft>
        <a:tabLst>
          <a:tab pos="298908" algn="l"/>
        </a:tabLst>
        <a:defRPr sz="2962">
          <a:solidFill>
            <a:schemeClr val="tx2"/>
          </a:solidFill>
          <a:latin typeface="TUIType" pitchFamily="34" charset="0"/>
        </a:defRPr>
      </a:lvl9pPr>
    </p:titleStyle>
    <p:bodyStyle>
      <a:lvl1pPr marL="282115" indent="-282115" algn="l" defTabSz="1507973" rtl="0" eaLnBrk="1" fontAlgn="base" hangingPunct="1">
        <a:lnSpc>
          <a:spcPct val="95000"/>
        </a:lnSpc>
        <a:spcBef>
          <a:spcPts val="529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82115" algn="l"/>
          <a:tab pos="2206544" algn="l"/>
          <a:tab pos="4413089" algn="l"/>
          <a:tab pos="6629709" algn="l"/>
        </a:tabLst>
        <a:defRPr sz="1904">
          <a:solidFill>
            <a:schemeClr val="tx1"/>
          </a:solidFill>
          <a:latin typeface="+mn-lt"/>
          <a:ea typeface="+mn-ea"/>
          <a:cs typeface="+mn-cs"/>
        </a:defRPr>
      </a:lvl1pPr>
      <a:lvl2pPr marL="574306" indent="-292191" algn="l" defTabSz="1507973" rtl="0" eaLnBrk="1" fontAlgn="base" hangingPunct="1">
        <a:lnSpc>
          <a:spcPct val="95000"/>
        </a:lnSpc>
        <a:spcBef>
          <a:spcPts val="529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206544" algn="l"/>
          <a:tab pos="4413089" algn="l"/>
          <a:tab pos="6619633" algn="l"/>
        </a:tabLst>
        <a:defRPr sz="1904">
          <a:solidFill>
            <a:schemeClr val="tx1"/>
          </a:solidFill>
          <a:latin typeface="+mn-lt"/>
        </a:defRPr>
      </a:lvl2pPr>
      <a:lvl3pPr marL="856421" indent="-282115" algn="l" defTabSz="1507973" rtl="0" eaLnBrk="1" fontAlgn="base" hangingPunct="1">
        <a:lnSpc>
          <a:spcPct val="95000"/>
        </a:lnSpc>
        <a:spcBef>
          <a:spcPts val="529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206544" algn="l"/>
          <a:tab pos="4413089" algn="l"/>
          <a:tab pos="6619633" algn="l"/>
        </a:tabLst>
        <a:defRPr sz="1904">
          <a:solidFill>
            <a:schemeClr val="tx1"/>
          </a:solidFill>
          <a:latin typeface="+mn-lt"/>
        </a:defRPr>
      </a:lvl3pPr>
      <a:lvl4pPr marL="1138537" indent="-282115" algn="l" defTabSz="1507973" rtl="0" eaLnBrk="1" fontAlgn="base" hangingPunct="1">
        <a:lnSpc>
          <a:spcPct val="95000"/>
        </a:lnSpc>
        <a:spcBef>
          <a:spcPts val="529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206544" algn="l"/>
          <a:tab pos="4413089" algn="l"/>
          <a:tab pos="6619633" algn="l"/>
        </a:tabLst>
        <a:defRPr sz="1904">
          <a:solidFill>
            <a:schemeClr val="tx1"/>
          </a:solidFill>
          <a:latin typeface="+mn-lt"/>
        </a:defRPr>
      </a:lvl4pPr>
      <a:lvl5pPr marL="1420652" indent="-282115" algn="l" defTabSz="1507973" rtl="0" eaLnBrk="1" fontAlgn="base" hangingPunct="1">
        <a:lnSpc>
          <a:spcPct val="95000"/>
        </a:lnSpc>
        <a:spcBef>
          <a:spcPts val="529"/>
        </a:spcBef>
        <a:spcAft>
          <a:spcPts val="0"/>
        </a:spcAft>
        <a:buClrTx/>
        <a:buSzPct val="100000"/>
        <a:buFont typeface="TUIType" pitchFamily="34" charset="0"/>
        <a:buChar char="•"/>
        <a:tabLst>
          <a:tab pos="2206544" algn="l"/>
          <a:tab pos="4413089" algn="l"/>
          <a:tab pos="6619633" algn="l"/>
        </a:tabLst>
        <a:defRPr sz="1904">
          <a:solidFill>
            <a:schemeClr val="tx1"/>
          </a:solidFill>
          <a:latin typeface="+mn-lt"/>
        </a:defRPr>
      </a:lvl5pPr>
      <a:lvl6pPr marL="3304779" indent="-397985" algn="l" defTabSz="1507973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186393" algn="l"/>
          <a:tab pos="4403013" algn="l"/>
          <a:tab pos="6609558" algn="l"/>
        </a:tabLst>
        <a:defRPr sz="2539">
          <a:solidFill>
            <a:schemeClr val="tx1"/>
          </a:solidFill>
          <a:latin typeface="+mn-lt"/>
        </a:defRPr>
      </a:lvl6pPr>
      <a:lvl7pPr marL="3788405" indent="-397985" algn="l" defTabSz="1507973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186393" algn="l"/>
          <a:tab pos="4403013" algn="l"/>
          <a:tab pos="6609558" algn="l"/>
        </a:tabLst>
        <a:defRPr sz="2539">
          <a:solidFill>
            <a:schemeClr val="tx1"/>
          </a:solidFill>
          <a:latin typeface="+mn-lt"/>
        </a:defRPr>
      </a:lvl7pPr>
      <a:lvl8pPr marL="4272031" indent="-397985" algn="l" defTabSz="1507973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186393" algn="l"/>
          <a:tab pos="4403013" algn="l"/>
          <a:tab pos="6609558" algn="l"/>
        </a:tabLst>
        <a:defRPr sz="2539">
          <a:solidFill>
            <a:schemeClr val="tx1"/>
          </a:solidFill>
          <a:latin typeface="+mn-lt"/>
        </a:defRPr>
      </a:lvl8pPr>
      <a:lvl9pPr marL="4755657" indent="-397985" algn="l" defTabSz="1507973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tabLst>
          <a:tab pos="2186393" algn="l"/>
          <a:tab pos="4403013" algn="l"/>
          <a:tab pos="6609558" algn="l"/>
        </a:tabLst>
        <a:defRPr sz="2539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626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7252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878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4505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8131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1757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5383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9009" algn="l" defTabSz="967252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5">
          <p15:clr>
            <a:srgbClr val="F26B43"/>
          </p15:clr>
        </p15:guide>
        <p15:guide id="2" orient="horz" pos="3380">
          <p15:clr>
            <a:srgbClr val="F26B43"/>
          </p15:clr>
        </p15:guide>
        <p15:guide id="3" pos="318">
          <p15:clr>
            <a:srgbClr val="F26B43"/>
          </p15:clr>
        </p15:guide>
        <p15:guide id="4" pos="6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2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4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.xml"/><Relationship Id="rId7" Type="http://schemas.openxmlformats.org/officeDocument/2006/relationships/image" Target="../media/image1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7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1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31.jpeg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3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3.jpe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tags" Target="../tags/tag34.xml"/><Relationship Id="rId7" Type="http://schemas.openxmlformats.org/officeDocument/2006/relationships/image" Target="../media/image16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1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image" Target="../media/image16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tiff"/><Relationship Id="rId4" Type="http://schemas.openxmlformats.org/officeDocument/2006/relationships/image" Target="../media/image10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image" Target="../media/image1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7.jpeg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D80DE96-8E48-0C42-A650-DBBB2A910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o are we?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D0B0A0B-3E38-AE46-BD82-05B8E2A9FC92}"/>
              </a:ext>
            </a:extLst>
          </p:cNvPr>
          <p:cNvSpPr txBox="1"/>
          <p:nvPr/>
        </p:nvSpPr>
        <p:spPr>
          <a:xfrm>
            <a:off x="4979088" y="4567480"/>
            <a:ext cx="2233823" cy="783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hristian Rudolph</a:t>
            </a: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Head of DevOps Transformatio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0F6D8F4-E1D4-D84B-8C94-25597B667391}"/>
              </a:ext>
            </a:extLst>
          </p:cNvPr>
          <p:cNvSpPr txBox="1"/>
          <p:nvPr/>
        </p:nvSpPr>
        <p:spPr>
          <a:xfrm>
            <a:off x="1355367" y="4579893"/>
            <a:ext cx="2175589" cy="78329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Lisa Dahms</a:t>
            </a: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Senior HR Manager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Learning &amp; Developmen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ED7387A-3289-3646-8FFD-44B656F3A95D}"/>
              </a:ext>
            </a:extLst>
          </p:cNvPr>
          <p:cNvSpPr txBox="1"/>
          <p:nvPr/>
        </p:nvSpPr>
        <p:spPr>
          <a:xfrm>
            <a:off x="8503411" y="4567480"/>
            <a:ext cx="2472194" cy="578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Philipp Böschen</a:t>
            </a: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DevOps Evangelist / Coach</a:t>
            </a:r>
          </a:p>
        </p:txBody>
      </p:sp>
      <p:pic>
        <p:nvPicPr>
          <p:cNvPr id="13" name="Grafik 12" descr="Ein Bild, das Auto, Systemsteuerung enthält.&#10;&#10;Automatisch generierte Beschreibung">
            <a:extLst>
              <a:ext uri="{FF2B5EF4-FFF2-40B4-BE49-F238E27FC236}">
                <a16:creationId xmlns:a16="http://schemas.microsoft.com/office/drawing/2014/main" id="{7A104216-3D10-9548-9028-529FDF676F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3794" y="1069736"/>
            <a:ext cx="2871428" cy="2810363"/>
          </a:xfrm>
          <a:prstGeom prst="rect">
            <a:avLst/>
          </a:prstGeom>
        </p:spPr>
      </p:pic>
      <p:pic>
        <p:nvPicPr>
          <p:cNvPr id="15" name="Grafik 14" descr="Ein Bild, das Person, draußen, Baum, Mann enthält.&#10;&#10;Automatisch generierte Beschreibung">
            <a:extLst>
              <a:ext uri="{FF2B5EF4-FFF2-40B4-BE49-F238E27FC236}">
                <a16:creationId xmlns:a16="http://schemas.microsoft.com/office/drawing/2014/main" id="{22ABCC20-9E62-FA41-A875-BFB68587B2A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5843" y="1069736"/>
            <a:ext cx="2500313" cy="2880610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1571BDD8-CDB1-6A4A-B604-D97B17DE2BA2}"/>
              </a:ext>
            </a:extLst>
          </p:cNvPr>
          <p:cNvSpPr/>
          <p:nvPr/>
        </p:nvSpPr>
        <p:spPr bwMode="auto">
          <a:xfrm>
            <a:off x="1143003" y="5743573"/>
            <a:ext cx="2600325" cy="60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D40E14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T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USTED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FD4B3C7-EE44-B745-8BFC-F8545A2AB420}"/>
              </a:ext>
            </a:extLst>
          </p:cNvPr>
          <p:cNvSpPr/>
          <p:nvPr/>
        </p:nvSpPr>
        <p:spPr bwMode="auto">
          <a:xfrm>
            <a:off x="4795836" y="5743574"/>
            <a:ext cx="2600325" cy="60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D40E14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U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IQU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D735B4C-3E70-714C-AA10-5AE42A5A6251}"/>
              </a:ext>
            </a:extLst>
          </p:cNvPr>
          <p:cNvSpPr/>
          <p:nvPr/>
        </p:nvSpPr>
        <p:spPr bwMode="auto">
          <a:xfrm>
            <a:off x="8448672" y="5743573"/>
            <a:ext cx="2600325" cy="60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D40E14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I</a:t>
            </a: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SPIRING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195" y="1069736"/>
            <a:ext cx="2663932" cy="2810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60209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7" name="Picture 3">
            <a:extLst>
              <a:ext uri="{FF2B5EF4-FFF2-40B4-BE49-F238E27FC236}">
                <a16:creationId xmlns:a16="http://schemas.microsoft.com/office/drawing/2014/main" id="{A41C6444-2382-9D4A-A955-900008ECB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7937" y="0"/>
            <a:ext cx="45640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FFC8333-1DBB-2543-A983-6BCB82E14699}"/>
              </a:ext>
            </a:extLst>
          </p:cNvPr>
          <p:cNvGrpSpPr/>
          <p:nvPr/>
        </p:nvGrpSpPr>
        <p:grpSpPr>
          <a:xfrm>
            <a:off x="48126" y="281860"/>
            <a:ext cx="7481455" cy="6150850"/>
            <a:chOff x="4495800" y="406916"/>
            <a:chExt cx="7481455" cy="6150850"/>
          </a:xfrm>
        </p:grpSpPr>
        <p:sp>
          <p:nvSpPr>
            <p:cNvPr id="9" name="TextBox 8"/>
            <p:cNvSpPr txBox="1"/>
            <p:nvPr/>
          </p:nvSpPr>
          <p:spPr>
            <a:xfrm>
              <a:off x="5840029" y="406916"/>
              <a:ext cx="4950991" cy="64902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38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Stable delivery</a:t>
              </a:r>
              <a:endPara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 panose="020B0304030202020203" pitchFamily="34" charset="0"/>
                <a:ea typeface="+mn-ea"/>
                <a:cs typeface="+mn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903167" y="2359010"/>
              <a:ext cx="4461012" cy="37010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42900" marR="0" lvl="0" indent="-342900" algn="l" defTabSz="1507973" rtl="0" eaLnBrk="1" fontAlgn="base" latinLnBrk="0" hangingPunct="1">
                <a:lnSpc>
                  <a:spcPct val="95000"/>
                </a:lnSpc>
                <a:spcBef>
                  <a:spcPts val="635"/>
                </a:spcBef>
                <a:spcAft>
                  <a:spcPts val="635"/>
                </a:spcAft>
                <a:buClrTx/>
                <a:buSzPct val="100000"/>
                <a:buFont typeface="Arial" pitchFamily="2" charset="2"/>
                <a:buChar char="•"/>
                <a:tabLst>
                  <a:tab pos="282115" algn="l"/>
                  <a:tab pos="2206544" algn="l"/>
                  <a:tab pos="4413089" algn="l"/>
                  <a:tab pos="6629709" algn="l"/>
                </a:tabLst>
                <a:defRPr/>
              </a:pPr>
              <a:endParaRPr kumimoji="0" lang="en-GB" sz="19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FC3AEB7-2672-4315-A484-824B6E6358A0}"/>
                </a:ext>
              </a:extLst>
            </p:cNvPr>
            <p:cNvSpPr txBox="1"/>
            <p:nvPr/>
          </p:nvSpPr>
          <p:spPr>
            <a:xfrm>
              <a:off x="5487058" y="3838560"/>
              <a:ext cx="6133400" cy="271920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342900" marR="0" lvl="0" indent="-342900" algn="l" defTabSz="1425575" rtl="0" eaLnBrk="1" fontAlgn="base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itchFamily="2" charset="2"/>
                <a:buChar char="Ø"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r>
                <a:rPr kumimoji="0" lang="en-GB" sz="2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Use existing deployment pipelines from our central VCS</a:t>
              </a:r>
            </a:p>
            <a:p>
              <a:pPr marL="342900" marR="0" lvl="0" indent="-342900" algn="l" defTabSz="1425575" rtl="0" eaLnBrk="0" fontAlgn="base" latinLnBrk="0" hangingPunct="0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itchFamily="2" charset="2"/>
                <a:buChar char="Ø"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r>
                <a:rPr kumimoji="0" lang="en-GB" sz="2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Central team of enabling engineers to support struggling teams</a:t>
              </a:r>
              <a:endParaRPr kumimoji="0" lang="en-GB" sz="2200" b="1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342900" marR="0" lvl="0" indent="-342900" algn="l" defTabSz="1425575" rtl="0" eaLnBrk="0" fontAlgn="base" latinLnBrk="0" hangingPunct="0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" pitchFamily="2" charset="2"/>
                <a:buChar char="Ø"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endParaRPr kumimoji="0" lang="en-GB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D948201C-CF99-C74C-B7E1-FAA1EE5CC1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95800" y="1249561"/>
              <a:ext cx="7481455" cy="2217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3207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74536" y="411122"/>
            <a:ext cx="4950991" cy="6490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ycle time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03167" y="2359010"/>
            <a:ext cx="4461012" cy="370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Arial" pitchFamily="2" charset="2"/>
              <a:buChar char="•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GB" sz="19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8B49167-3743-4E11-8FD5-07E921FA8215}"/>
              </a:ext>
            </a:extLst>
          </p:cNvPr>
          <p:cNvSpPr txBox="1"/>
          <p:nvPr/>
        </p:nvSpPr>
        <p:spPr>
          <a:xfrm>
            <a:off x="6397792" y="4384510"/>
            <a:ext cx="5149515" cy="27192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Adaptability to our environment will be the key to survival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Smaller batches decreases cycle time for work items</a:t>
            </a:r>
          </a:p>
          <a:p>
            <a:pPr marL="342900" marR="0" lvl="0" indent="-342900" algn="l" defTabSz="1425575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GB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3" name="Picture 5" descr="Chart&#10;&#10;Description automatically generated">
            <a:extLst>
              <a:ext uri="{FF2B5EF4-FFF2-40B4-BE49-F238E27FC236}">
                <a16:creationId xmlns:a16="http://schemas.microsoft.com/office/drawing/2014/main" id="{650C8A8F-9000-4C6A-9398-35BE6A81A80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1446" y="1715137"/>
            <a:ext cx="5631711" cy="2444216"/>
          </a:xfrm>
          <a:prstGeom prst="rect">
            <a:avLst/>
          </a:prstGeom>
        </p:spPr>
      </p:pic>
      <p:pic>
        <p:nvPicPr>
          <p:cNvPr id="6" name="Picture 6" descr="A picture containing water, outdoor, nature, rock&#10;&#10;Description automatically generated">
            <a:extLst>
              <a:ext uri="{FF2B5EF4-FFF2-40B4-BE49-F238E27FC236}">
                <a16:creationId xmlns:a16="http://schemas.microsoft.com/office/drawing/2014/main" id="{7C7B117B-CB37-4921-97AE-21299678A26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43"/>
            <a:ext cx="5433467" cy="686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042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7" name="Picture 5" descr="Keine alternative Textbeschreibung für dieses Bild vorhanden">
            <a:extLst>
              <a:ext uri="{FF2B5EF4-FFF2-40B4-BE49-F238E27FC236}">
                <a16:creationId xmlns:a16="http://schemas.microsoft.com/office/drawing/2014/main" id="{4EA2A122-A101-DA42-97AE-583A0A6E5B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9400" y="0"/>
            <a:ext cx="42926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15113" y="238100"/>
            <a:ext cx="4950991" cy="6490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3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Technical deb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56346" y="2230673"/>
            <a:ext cx="4461012" cy="370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Arial" pitchFamily="2" charset="2"/>
              <a:buChar char="•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GB" sz="19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B49167-3743-4E11-8FD5-07E921FA8215}"/>
              </a:ext>
            </a:extLst>
          </p:cNvPr>
          <p:cNvSpPr txBox="1"/>
          <p:nvPr/>
        </p:nvSpPr>
        <p:spPr>
          <a:xfrm>
            <a:off x="1256346" y="4606792"/>
            <a:ext cx="5149515" cy="21344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aise awareness that our focus on speed will incur debt</a:t>
            </a:r>
          </a:p>
          <a:p>
            <a:pPr marL="342900" marR="0" lvl="0" indent="-342900" algn="l" defTabSz="1425575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GB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ollect our debt so we can make informed decisions on our risk</a:t>
            </a:r>
          </a:p>
        </p:txBody>
      </p:sp>
      <p:pic>
        <p:nvPicPr>
          <p:cNvPr id="125000" name="Picture 72">
            <a:extLst>
              <a:ext uri="{FF2B5EF4-FFF2-40B4-BE49-F238E27FC236}">
                <a16:creationId xmlns:a16="http://schemas.microsoft.com/office/drawing/2014/main" id="{AEB17347-5DB4-8F4B-8EA4-DF67015234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390" y="972631"/>
            <a:ext cx="5341671" cy="3543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21">
            <a:extLst>
              <a:ext uri="{FF2B5EF4-FFF2-40B4-BE49-F238E27FC236}">
                <a16:creationId xmlns:a16="http://schemas.microsoft.com/office/drawing/2014/main" id="{96B6BA42-7BE8-3D4E-8DFF-B1B8CE59B7E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061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16877" y="872137"/>
            <a:ext cx="4950991" cy="649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3808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 panose="020B0304030202020203" pitchFamily="34" charset="0"/>
                <a:ea typeface="+mn-ea"/>
                <a:cs typeface="+mn-cs"/>
              </a:rPr>
              <a:t>Refocus</a:t>
            </a: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5A383519-5F73-CE46-AA97-B5C06C9B4974}"/>
              </a:ext>
            </a:extLst>
          </p:cNvPr>
          <p:cNvSpPr/>
          <p:nvPr/>
        </p:nvSpPr>
        <p:spPr bwMode="auto">
          <a:xfrm>
            <a:off x="7405426" y="2086985"/>
            <a:ext cx="3313374" cy="502920"/>
          </a:xfrm>
          <a:prstGeom prst="round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Limit WIP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3EA8D6B4-1FC0-B741-B649-679DEE6FF3B8}"/>
              </a:ext>
            </a:extLst>
          </p:cNvPr>
          <p:cNvSpPr/>
          <p:nvPr/>
        </p:nvSpPr>
        <p:spPr bwMode="auto">
          <a:xfrm>
            <a:off x="7405426" y="4268096"/>
            <a:ext cx="3313374" cy="502920"/>
          </a:xfrm>
          <a:prstGeom prst="round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Shared goals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9CFA4C7-B5BC-9241-ADF9-41B3B276E190}"/>
              </a:ext>
            </a:extLst>
          </p:cNvPr>
          <p:cNvSpPr/>
          <p:nvPr/>
        </p:nvSpPr>
        <p:spPr bwMode="auto">
          <a:xfrm>
            <a:off x="7405426" y="2666848"/>
            <a:ext cx="3313374" cy="1079652"/>
          </a:xfrm>
          <a:prstGeom prst="rect">
            <a:avLst/>
          </a:prstGeom>
          <a:solidFill>
            <a:schemeClr val="accent2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Fast feedback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Remove context switching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Increased velocity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94B3722-33EE-B842-B96F-FA0491B03C58}"/>
              </a:ext>
            </a:extLst>
          </p:cNvPr>
          <p:cNvSpPr/>
          <p:nvPr/>
        </p:nvSpPr>
        <p:spPr bwMode="auto">
          <a:xfrm>
            <a:off x="7405426" y="4902274"/>
            <a:ext cx="3313374" cy="979993"/>
          </a:xfrm>
          <a:prstGeom prst="rect">
            <a:avLst/>
          </a:prstGeom>
          <a:solidFill>
            <a:schemeClr val="accent2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Less conflicts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Increased motivation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</p:txBody>
      </p:sp>
      <p:pic>
        <p:nvPicPr>
          <p:cNvPr id="16" name="Grafik 15" descr="Ein Bild, das Himmel, draußen, Strand, Wasser enthält.&#10;&#10;Automatisch generierte Beschreibung">
            <a:extLst>
              <a:ext uri="{FF2B5EF4-FFF2-40B4-BE49-F238E27FC236}">
                <a16:creationId xmlns:a16="http://schemas.microsoft.com/office/drawing/2014/main" id="{57458D02-2055-DB49-95F5-FEAE2507115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8578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277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Himmel, Boden, Sport, blau enthält.&#10;&#10;Automatisch generierte Beschreibung">
            <a:extLst>
              <a:ext uri="{FF2B5EF4-FFF2-40B4-BE49-F238E27FC236}">
                <a16:creationId xmlns:a16="http://schemas.microsoft.com/office/drawing/2014/main" id="{760F3EA6-CF09-6A46-8DDB-F797172853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6562" y="0"/>
            <a:ext cx="5834063" cy="6858000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5474" y="732747"/>
            <a:ext cx="4950991" cy="6490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3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Accelerate</a:t>
            </a:r>
            <a:endParaRPr kumimoji="0" lang="en-GB" sz="3808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UITypeLight" panose="020B0304030202020203" pitchFamily="34" charset="0"/>
              <a:ea typeface="+mn-ea"/>
              <a:cs typeface="+mn-cs"/>
            </a:endParaRP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5A383519-5F73-CE46-AA97-B5C06C9B4974}"/>
              </a:ext>
            </a:extLst>
          </p:cNvPr>
          <p:cNvSpPr/>
          <p:nvPr/>
        </p:nvSpPr>
        <p:spPr bwMode="auto">
          <a:xfrm>
            <a:off x="1368163" y="2086985"/>
            <a:ext cx="3661034" cy="502920"/>
          </a:xfrm>
          <a:prstGeom prst="round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Product organization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3EA8D6B4-1FC0-B741-B649-679DEE6FF3B8}"/>
              </a:ext>
            </a:extLst>
          </p:cNvPr>
          <p:cNvSpPr/>
          <p:nvPr/>
        </p:nvSpPr>
        <p:spPr bwMode="auto">
          <a:xfrm>
            <a:off x="1368163" y="4268096"/>
            <a:ext cx="3661033" cy="502920"/>
          </a:xfrm>
          <a:prstGeom prst="round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ulture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9CFA4C7-B5BC-9241-ADF9-41B3B276E190}"/>
              </a:ext>
            </a:extLst>
          </p:cNvPr>
          <p:cNvSpPr/>
          <p:nvPr/>
        </p:nvSpPr>
        <p:spPr bwMode="auto">
          <a:xfrm>
            <a:off x="1368164" y="2721163"/>
            <a:ext cx="3661036" cy="979993"/>
          </a:xfrm>
          <a:prstGeom prst="rect">
            <a:avLst/>
          </a:prstGeom>
          <a:solidFill>
            <a:schemeClr val="accent2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One global organization – </a:t>
            </a:r>
            <a:r>
              <a:rPr kumimoji="0" lang="en-US" sz="1900" b="1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OneIT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Do things once but right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94B3722-33EE-B842-B96F-FA0491B03C58}"/>
              </a:ext>
            </a:extLst>
          </p:cNvPr>
          <p:cNvSpPr/>
          <p:nvPr/>
        </p:nvSpPr>
        <p:spPr bwMode="auto">
          <a:xfrm>
            <a:off x="1368164" y="4902274"/>
            <a:ext cx="3661034" cy="979993"/>
          </a:xfrm>
          <a:prstGeom prst="rect">
            <a:avLst/>
          </a:prstGeom>
          <a:solidFill>
            <a:schemeClr val="accent2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Everyone works remotely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Digitalization first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UITypeLight"/>
                <a:ea typeface="+mn-ea"/>
                <a:cs typeface="+mn-cs"/>
              </a:rPr>
              <a:t>Embrace knowledge sharing</a:t>
            </a: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  <a:p>
            <a:pPr marL="285750" marR="0" lvl="0" indent="-285750" algn="l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Char char="Ø"/>
              <a:tabLst/>
              <a:defRPr/>
            </a:pPr>
            <a:endParaRPr lang="en-US" sz="19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UITypeLight"/>
            </a:endParaRPr>
          </a:p>
        </p:txBody>
      </p:sp>
    </p:spTree>
    <p:extLst>
      <p:ext uri="{BB962C8B-B14F-4D97-AF65-F5344CB8AC3E}">
        <p14:creationId xmlns:p14="http://schemas.microsoft.com/office/powerpoint/2010/main" val="1719646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C41688-8549-BC40-8C71-B8BD0EFFB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12" y="372727"/>
            <a:ext cx="11123646" cy="799687"/>
          </a:xfrm>
        </p:spPr>
        <p:txBody>
          <a:bodyPr/>
          <a:lstStyle/>
          <a:p>
            <a:r>
              <a:rPr lang="en-US"/>
              <a:t>ONE IT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EF9CC09D-0E79-AD48-94C9-1B981EC4E338}"/>
              </a:ext>
            </a:extLst>
          </p:cNvPr>
          <p:cNvGrpSpPr/>
          <p:nvPr/>
        </p:nvGrpSpPr>
        <p:grpSpPr>
          <a:xfrm>
            <a:off x="6647005" y="3655116"/>
            <a:ext cx="3391348" cy="2828297"/>
            <a:chOff x="8128510" y="1817541"/>
            <a:chExt cx="3391348" cy="2828297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8738BC4-83A1-2E43-913D-8E03CE4DF7EE}"/>
                </a:ext>
              </a:extLst>
            </p:cNvPr>
            <p:cNvSpPr/>
            <p:nvPr/>
          </p:nvSpPr>
          <p:spPr bwMode="auto">
            <a:xfrm>
              <a:off x="8128510" y="1817541"/>
              <a:ext cx="3391348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OneIT</a:t>
              </a: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D4D295F2-8064-6144-8C8C-24592D58F2AE}"/>
                </a:ext>
              </a:extLst>
            </p:cNvPr>
            <p:cNvSpPr/>
            <p:nvPr/>
          </p:nvSpPr>
          <p:spPr bwMode="auto">
            <a:xfrm rot="16200000">
              <a:off x="7262823" y="3351525"/>
              <a:ext cx="2160000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Sales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E194880-B2F5-0F4A-AD74-7123583998A6}"/>
                </a:ext>
              </a:extLst>
            </p:cNvPr>
            <p:cNvSpPr/>
            <p:nvPr/>
          </p:nvSpPr>
          <p:spPr bwMode="auto">
            <a:xfrm rot="16200000">
              <a:off x="7868782" y="3338591"/>
              <a:ext cx="2160000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Product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EF8374E-D1FE-2D45-B5EA-8A6E1B0C85AA}"/>
                </a:ext>
              </a:extLst>
            </p:cNvPr>
            <p:cNvSpPr/>
            <p:nvPr/>
          </p:nvSpPr>
          <p:spPr bwMode="auto">
            <a:xfrm rot="16200000">
              <a:off x="8482693" y="3338592"/>
              <a:ext cx="2160000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Commercial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6DC9C5A9-4E57-014C-BD0A-D96C6D2F7B3B}"/>
                </a:ext>
              </a:extLst>
            </p:cNvPr>
            <p:cNvSpPr/>
            <p:nvPr/>
          </p:nvSpPr>
          <p:spPr bwMode="auto">
            <a:xfrm rot="16200000">
              <a:off x="9096604" y="3338589"/>
              <a:ext cx="2160000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Sourcing Hotels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E52E8C0-6196-8E41-AA14-6BF698EE472D}"/>
                </a:ext>
              </a:extLst>
            </p:cNvPr>
            <p:cNvSpPr/>
            <p:nvPr/>
          </p:nvSpPr>
          <p:spPr bwMode="auto">
            <a:xfrm rot="16200000">
              <a:off x="9657098" y="3351525"/>
              <a:ext cx="2160000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Sourcing Flights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772E694-3757-E842-B65A-6E06A7BD8719}"/>
                </a:ext>
              </a:extLst>
            </p:cNvPr>
            <p:cNvSpPr/>
            <p:nvPr/>
          </p:nvSpPr>
          <p:spPr bwMode="auto">
            <a:xfrm rot="16200000">
              <a:off x="10217594" y="3338588"/>
              <a:ext cx="2160000" cy="428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" pitchFamily="34" charset="0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D95B232-3798-AD4C-988D-B5A294955016}"/>
              </a:ext>
            </a:extLst>
          </p:cNvPr>
          <p:cNvSpPr txBox="1"/>
          <p:nvPr/>
        </p:nvSpPr>
        <p:spPr>
          <a:xfrm>
            <a:off x="5132696" y="1444352"/>
            <a:ext cx="149070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Befor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F319935-FAB9-E74F-866E-086DCEC8BFAB}"/>
              </a:ext>
            </a:extLst>
          </p:cNvPr>
          <p:cNvSpPr txBox="1"/>
          <p:nvPr/>
        </p:nvSpPr>
        <p:spPr>
          <a:xfrm>
            <a:off x="5132696" y="5034993"/>
            <a:ext cx="149070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425575" rtl="0" eaLnBrk="1" fontAlgn="base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ow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EBC5843E-9933-8F4E-8D31-5FF4F51E6FB8}"/>
              </a:ext>
            </a:extLst>
          </p:cNvPr>
          <p:cNvGrpSpPr/>
          <p:nvPr/>
        </p:nvGrpSpPr>
        <p:grpSpPr>
          <a:xfrm>
            <a:off x="6647458" y="323759"/>
            <a:ext cx="3394107" cy="2811108"/>
            <a:chOff x="3563210" y="1817541"/>
            <a:chExt cx="3394107" cy="2811108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D8E8EAA-96EB-1042-A908-4530DC1008B2}"/>
                </a:ext>
              </a:extLst>
            </p:cNvPr>
            <p:cNvSpPr/>
            <p:nvPr/>
          </p:nvSpPr>
          <p:spPr bwMode="auto">
            <a:xfrm>
              <a:off x="3563210" y="1817541"/>
              <a:ext cx="1655995" cy="428625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Regions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4BF83A83-E42E-F34B-A638-CE22B665DE5B}"/>
                </a:ext>
              </a:extLst>
            </p:cNvPr>
            <p:cNvSpPr/>
            <p:nvPr/>
          </p:nvSpPr>
          <p:spPr bwMode="auto">
            <a:xfrm>
              <a:off x="5377723" y="1817541"/>
              <a:ext cx="1576382" cy="428625"/>
            </a:xfrm>
            <a:prstGeom prst="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Group IT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C54E549-EDD2-7B40-B19D-1DF968F8E071}"/>
                </a:ext>
              </a:extLst>
            </p:cNvPr>
            <p:cNvSpPr/>
            <p:nvPr/>
          </p:nvSpPr>
          <p:spPr bwMode="auto">
            <a:xfrm rot="16200000">
              <a:off x="2700283" y="3321401"/>
              <a:ext cx="2160000" cy="428625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Central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0A0B194-3658-9647-8707-9148A729BCBE}"/>
                </a:ext>
              </a:extLst>
            </p:cNvPr>
            <p:cNvSpPr/>
            <p:nvPr/>
          </p:nvSpPr>
          <p:spPr bwMode="auto">
            <a:xfrm rot="16200000">
              <a:off x="3314194" y="3321402"/>
              <a:ext cx="2160000" cy="428625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Northern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9D4008DF-1786-A240-B802-ADE9A07B72AC}"/>
                </a:ext>
              </a:extLst>
            </p:cNvPr>
            <p:cNvSpPr/>
            <p:nvPr/>
          </p:nvSpPr>
          <p:spPr bwMode="auto">
            <a:xfrm rot="16200000">
              <a:off x="3928105" y="3321403"/>
              <a:ext cx="2160000" cy="428625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Western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5D8FAD1A-B4C4-1245-9F76-A8A377F731E9}"/>
                </a:ext>
              </a:extLst>
            </p:cNvPr>
            <p:cNvSpPr/>
            <p:nvPr/>
          </p:nvSpPr>
          <p:spPr bwMode="auto">
            <a:xfrm rot="16200000">
              <a:off x="4542016" y="3321400"/>
              <a:ext cx="2160000" cy="428625"/>
            </a:xfrm>
            <a:prstGeom prst="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Digital Platforms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349BEA1-96A2-8144-A878-46718584E867}"/>
                </a:ext>
              </a:extLst>
            </p:cNvPr>
            <p:cNvSpPr/>
            <p:nvPr/>
          </p:nvSpPr>
          <p:spPr bwMode="auto">
            <a:xfrm rot="16200000">
              <a:off x="5102510" y="3334336"/>
              <a:ext cx="2160000" cy="428625"/>
            </a:xfrm>
            <a:prstGeom prst="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Corporate Systems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DA015FFC-7E46-094A-B950-8AFCAC77A874}"/>
                </a:ext>
              </a:extLst>
            </p:cNvPr>
            <p:cNvSpPr/>
            <p:nvPr/>
          </p:nvSpPr>
          <p:spPr bwMode="auto">
            <a:xfrm rot="16200000">
              <a:off x="5663005" y="3334336"/>
              <a:ext cx="2160000" cy="428625"/>
            </a:xfrm>
            <a:prstGeom prst="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solidFill>
                      <a:sysClr val="windowText" lastClr="000000"/>
                    </a:solidFill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….</a:t>
              </a:r>
            </a:p>
          </p:txBody>
        </p:sp>
        <p:sp>
          <p:nvSpPr>
            <p:cNvPr id="29" name="AutoShape 2" descr="Attached image - No description set">
              <a:extLst>
                <a:ext uri="{FF2B5EF4-FFF2-40B4-BE49-F238E27FC236}">
                  <a16:creationId xmlns:a16="http://schemas.microsoft.com/office/drawing/2014/main" id="{476D09DF-546D-AA4E-BA4C-454C9D8D38A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43600" y="327660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</p:grpSp>
      <p:sp>
        <p:nvSpPr>
          <p:cNvPr id="30" name="AutoShape 4" descr="Attached image - No description set">
            <a:extLst>
              <a:ext uri="{FF2B5EF4-FFF2-40B4-BE49-F238E27FC236}">
                <a16:creationId xmlns:a16="http://schemas.microsoft.com/office/drawing/2014/main" id="{10E8AFF7-4E3B-C846-868D-0F217C5C021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17898" y="3429000"/>
            <a:ext cx="4082902" cy="4082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  <p:pic>
        <p:nvPicPr>
          <p:cNvPr id="136200" name="Picture 8">
            <a:extLst>
              <a:ext uri="{FF2B5EF4-FFF2-40B4-BE49-F238E27FC236}">
                <a16:creationId xmlns:a16="http://schemas.microsoft.com/office/drawing/2014/main" id="{6B305E7C-4F33-2145-8B17-9D49F7FB7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65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511037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1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634899" y="2782"/>
            <a:ext cx="5580710" cy="6855218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7" imgW="7772400" imgH="10058400" progId="TCLayout.ActiveDocument.1">
                  <p:embed/>
                </p:oleObj>
              </mc:Choice>
              <mc:Fallback>
                <p:oleObj name="think-cell Folie" r:id="rId7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59038" y="570182"/>
            <a:ext cx="4950991" cy="79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 panose="020B0304030202020203" pitchFamily="34" charset="0"/>
                <a:ea typeface="+mn-ea"/>
                <a:cs typeface="+mn-cs"/>
              </a:rPr>
              <a:t>for:ward</a:t>
            </a:r>
            <a:endParaRPr kumimoji="0" lang="en-GB" sz="4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UITypeLight" panose="020B0304030202020203" pitchFamily="34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7249" y="1703364"/>
            <a:ext cx="5795603" cy="2810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Global, long-term development </a:t>
            </a:r>
            <a:r>
              <a:rPr kumimoji="0" lang="en-US" sz="1904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programme</a:t>
            </a:r>
            <a:endParaRPr kumimoji="0" lang="en-US" sz="1904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All colleagues within IT Domain </a:t>
            </a:r>
            <a:r>
              <a:rPr kumimoji="0" lang="en-US" sz="1904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Organisation</a:t>
            </a: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in scope</a:t>
            </a:r>
          </a:p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entrally funded</a:t>
            </a:r>
          </a:p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2 streams to build </a:t>
            </a:r>
            <a:r>
              <a:rPr kumimoji="0" lang="en-US" sz="1904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programme</a:t>
            </a: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foundation: </a:t>
            </a:r>
            <a:b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</a:b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ole transition &amp; on-demand learning</a:t>
            </a:r>
          </a:p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ew work mindset</a:t>
            </a:r>
          </a:p>
          <a:p>
            <a:pPr marL="342900" marR="0" lvl="0" indent="-34290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1904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Peer learning &amp; interaction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352926" y="4971264"/>
            <a:ext cx="6064247" cy="8817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At TUI, continuous learning is a natural part of business delivery.</a:t>
            </a: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9069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3F7741C-4125-524F-BBB1-D96CC414A30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486400" cy="68580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A6343A2-E4B6-3E47-84CD-7FC5F9520214}"/>
              </a:ext>
            </a:extLst>
          </p:cNvPr>
          <p:cNvGrpSpPr/>
          <p:nvPr/>
        </p:nvGrpSpPr>
        <p:grpSpPr>
          <a:xfrm>
            <a:off x="6224338" y="293753"/>
            <a:ext cx="4950991" cy="5827470"/>
            <a:chOff x="741796" y="547522"/>
            <a:chExt cx="4950991" cy="5827470"/>
          </a:xfrm>
        </p:grpSpPr>
        <p:sp>
          <p:nvSpPr>
            <p:cNvPr id="9" name="TextBox 8"/>
            <p:cNvSpPr txBox="1"/>
            <p:nvPr/>
          </p:nvSpPr>
          <p:spPr>
            <a:xfrm>
              <a:off x="741796" y="547522"/>
              <a:ext cx="4950991" cy="794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4800" b="1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UITypeLight" panose="020B0304030202020203" pitchFamily="34" charset="0"/>
                  <a:ea typeface="+mn-ea"/>
                  <a:cs typeface="+mn-cs"/>
                </a:rPr>
                <a:t>for:ward</a:t>
              </a:r>
              <a:endPara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 panose="020B0304030202020203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5"/>
            <p:cNvSpPr/>
            <p:nvPr/>
          </p:nvSpPr>
          <p:spPr bwMode="auto">
            <a:xfrm>
              <a:off x="968198" y="1602552"/>
              <a:ext cx="1305197" cy="525600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Stream</a:t>
              </a: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16" name="Rectangle 8"/>
            <p:cNvSpPr/>
            <p:nvPr/>
          </p:nvSpPr>
          <p:spPr bwMode="auto">
            <a:xfrm>
              <a:off x="974785" y="2248976"/>
              <a:ext cx="1305197" cy="525600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Focus</a:t>
              </a: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17" name="Rectangle 9"/>
            <p:cNvSpPr/>
            <p:nvPr/>
          </p:nvSpPr>
          <p:spPr bwMode="auto">
            <a:xfrm>
              <a:off x="969591" y="2905133"/>
              <a:ext cx="1305197" cy="525600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Kick-off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18" name="Rectangle 12"/>
            <p:cNvSpPr/>
            <p:nvPr/>
          </p:nvSpPr>
          <p:spPr bwMode="auto">
            <a:xfrm>
              <a:off x="2442124" y="1601875"/>
              <a:ext cx="1562527" cy="526277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Role Transition</a:t>
              </a:r>
            </a:p>
          </p:txBody>
        </p:sp>
        <p:sp>
          <p:nvSpPr>
            <p:cNvPr id="20" name="Rectangle 9"/>
            <p:cNvSpPr/>
            <p:nvPr/>
          </p:nvSpPr>
          <p:spPr bwMode="auto">
            <a:xfrm>
              <a:off x="969454" y="3568101"/>
              <a:ext cx="1305197" cy="525600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Learning Provider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23" name="Rectangle 12"/>
            <p:cNvSpPr/>
            <p:nvPr/>
          </p:nvSpPr>
          <p:spPr bwMode="auto">
            <a:xfrm>
              <a:off x="4130260" y="1601875"/>
              <a:ext cx="1562527" cy="526277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On-demand Learning</a:t>
              </a:r>
            </a:p>
          </p:txBody>
        </p:sp>
        <p:sp>
          <p:nvSpPr>
            <p:cNvPr id="24" name="Rectangle 12"/>
            <p:cNvSpPr/>
            <p:nvPr/>
          </p:nvSpPr>
          <p:spPr bwMode="auto">
            <a:xfrm>
              <a:off x="2442124" y="2248299"/>
              <a:ext cx="1562527" cy="526277"/>
            </a:xfrm>
            <a:prstGeom prst="round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Intensive </a:t>
              </a:r>
              <a:b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</a:b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re- &amp; upskilling</a:t>
              </a:r>
            </a:p>
          </p:txBody>
        </p:sp>
        <p:sp>
          <p:nvSpPr>
            <p:cNvPr id="25" name="Rectangle 12"/>
            <p:cNvSpPr/>
            <p:nvPr/>
          </p:nvSpPr>
          <p:spPr bwMode="auto">
            <a:xfrm>
              <a:off x="4130260" y="2248299"/>
              <a:ext cx="1562527" cy="526277"/>
            </a:xfrm>
            <a:prstGeom prst="roundRect">
              <a:avLst/>
            </a:prstGeom>
            <a:solidFill>
              <a:schemeClr val="tx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Learning 24/7</a:t>
              </a:r>
            </a:p>
          </p:txBody>
        </p:sp>
        <p:sp>
          <p:nvSpPr>
            <p:cNvPr id="26" name="Rectangle 12"/>
            <p:cNvSpPr/>
            <p:nvPr/>
          </p:nvSpPr>
          <p:spPr bwMode="auto">
            <a:xfrm>
              <a:off x="2442124" y="2905133"/>
              <a:ext cx="1562527" cy="526277"/>
            </a:xfrm>
            <a:prstGeom prst="round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May 21</a:t>
              </a:r>
            </a:p>
          </p:txBody>
        </p:sp>
        <p:sp>
          <p:nvSpPr>
            <p:cNvPr id="27" name="Rectangle 12"/>
            <p:cNvSpPr/>
            <p:nvPr/>
          </p:nvSpPr>
          <p:spPr bwMode="auto">
            <a:xfrm>
              <a:off x="4130260" y="2905133"/>
              <a:ext cx="1562527" cy="526277"/>
            </a:xfrm>
            <a:prstGeom prst="roundRect">
              <a:avLst/>
            </a:prstGeom>
            <a:solidFill>
              <a:schemeClr val="tx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March 21</a:t>
              </a:r>
            </a:p>
          </p:txBody>
        </p:sp>
        <p:sp>
          <p:nvSpPr>
            <p:cNvPr id="32" name="Rectangle 12"/>
            <p:cNvSpPr/>
            <p:nvPr/>
          </p:nvSpPr>
          <p:spPr bwMode="auto">
            <a:xfrm>
              <a:off x="2442124" y="3574905"/>
              <a:ext cx="1562527" cy="526277"/>
            </a:xfrm>
            <a:prstGeom prst="round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Udacity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33" name="Rectangle 12"/>
            <p:cNvSpPr/>
            <p:nvPr/>
          </p:nvSpPr>
          <p:spPr bwMode="auto">
            <a:xfrm>
              <a:off x="4130260" y="3574905"/>
              <a:ext cx="1562527" cy="526277"/>
            </a:xfrm>
            <a:prstGeom prst="roundRect">
              <a:avLst/>
            </a:prstGeom>
            <a:solidFill>
              <a:schemeClr val="tx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Udemy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36" name="Rectangle 9"/>
            <p:cNvSpPr/>
            <p:nvPr/>
          </p:nvSpPr>
          <p:spPr bwMode="auto">
            <a:xfrm>
              <a:off x="968198" y="4224851"/>
              <a:ext cx="1305197" cy="964207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Learning path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37" name="Rectangle 12"/>
            <p:cNvSpPr/>
            <p:nvPr/>
          </p:nvSpPr>
          <p:spPr bwMode="auto">
            <a:xfrm>
              <a:off x="2442124" y="4254472"/>
              <a:ext cx="1562527" cy="927188"/>
            </a:xfrm>
            <a:prstGeom prst="round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Data Analyst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Data Engineer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Data Scientist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DevSecOps</a:t>
              </a: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 Eng.</a:t>
              </a:r>
            </a:p>
          </p:txBody>
        </p:sp>
        <p:sp>
          <p:nvSpPr>
            <p:cNvPr id="38" name="Rectangle 12"/>
            <p:cNvSpPr/>
            <p:nvPr/>
          </p:nvSpPr>
          <p:spPr bwMode="auto">
            <a:xfrm>
              <a:off x="4130260" y="4254472"/>
              <a:ext cx="1562527" cy="927188"/>
            </a:xfrm>
            <a:prstGeom prst="roundRect">
              <a:avLst/>
            </a:prstGeom>
            <a:solidFill>
              <a:schemeClr val="tx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36000" tIns="46800" rIns="360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Not 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pre-determined</a:t>
              </a:r>
            </a:p>
          </p:txBody>
        </p:sp>
        <p:sp>
          <p:nvSpPr>
            <p:cNvPr id="39" name="Rectangle 9"/>
            <p:cNvSpPr/>
            <p:nvPr/>
          </p:nvSpPr>
          <p:spPr bwMode="auto">
            <a:xfrm>
              <a:off x="968198" y="5329304"/>
              <a:ext cx="1305197" cy="1045688"/>
            </a:xfrm>
            <a:prstGeom prst="roundRect">
              <a:avLst/>
            </a:prstGeom>
            <a:solidFill>
              <a:schemeClr val="bg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Time Invest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40" name="Rectangle 12"/>
            <p:cNvSpPr/>
            <p:nvPr/>
          </p:nvSpPr>
          <p:spPr bwMode="auto">
            <a:xfrm>
              <a:off x="2442124" y="5329304"/>
              <a:ext cx="1562527" cy="1005541"/>
            </a:xfrm>
            <a:prstGeom prst="roundRect">
              <a:avLst/>
            </a:prstGeom>
            <a:solidFill>
              <a:schemeClr val="accent3">
                <a:alpha val="89000"/>
              </a:schemeClr>
            </a:solidFill>
            <a:ln>
              <a:noFill/>
            </a:ln>
          </p:spPr>
          <p:txBody>
            <a:bodyPr lIns="82800" tIns="46800" rIns="828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3-6 months per learning path,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30-50% of time</a:t>
              </a:r>
            </a:p>
          </p:txBody>
        </p:sp>
        <p:sp>
          <p:nvSpPr>
            <p:cNvPr id="41" name="Rectangle 12"/>
            <p:cNvSpPr/>
            <p:nvPr/>
          </p:nvSpPr>
          <p:spPr bwMode="auto">
            <a:xfrm>
              <a:off x="4130260" y="5329304"/>
              <a:ext cx="1562527" cy="1005541"/>
            </a:xfrm>
            <a:prstGeom prst="roundRect">
              <a:avLst/>
            </a:prstGeom>
            <a:solidFill>
              <a:schemeClr val="tx1">
                <a:alpha val="89000"/>
              </a:schemeClr>
            </a:solidFill>
            <a:ln>
              <a:solidFill>
                <a:schemeClr val="tx1"/>
              </a:solidFill>
            </a:ln>
          </p:spPr>
          <p:txBody>
            <a:bodyPr lIns="36000" tIns="46800" rIns="36000" bIns="46800" rtlCol="0" anchor="ctr"/>
            <a:lstStyle/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Course-driven,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92A5E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Local TUI L&amp;D initiatives to accelerat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6789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2" name="Picture 2">
            <a:extLst>
              <a:ext uri="{FF2B5EF4-FFF2-40B4-BE49-F238E27FC236}">
                <a16:creationId xmlns:a16="http://schemas.microsoft.com/office/drawing/2014/main" id="{D7DE08FB-22A7-9B4A-AF49-00E011AEE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7937" y="0"/>
            <a:ext cx="456406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9"/>
          <p:cNvSpPr/>
          <p:nvPr/>
        </p:nvSpPr>
        <p:spPr bwMode="auto">
          <a:xfrm>
            <a:off x="3902637" y="173310"/>
            <a:ext cx="3232481" cy="1809727"/>
          </a:xfrm>
          <a:prstGeom prst="roundRect">
            <a:avLst/>
          </a:prstGeom>
          <a:solidFill>
            <a:schemeClr val="accent1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We want to take our employees with us on our 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DevSecOps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journey and train them on the latest skills. This will make our employees and TUI fit for whatever comes next and enable us to shape our own future.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Elke Reichart, CDO TUI</a:t>
            </a: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7" name="Rectangle 12"/>
          <p:cNvSpPr/>
          <p:nvPr/>
        </p:nvSpPr>
        <p:spPr bwMode="auto">
          <a:xfrm>
            <a:off x="192182" y="714714"/>
            <a:ext cx="3345774" cy="2204435"/>
          </a:xfrm>
          <a:prstGeom prst="roundRect">
            <a:avLst/>
          </a:prstGeom>
          <a:solidFill>
            <a:schemeClr val="accent3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lvl="0" algn="ctr" eaLnBrk="0" hangingPunct="0">
              <a:lnSpc>
                <a:spcPct val="95000"/>
              </a:lnSpc>
              <a:buClr>
                <a:srgbClr val="092A5E"/>
              </a:buClr>
              <a:buSzPct val="70000"/>
              <a:defRPr/>
            </a:pPr>
            <a:r>
              <a:rPr lang="en-US" sz="1400" b="1" kern="0">
                <a:solidFill>
                  <a:srgbClr val="FFFFFF"/>
                </a:solidFill>
              </a:rPr>
              <a:t>Many colleagues have put a lot of thought into designing the </a:t>
            </a:r>
            <a:r>
              <a:rPr lang="en-US" sz="1400" b="1" kern="0" err="1">
                <a:solidFill>
                  <a:srgbClr val="FFFFFF"/>
                </a:solidFill>
              </a:rPr>
              <a:t>programme</a:t>
            </a:r>
            <a:r>
              <a:rPr lang="en-US" sz="1400" b="1" kern="0">
                <a:solidFill>
                  <a:srgbClr val="FFFFFF"/>
                </a:solidFill>
              </a:rPr>
              <a:t> – from HR as well as IT. This helped to create a development </a:t>
            </a:r>
            <a:r>
              <a:rPr lang="en-US" sz="1400" b="1" kern="0" err="1">
                <a:solidFill>
                  <a:srgbClr val="FFFFFF"/>
                </a:solidFill>
              </a:rPr>
              <a:t>programme</a:t>
            </a:r>
            <a:r>
              <a:rPr lang="en-US" sz="1400" b="1" kern="0">
                <a:solidFill>
                  <a:srgbClr val="FFFFFF"/>
                </a:solidFill>
              </a:rPr>
              <a:t> of real value for our people and increased mutual understanding for the processes and requirements “behind the scenes”.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Frank Rosenberger, CIO TUI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10" name="Rectangle 12"/>
          <p:cNvSpPr/>
          <p:nvPr/>
        </p:nvSpPr>
        <p:spPr bwMode="auto">
          <a:xfrm>
            <a:off x="192182" y="3495556"/>
            <a:ext cx="3345774" cy="2257063"/>
          </a:xfrm>
          <a:prstGeom prst="roundRect">
            <a:avLst/>
          </a:prstGeom>
          <a:solidFill>
            <a:schemeClr val="accent3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The 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for:ward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program came exactly at the right time. With for:ward we can now perfectly transition into a much-needed skillset in our department. The perfect solution for manager and employee with a clear path.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Henning von Roon, Head of Analytics Capabilities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11" name="Rectangle 12"/>
          <p:cNvSpPr/>
          <p:nvPr/>
        </p:nvSpPr>
        <p:spPr bwMode="auto">
          <a:xfrm>
            <a:off x="3902637" y="4259481"/>
            <a:ext cx="3232482" cy="2349256"/>
          </a:xfrm>
          <a:prstGeom prst="roundRect">
            <a:avLst/>
          </a:prstGeom>
          <a:solidFill>
            <a:schemeClr val="tx1">
              <a:alpha val="89000"/>
            </a:schemeClr>
          </a:solidFill>
          <a:ln>
            <a:noFill/>
          </a:ln>
        </p:spPr>
        <p:txBody>
          <a:bodyPr lIns="36000" tIns="46800" rIns="360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Learning is something that gets not enough attention on the job so having the opportunity to do focused and guided learning is really valuable. The 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for:ward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program allows me to get ready for a new position while making me better at my current role. I am excited to start!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Jens Mohme, IT Developer TUI</a:t>
            </a:r>
          </a:p>
        </p:txBody>
      </p:sp>
      <p:sp>
        <p:nvSpPr>
          <p:cNvPr id="12" name="Rectangle 9"/>
          <p:cNvSpPr/>
          <p:nvPr/>
        </p:nvSpPr>
        <p:spPr bwMode="auto">
          <a:xfrm>
            <a:off x="3676909" y="2539520"/>
            <a:ext cx="3683939" cy="1164382"/>
          </a:xfrm>
          <a:prstGeom prst="roundRect">
            <a:avLst/>
          </a:prstGeom>
          <a:solidFill>
            <a:schemeClr val="accent2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We will become a learning 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organisation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and this helps us to accelerate our digital transformation.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erstin Lang, HR Director Group IT</a:t>
            </a: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13" name="Grafik 21">
            <a:extLst>
              <a:ext uri="{FF2B5EF4-FFF2-40B4-BE49-F238E27FC236}">
                <a16:creationId xmlns:a16="http://schemas.microsoft.com/office/drawing/2014/main" id="{18D22CBE-2A2D-8D41-B816-DED3DF60A3B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7131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90399" y="370755"/>
            <a:ext cx="4950991" cy="79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 panose="020B0304030202020203" pitchFamily="34" charset="0"/>
                <a:ea typeface="+mn-ea"/>
                <a:cs typeface="+mn-cs"/>
              </a:rPr>
              <a:t>Learning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03924" y="1164819"/>
            <a:ext cx="5795603" cy="5366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We can handle a crisis</a:t>
            </a: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oaches have a big impact on the team success</a:t>
            </a: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Upskilling of people is more important than ever</a:t>
            </a: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lear shared goals foster commitment and focus</a:t>
            </a: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sp>
        <p:nvSpPr>
          <p:cNvPr id="8" name="TextBox 8"/>
          <p:cNvSpPr txBox="1"/>
          <p:nvPr/>
        </p:nvSpPr>
        <p:spPr>
          <a:xfrm>
            <a:off x="5980171" y="5248394"/>
            <a:ext cx="5872480" cy="8817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Invest in your people, they pay it back!</a:t>
            </a:r>
          </a:p>
          <a:p>
            <a:pPr marL="0" marR="0" lvl="0" indent="0" algn="ctr" defTabSz="1425575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3" name="Grafik 2" descr="Ein Bild, das Text, Boden, drinnen enthält.&#10;&#10;Automatisch generierte Beschreibung">
            <a:extLst>
              <a:ext uri="{FF2B5EF4-FFF2-40B4-BE49-F238E27FC236}">
                <a16:creationId xmlns:a16="http://schemas.microsoft.com/office/drawing/2014/main" id="{495154EF-806B-644A-90E5-C367D0FCEEC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35"/>
          <a:stretch/>
        </p:blipFill>
        <p:spPr>
          <a:xfrm>
            <a:off x="-1" y="0"/>
            <a:ext cx="54737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233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33" y="1680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5" imgW="630" imgH="635" progId="TCLayout.ActiveDocument.1">
                  <p:embed/>
                </p:oleObj>
              </mc:Choice>
              <mc:Fallback>
                <p:oleObj name="think-cell Folie" r:id="rId5" imgW="630" imgH="63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33" y="1680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150"/>
              <a:t>TUI before the Corona crisis: world market leader in tourism </a:t>
            </a:r>
            <a:endParaRPr lang="en-US" sz="3173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67252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t>TUI GROUP | Annual General Meeting 2021 | Friedrich Jouss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1- excl. Boeing 737 MAX Effec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318" y="1448603"/>
            <a:ext cx="3427609" cy="4422147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3887097" y="1448604"/>
            <a:ext cx="7997754" cy="4422147"/>
            <a:chOff x="3888829" y="1369467"/>
            <a:chExt cx="7344816" cy="4180567"/>
          </a:xfrm>
        </p:grpSpPr>
        <p:sp>
          <p:nvSpPr>
            <p:cNvPr id="15" name="Rechteck 5"/>
            <p:cNvSpPr/>
            <p:nvPr/>
          </p:nvSpPr>
          <p:spPr bwMode="gray">
            <a:xfrm>
              <a:off x="3888829" y="1369467"/>
              <a:ext cx="2404291" cy="201075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698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€19</a:t>
              </a:r>
              <a:r>
                <a: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Billion </a:t>
              </a: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endParaRPr kumimoji="0" lang="en-US" sz="169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92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Revenue FY19</a:t>
              </a:r>
            </a:p>
          </p:txBody>
        </p:sp>
        <p:sp>
          <p:nvSpPr>
            <p:cNvPr id="20" name="Rechteck 5"/>
            <p:cNvSpPr/>
            <p:nvPr/>
          </p:nvSpPr>
          <p:spPr bwMode="gray">
            <a:xfrm>
              <a:off x="3888829" y="3539277"/>
              <a:ext cx="2406334" cy="201075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6981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27</a:t>
              </a:r>
              <a:r>
                <a: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Million</a:t>
              </a: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endParaRPr kumimoji="0" lang="en-US" sz="1692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Customers FY19</a:t>
              </a:r>
            </a:p>
          </p:txBody>
        </p:sp>
        <p:sp>
          <p:nvSpPr>
            <p:cNvPr id="17" name="Rechteck 5"/>
            <p:cNvSpPr/>
            <p:nvPr/>
          </p:nvSpPr>
          <p:spPr bwMode="gray">
            <a:xfrm>
              <a:off x="8827311" y="1369467"/>
              <a:ext cx="2406334" cy="201075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698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&gt;€1</a:t>
              </a:r>
              <a:r>
                <a: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Billion</a:t>
              </a: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endParaRPr kumimoji="0" lang="en-US" sz="169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92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Investments FY19</a:t>
              </a:r>
            </a:p>
          </p:txBody>
        </p:sp>
        <p:sp>
          <p:nvSpPr>
            <p:cNvPr id="21" name="Rechteck 5"/>
            <p:cNvSpPr/>
            <p:nvPr/>
          </p:nvSpPr>
          <p:spPr bwMode="gray">
            <a:xfrm>
              <a:off x="6357048" y="1369467"/>
              <a:ext cx="2406334" cy="2010757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6981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€1.2</a:t>
              </a:r>
              <a:r>
                <a:rPr kumimoji="0" lang="en-US" sz="2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Billion</a:t>
              </a: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endParaRPr kumimoji="0" lang="en-US" sz="169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92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Underlying EBITA FY19</a:t>
              </a:r>
              <a:r>
                <a:rPr kumimoji="0" lang="en-US" sz="1692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6" name="Rechteck 5"/>
            <p:cNvSpPr/>
            <p:nvPr/>
          </p:nvSpPr>
          <p:spPr bwMode="gray">
            <a:xfrm>
              <a:off x="8827311" y="3539277"/>
              <a:ext cx="2406334" cy="201075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6981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+17%</a:t>
              </a:r>
              <a:endParaRPr kumimoji="0" lang="en-US" sz="1692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92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     </a:t>
              </a: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Booked turnover January 2020, comparison to previous year</a:t>
              </a:r>
            </a:p>
          </p:txBody>
        </p:sp>
        <p:sp>
          <p:nvSpPr>
            <p:cNvPr id="18" name="Rechteck 5"/>
            <p:cNvSpPr/>
            <p:nvPr/>
          </p:nvSpPr>
          <p:spPr bwMode="gray">
            <a:xfrm>
              <a:off x="6357048" y="3539277"/>
              <a:ext cx="2406334" cy="201075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6981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+20%</a:t>
              </a: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endParaRPr kumimoji="0" lang="en-US" sz="1692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Planned turnover FY20 before Corona cris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1039050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16699" y="529408"/>
            <a:ext cx="4950991" cy="79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UITypeLight" panose="020B0304030202020203" pitchFamily="34" charset="0"/>
                <a:ea typeface="+mn-ea"/>
                <a:cs typeface="+mn-cs"/>
              </a:rPr>
              <a:t>Next challenges…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16699" y="1612722"/>
            <a:ext cx="5957829" cy="43504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eopening of offices – impact on teams</a:t>
            </a:r>
          </a:p>
          <a:p>
            <a:pPr marL="342900" indent="-342900" defTabSz="1507973" fontAlgn="base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Make</a:t>
            </a:r>
            <a:r>
              <a:rPr lang="en-US" sz="2200" b="1" kern="0">
                <a:solidFill>
                  <a:srgbClr val="092A5E"/>
                </a:solidFill>
                <a:latin typeface="TUITypeLight"/>
              </a:rPr>
              <a:t> technical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debt actionable</a:t>
            </a:r>
            <a:endParaRPr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</a:endParaRP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ontinuously measure success of established practices</a:t>
            </a: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lear shared goals are important</a:t>
            </a: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342900" marR="0" lvl="0" indent="-342900" algn="l" defTabSz="1507973" rtl="0" eaLnBrk="1" fontAlgn="base" latinLnBrk="0" hangingPunct="1">
              <a:lnSpc>
                <a:spcPct val="150000"/>
              </a:lnSpc>
              <a:spcBef>
                <a:spcPts val="635"/>
              </a:spcBef>
              <a:spcAft>
                <a:spcPts val="635"/>
              </a:spcAft>
              <a:buClrTx/>
              <a:buSzPct val="100000"/>
              <a:buFont typeface="Wingdings" panose="05000000000000000000" pitchFamily="2" charset="2"/>
              <a:buChar char="Ø"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11" name="Grafik 2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0736"/>
            <a:ext cx="358137" cy="286509"/>
          </a:xfrm>
          <a:prstGeom prst="rect">
            <a:avLst/>
          </a:prstGeom>
        </p:spPr>
      </p:pic>
      <p:pic>
        <p:nvPicPr>
          <p:cNvPr id="142339" name="Picture 3">
            <a:extLst>
              <a:ext uri="{FF2B5EF4-FFF2-40B4-BE49-F238E27FC236}">
                <a16:creationId xmlns:a16="http://schemas.microsoft.com/office/drawing/2014/main" id="{F77DEC93-9448-AB4C-8311-63983F3D2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5">
            <a:extLst>
              <a:ext uri="{FF2B5EF4-FFF2-40B4-BE49-F238E27FC236}">
                <a16:creationId xmlns:a16="http://schemas.microsoft.com/office/drawing/2014/main" id="{82D60D8A-0BDA-4149-B032-6335F3A1DF22}"/>
              </a:ext>
            </a:extLst>
          </p:cNvPr>
          <p:cNvSpPr/>
          <p:nvPr/>
        </p:nvSpPr>
        <p:spPr bwMode="gray">
          <a:xfrm>
            <a:off x="392473" y="5582299"/>
            <a:ext cx="6666933" cy="761691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6161" tIns="38080" rIns="76161" bIns="380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ts val="635"/>
              </a:spcAft>
              <a:buClr>
                <a:srgbClr val="737373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rPr>
              <a:t>We would love to hear about your experience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007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1" name="Shape 2012"/>
          <p:cNvGrpSpPr/>
          <p:nvPr/>
        </p:nvGrpSpPr>
        <p:grpSpPr>
          <a:xfrm>
            <a:off x="292922" y="1023451"/>
            <a:ext cx="5024305" cy="4848411"/>
            <a:chOff x="2979925" y="235947"/>
            <a:chExt cx="4436201" cy="4279785"/>
          </a:xfrm>
          <a:solidFill>
            <a:schemeClr val="bg1">
              <a:lumMod val="85000"/>
            </a:schemeClr>
          </a:solidFill>
        </p:grpSpPr>
        <p:sp>
          <p:nvSpPr>
            <p:cNvPr id="250" name="Shape 2041"/>
            <p:cNvSpPr/>
            <p:nvPr/>
          </p:nvSpPr>
          <p:spPr>
            <a:xfrm>
              <a:off x="3808896" y="2714110"/>
              <a:ext cx="1185185" cy="11900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769" y="105055"/>
                  </a:moveTo>
                  <a:cubicBezTo>
                    <a:pt x="60230" y="104386"/>
                    <a:pt x="60230" y="104386"/>
                    <a:pt x="60230" y="104386"/>
                  </a:cubicBezTo>
                  <a:cubicBezTo>
                    <a:pt x="60230" y="104386"/>
                    <a:pt x="60230" y="103048"/>
                    <a:pt x="59769" y="102825"/>
                  </a:cubicBezTo>
                  <a:cubicBezTo>
                    <a:pt x="59538" y="102602"/>
                    <a:pt x="59307" y="102379"/>
                    <a:pt x="59307" y="102379"/>
                  </a:cubicBezTo>
                  <a:cubicBezTo>
                    <a:pt x="59307" y="102379"/>
                    <a:pt x="59307" y="101486"/>
                    <a:pt x="59307" y="101040"/>
                  </a:cubicBezTo>
                  <a:cubicBezTo>
                    <a:pt x="59307" y="100817"/>
                    <a:pt x="59307" y="99925"/>
                    <a:pt x="59307" y="99702"/>
                  </a:cubicBezTo>
                  <a:cubicBezTo>
                    <a:pt x="59307" y="99479"/>
                    <a:pt x="59538" y="98587"/>
                    <a:pt x="59538" y="98364"/>
                  </a:cubicBezTo>
                  <a:cubicBezTo>
                    <a:pt x="59538" y="98364"/>
                    <a:pt x="59307" y="98364"/>
                    <a:pt x="59769" y="97918"/>
                  </a:cubicBezTo>
                  <a:cubicBezTo>
                    <a:pt x="60230" y="97249"/>
                    <a:pt x="60230" y="96802"/>
                    <a:pt x="60230" y="96802"/>
                  </a:cubicBezTo>
                  <a:cubicBezTo>
                    <a:pt x="61153" y="95687"/>
                    <a:pt x="61153" y="95687"/>
                    <a:pt x="61153" y="95687"/>
                  </a:cubicBezTo>
                  <a:cubicBezTo>
                    <a:pt x="61153" y="95687"/>
                    <a:pt x="61846" y="94572"/>
                    <a:pt x="62076" y="94572"/>
                  </a:cubicBezTo>
                  <a:cubicBezTo>
                    <a:pt x="62307" y="94795"/>
                    <a:pt x="63230" y="94572"/>
                    <a:pt x="63461" y="94572"/>
                  </a:cubicBezTo>
                  <a:cubicBezTo>
                    <a:pt x="63692" y="94572"/>
                    <a:pt x="64615" y="95464"/>
                    <a:pt x="65076" y="94572"/>
                  </a:cubicBezTo>
                  <a:cubicBezTo>
                    <a:pt x="65538" y="93903"/>
                    <a:pt x="65769" y="93457"/>
                    <a:pt x="65769" y="93234"/>
                  </a:cubicBezTo>
                  <a:cubicBezTo>
                    <a:pt x="66000" y="93011"/>
                    <a:pt x="66230" y="92342"/>
                    <a:pt x="66923" y="92342"/>
                  </a:cubicBezTo>
                  <a:cubicBezTo>
                    <a:pt x="67615" y="92118"/>
                    <a:pt x="69230" y="92118"/>
                    <a:pt x="69230" y="92118"/>
                  </a:cubicBezTo>
                  <a:cubicBezTo>
                    <a:pt x="69923" y="92342"/>
                    <a:pt x="69923" y="92342"/>
                    <a:pt x="69923" y="92342"/>
                  </a:cubicBezTo>
                  <a:cubicBezTo>
                    <a:pt x="71769" y="93011"/>
                    <a:pt x="71769" y="93011"/>
                    <a:pt x="71769" y="93011"/>
                  </a:cubicBezTo>
                  <a:cubicBezTo>
                    <a:pt x="71769" y="93011"/>
                    <a:pt x="72461" y="93011"/>
                    <a:pt x="72923" y="93011"/>
                  </a:cubicBezTo>
                  <a:cubicBezTo>
                    <a:pt x="73153" y="93011"/>
                    <a:pt x="73384" y="93011"/>
                    <a:pt x="73384" y="93011"/>
                  </a:cubicBezTo>
                  <a:cubicBezTo>
                    <a:pt x="74076" y="93903"/>
                    <a:pt x="74076" y="93903"/>
                    <a:pt x="74076" y="93903"/>
                  </a:cubicBezTo>
                  <a:cubicBezTo>
                    <a:pt x="74076" y="93903"/>
                    <a:pt x="75000" y="94349"/>
                    <a:pt x="75230" y="94349"/>
                  </a:cubicBezTo>
                  <a:cubicBezTo>
                    <a:pt x="75461" y="94349"/>
                    <a:pt x="77307" y="93903"/>
                    <a:pt x="77307" y="93903"/>
                  </a:cubicBezTo>
                  <a:cubicBezTo>
                    <a:pt x="77307" y="93903"/>
                    <a:pt x="78000" y="93680"/>
                    <a:pt x="78230" y="93903"/>
                  </a:cubicBezTo>
                  <a:cubicBezTo>
                    <a:pt x="78461" y="94126"/>
                    <a:pt x="79153" y="94349"/>
                    <a:pt x="79384" y="94572"/>
                  </a:cubicBezTo>
                  <a:cubicBezTo>
                    <a:pt x="79384" y="94795"/>
                    <a:pt x="81230" y="95687"/>
                    <a:pt x="81692" y="95910"/>
                  </a:cubicBezTo>
                  <a:cubicBezTo>
                    <a:pt x="81923" y="96133"/>
                    <a:pt x="82846" y="95910"/>
                    <a:pt x="82846" y="95910"/>
                  </a:cubicBezTo>
                  <a:cubicBezTo>
                    <a:pt x="83307" y="97026"/>
                    <a:pt x="83307" y="97026"/>
                    <a:pt x="83307" y="97026"/>
                  </a:cubicBezTo>
                  <a:cubicBezTo>
                    <a:pt x="85615" y="97695"/>
                    <a:pt x="85615" y="97695"/>
                    <a:pt x="85615" y="97695"/>
                  </a:cubicBezTo>
                  <a:cubicBezTo>
                    <a:pt x="86538" y="97695"/>
                    <a:pt x="86538" y="97695"/>
                    <a:pt x="86538" y="97695"/>
                  </a:cubicBezTo>
                  <a:cubicBezTo>
                    <a:pt x="89769" y="98810"/>
                    <a:pt x="89769" y="98810"/>
                    <a:pt x="89769" y="98810"/>
                  </a:cubicBezTo>
                  <a:cubicBezTo>
                    <a:pt x="91846" y="97249"/>
                    <a:pt x="91846" y="97249"/>
                    <a:pt x="91846" y="97249"/>
                  </a:cubicBezTo>
                  <a:cubicBezTo>
                    <a:pt x="91846" y="97249"/>
                    <a:pt x="92307" y="97472"/>
                    <a:pt x="92538" y="97472"/>
                  </a:cubicBezTo>
                  <a:cubicBezTo>
                    <a:pt x="92769" y="97472"/>
                    <a:pt x="93230" y="95687"/>
                    <a:pt x="93230" y="95687"/>
                  </a:cubicBezTo>
                  <a:cubicBezTo>
                    <a:pt x="93230" y="95687"/>
                    <a:pt x="93230" y="95241"/>
                    <a:pt x="93461" y="95241"/>
                  </a:cubicBezTo>
                  <a:cubicBezTo>
                    <a:pt x="93923" y="95241"/>
                    <a:pt x="95538" y="94572"/>
                    <a:pt x="95538" y="94572"/>
                  </a:cubicBezTo>
                  <a:cubicBezTo>
                    <a:pt x="95538" y="94349"/>
                    <a:pt x="95307" y="93457"/>
                    <a:pt x="96000" y="93234"/>
                  </a:cubicBezTo>
                  <a:cubicBezTo>
                    <a:pt x="96461" y="93011"/>
                    <a:pt x="97384" y="92342"/>
                    <a:pt x="97384" y="92342"/>
                  </a:cubicBezTo>
                  <a:cubicBezTo>
                    <a:pt x="97615" y="92118"/>
                    <a:pt x="97153" y="91672"/>
                    <a:pt x="97846" y="91449"/>
                  </a:cubicBezTo>
                  <a:cubicBezTo>
                    <a:pt x="98307" y="91449"/>
                    <a:pt x="99000" y="91226"/>
                    <a:pt x="99461" y="91226"/>
                  </a:cubicBezTo>
                  <a:cubicBezTo>
                    <a:pt x="99461" y="91226"/>
                    <a:pt x="99461" y="91226"/>
                    <a:pt x="99461" y="91226"/>
                  </a:cubicBezTo>
                  <a:cubicBezTo>
                    <a:pt x="99461" y="91003"/>
                    <a:pt x="99461" y="91003"/>
                    <a:pt x="99461" y="91003"/>
                  </a:cubicBezTo>
                  <a:cubicBezTo>
                    <a:pt x="99461" y="91003"/>
                    <a:pt x="99461" y="91003"/>
                    <a:pt x="99461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846" y="90334"/>
                    <a:pt x="101076" y="90334"/>
                    <a:pt x="101076" y="90334"/>
                  </a:cubicBezTo>
                  <a:cubicBezTo>
                    <a:pt x="102461" y="89219"/>
                    <a:pt x="102461" y="89219"/>
                    <a:pt x="102461" y="89219"/>
                  </a:cubicBezTo>
                  <a:cubicBezTo>
                    <a:pt x="103153" y="86765"/>
                    <a:pt x="103153" y="86765"/>
                    <a:pt x="103153" y="86765"/>
                  </a:cubicBezTo>
                  <a:cubicBezTo>
                    <a:pt x="102230" y="86096"/>
                    <a:pt x="102230" y="86096"/>
                    <a:pt x="102230" y="86096"/>
                  </a:cubicBezTo>
                  <a:cubicBezTo>
                    <a:pt x="100153" y="86096"/>
                    <a:pt x="100153" y="86096"/>
                    <a:pt x="100153" y="86096"/>
                  </a:cubicBezTo>
                  <a:cubicBezTo>
                    <a:pt x="97846" y="85204"/>
                    <a:pt x="97846" y="85204"/>
                    <a:pt x="97846" y="85204"/>
                  </a:cubicBezTo>
                  <a:cubicBezTo>
                    <a:pt x="96692" y="83420"/>
                    <a:pt x="96692" y="83420"/>
                    <a:pt x="96692" y="83420"/>
                  </a:cubicBezTo>
                  <a:cubicBezTo>
                    <a:pt x="96000" y="83420"/>
                    <a:pt x="96000" y="83420"/>
                    <a:pt x="96000" y="83420"/>
                  </a:cubicBezTo>
                  <a:cubicBezTo>
                    <a:pt x="95769" y="81858"/>
                    <a:pt x="95307" y="82527"/>
                    <a:pt x="96230" y="81412"/>
                  </a:cubicBezTo>
                  <a:cubicBezTo>
                    <a:pt x="97153" y="80074"/>
                    <a:pt x="97153" y="80074"/>
                    <a:pt x="97153" y="80074"/>
                  </a:cubicBezTo>
                  <a:cubicBezTo>
                    <a:pt x="96923" y="77843"/>
                    <a:pt x="96923" y="77843"/>
                    <a:pt x="96923" y="77843"/>
                  </a:cubicBezTo>
                  <a:cubicBezTo>
                    <a:pt x="96230" y="77174"/>
                    <a:pt x="96230" y="77174"/>
                    <a:pt x="96230" y="77174"/>
                  </a:cubicBezTo>
                  <a:cubicBezTo>
                    <a:pt x="95076" y="76505"/>
                    <a:pt x="95076" y="76505"/>
                    <a:pt x="95076" y="76505"/>
                  </a:cubicBezTo>
                  <a:cubicBezTo>
                    <a:pt x="95076" y="76505"/>
                    <a:pt x="94384" y="75613"/>
                    <a:pt x="94153" y="75390"/>
                  </a:cubicBezTo>
                  <a:cubicBezTo>
                    <a:pt x="94153" y="75390"/>
                    <a:pt x="94153" y="74944"/>
                    <a:pt x="94153" y="74944"/>
                  </a:cubicBezTo>
                  <a:cubicBezTo>
                    <a:pt x="93923" y="74721"/>
                    <a:pt x="94846" y="74721"/>
                    <a:pt x="94846" y="74721"/>
                  </a:cubicBezTo>
                  <a:cubicBezTo>
                    <a:pt x="95076" y="74721"/>
                    <a:pt x="95769" y="74498"/>
                    <a:pt x="96000" y="74498"/>
                  </a:cubicBezTo>
                  <a:cubicBezTo>
                    <a:pt x="96230" y="74498"/>
                    <a:pt x="97153" y="73605"/>
                    <a:pt x="97153" y="73605"/>
                  </a:cubicBezTo>
                  <a:cubicBezTo>
                    <a:pt x="97153" y="73605"/>
                    <a:pt x="97615" y="72713"/>
                    <a:pt x="98076" y="72490"/>
                  </a:cubicBezTo>
                  <a:cubicBezTo>
                    <a:pt x="98307" y="72267"/>
                    <a:pt x="98769" y="70483"/>
                    <a:pt x="98769" y="70260"/>
                  </a:cubicBezTo>
                  <a:cubicBezTo>
                    <a:pt x="98769" y="70260"/>
                    <a:pt x="98307" y="69144"/>
                    <a:pt x="98076" y="69144"/>
                  </a:cubicBezTo>
                  <a:cubicBezTo>
                    <a:pt x="96000" y="68252"/>
                    <a:pt x="96461" y="67806"/>
                    <a:pt x="95538" y="67360"/>
                  </a:cubicBezTo>
                  <a:cubicBezTo>
                    <a:pt x="95538" y="66245"/>
                    <a:pt x="95538" y="66245"/>
                    <a:pt x="95538" y="66245"/>
                  </a:cubicBezTo>
                  <a:cubicBezTo>
                    <a:pt x="96692" y="65353"/>
                    <a:pt x="96692" y="65353"/>
                    <a:pt x="96692" y="65353"/>
                  </a:cubicBezTo>
                  <a:cubicBezTo>
                    <a:pt x="96923" y="65130"/>
                    <a:pt x="97384" y="64907"/>
                    <a:pt x="97615" y="64907"/>
                  </a:cubicBezTo>
                  <a:cubicBezTo>
                    <a:pt x="97846" y="64460"/>
                    <a:pt x="97846" y="64460"/>
                    <a:pt x="97846" y="64460"/>
                  </a:cubicBezTo>
                  <a:cubicBezTo>
                    <a:pt x="97846" y="64460"/>
                    <a:pt x="97384" y="64014"/>
                    <a:pt x="97384" y="64014"/>
                  </a:cubicBezTo>
                  <a:cubicBezTo>
                    <a:pt x="97384" y="64014"/>
                    <a:pt x="97153" y="63791"/>
                    <a:pt x="96923" y="63791"/>
                  </a:cubicBezTo>
                  <a:cubicBezTo>
                    <a:pt x="96923" y="63791"/>
                    <a:pt x="96692" y="63568"/>
                    <a:pt x="96692" y="63568"/>
                  </a:cubicBezTo>
                  <a:cubicBezTo>
                    <a:pt x="96692" y="63568"/>
                    <a:pt x="96461" y="63345"/>
                    <a:pt x="96230" y="63345"/>
                  </a:cubicBezTo>
                  <a:cubicBezTo>
                    <a:pt x="96000" y="63345"/>
                    <a:pt x="96230" y="62899"/>
                    <a:pt x="96461" y="62899"/>
                  </a:cubicBezTo>
                  <a:cubicBezTo>
                    <a:pt x="96461" y="62676"/>
                    <a:pt x="96461" y="62230"/>
                    <a:pt x="96461" y="62230"/>
                  </a:cubicBezTo>
                  <a:cubicBezTo>
                    <a:pt x="96461" y="62230"/>
                    <a:pt x="95769" y="62230"/>
                    <a:pt x="95538" y="62230"/>
                  </a:cubicBezTo>
                  <a:cubicBezTo>
                    <a:pt x="95538" y="62007"/>
                    <a:pt x="95538" y="62007"/>
                    <a:pt x="95538" y="62007"/>
                  </a:cubicBezTo>
                  <a:cubicBezTo>
                    <a:pt x="95538" y="62007"/>
                    <a:pt x="95769" y="61338"/>
                    <a:pt x="96000" y="61338"/>
                  </a:cubicBezTo>
                  <a:cubicBezTo>
                    <a:pt x="96000" y="61115"/>
                    <a:pt x="96000" y="60892"/>
                    <a:pt x="96000" y="60892"/>
                  </a:cubicBezTo>
                  <a:cubicBezTo>
                    <a:pt x="96000" y="60892"/>
                    <a:pt x="96000" y="60669"/>
                    <a:pt x="96000" y="60223"/>
                  </a:cubicBezTo>
                  <a:cubicBezTo>
                    <a:pt x="96230" y="60000"/>
                    <a:pt x="96000" y="60000"/>
                    <a:pt x="96000" y="60000"/>
                  </a:cubicBezTo>
                  <a:cubicBezTo>
                    <a:pt x="96000" y="60000"/>
                    <a:pt x="95769" y="59776"/>
                    <a:pt x="95538" y="59776"/>
                  </a:cubicBezTo>
                  <a:cubicBezTo>
                    <a:pt x="95538" y="59776"/>
                    <a:pt x="95538" y="59776"/>
                    <a:pt x="95769" y="59553"/>
                  </a:cubicBezTo>
                  <a:cubicBezTo>
                    <a:pt x="96000" y="59107"/>
                    <a:pt x="96000" y="59330"/>
                    <a:pt x="96000" y="59330"/>
                  </a:cubicBezTo>
                  <a:cubicBezTo>
                    <a:pt x="96000" y="58884"/>
                    <a:pt x="96000" y="58884"/>
                    <a:pt x="96000" y="58884"/>
                  </a:cubicBezTo>
                  <a:cubicBezTo>
                    <a:pt x="95538" y="58661"/>
                    <a:pt x="95538" y="58661"/>
                    <a:pt x="95538" y="58661"/>
                  </a:cubicBezTo>
                  <a:cubicBezTo>
                    <a:pt x="94846" y="58215"/>
                    <a:pt x="94846" y="58215"/>
                    <a:pt x="94846" y="58215"/>
                  </a:cubicBezTo>
                  <a:cubicBezTo>
                    <a:pt x="94846" y="58215"/>
                    <a:pt x="93923" y="58215"/>
                    <a:pt x="93923" y="58215"/>
                  </a:cubicBezTo>
                  <a:cubicBezTo>
                    <a:pt x="93923" y="58215"/>
                    <a:pt x="93230" y="58215"/>
                    <a:pt x="93230" y="58215"/>
                  </a:cubicBezTo>
                  <a:cubicBezTo>
                    <a:pt x="92769" y="58438"/>
                    <a:pt x="92769" y="58438"/>
                    <a:pt x="92769" y="58438"/>
                  </a:cubicBezTo>
                  <a:cubicBezTo>
                    <a:pt x="92538" y="58661"/>
                    <a:pt x="92538" y="58661"/>
                    <a:pt x="92538" y="58661"/>
                  </a:cubicBezTo>
                  <a:cubicBezTo>
                    <a:pt x="91846" y="58884"/>
                    <a:pt x="91846" y="58884"/>
                    <a:pt x="91846" y="58884"/>
                  </a:cubicBezTo>
                  <a:cubicBezTo>
                    <a:pt x="91153" y="59107"/>
                    <a:pt x="91153" y="59107"/>
                    <a:pt x="91153" y="59107"/>
                  </a:cubicBezTo>
                  <a:cubicBezTo>
                    <a:pt x="91153" y="59107"/>
                    <a:pt x="90923" y="59553"/>
                    <a:pt x="90692" y="59776"/>
                  </a:cubicBezTo>
                  <a:cubicBezTo>
                    <a:pt x="90692" y="59776"/>
                    <a:pt x="90692" y="60000"/>
                    <a:pt x="90692" y="60000"/>
                  </a:cubicBezTo>
                  <a:cubicBezTo>
                    <a:pt x="91153" y="60223"/>
                    <a:pt x="91153" y="60223"/>
                    <a:pt x="91153" y="60223"/>
                  </a:cubicBezTo>
                  <a:cubicBezTo>
                    <a:pt x="91153" y="60669"/>
                    <a:pt x="91153" y="60669"/>
                    <a:pt x="91153" y="60669"/>
                  </a:cubicBezTo>
                  <a:cubicBezTo>
                    <a:pt x="91384" y="60669"/>
                    <a:pt x="91384" y="60669"/>
                    <a:pt x="91384" y="60669"/>
                  </a:cubicBezTo>
                  <a:cubicBezTo>
                    <a:pt x="91153" y="61115"/>
                    <a:pt x="91153" y="61115"/>
                    <a:pt x="91153" y="61115"/>
                  </a:cubicBezTo>
                  <a:cubicBezTo>
                    <a:pt x="91153" y="61115"/>
                    <a:pt x="90923" y="61115"/>
                    <a:pt x="90692" y="61338"/>
                  </a:cubicBezTo>
                  <a:cubicBezTo>
                    <a:pt x="90461" y="61561"/>
                    <a:pt x="90461" y="61784"/>
                    <a:pt x="90461" y="61784"/>
                  </a:cubicBezTo>
                  <a:cubicBezTo>
                    <a:pt x="89769" y="62007"/>
                    <a:pt x="89769" y="62007"/>
                    <a:pt x="89769" y="62007"/>
                  </a:cubicBezTo>
                  <a:cubicBezTo>
                    <a:pt x="89307" y="61784"/>
                    <a:pt x="89307" y="61784"/>
                    <a:pt x="89307" y="61784"/>
                  </a:cubicBezTo>
                  <a:cubicBezTo>
                    <a:pt x="88846" y="62007"/>
                    <a:pt x="88846" y="62007"/>
                    <a:pt x="88846" y="62007"/>
                  </a:cubicBezTo>
                  <a:cubicBezTo>
                    <a:pt x="88615" y="62007"/>
                    <a:pt x="88615" y="62007"/>
                    <a:pt x="88615" y="62007"/>
                  </a:cubicBezTo>
                  <a:cubicBezTo>
                    <a:pt x="88615" y="61561"/>
                    <a:pt x="88615" y="61561"/>
                    <a:pt x="88615" y="61561"/>
                  </a:cubicBezTo>
                  <a:cubicBezTo>
                    <a:pt x="88384" y="61338"/>
                    <a:pt x="88384" y="61338"/>
                    <a:pt x="88384" y="61338"/>
                  </a:cubicBezTo>
                  <a:cubicBezTo>
                    <a:pt x="88615" y="61115"/>
                    <a:pt x="88615" y="61115"/>
                    <a:pt x="88615" y="61115"/>
                  </a:cubicBezTo>
                  <a:cubicBezTo>
                    <a:pt x="88615" y="61115"/>
                    <a:pt x="88846" y="60892"/>
                    <a:pt x="88846" y="60892"/>
                  </a:cubicBezTo>
                  <a:cubicBezTo>
                    <a:pt x="89076" y="60892"/>
                    <a:pt x="89307" y="60669"/>
                    <a:pt x="89307" y="60669"/>
                  </a:cubicBezTo>
                  <a:cubicBezTo>
                    <a:pt x="89769" y="60669"/>
                    <a:pt x="89769" y="60669"/>
                    <a:pt x="89769" y="60669"/>
                  </a:cubicBezTo>
                  <a:cubicBezTo>
                    <a:pt x="89769" y="60223"/>
                    <a:pt x="89769" y="60223"/>
                    <a:pt x="89769" y="60223"/>
                  </a:cubicBezTo>
                  <a:cubicBezTo>
                    <a:pt x="90000" y="59776"/>
                    <a:pt x="90000" y="59776"/>
                    <a:pt x="90000" y="59776"/>
                  </a:cubicBezTo>
                  <a:cubicBezTo>
                    <a:pt x="90000" y="59107"/>
                    <a:pt x="90000" y="59107"/>
                    <a:pt x="90000" y="59107"/>
                  </a:cubicBezTo>
                  <a:cubicBezTo>
                    <a:pt x="89769" y="58884"/>
                    <a:pt x="89769" y="58884"/>
                    <a:pt x="89769" y="58884"/>
                  </a:cubicBezTo>
                  <a:cubicBezTo>
                    <a:pt x="89538" y="58661"/>
                    <a:pt x="89538" y="58661"/>
                    <a:pt x="89538" y="58661"/>
                  </a:cubicBezTo>
                  <a:cubicBezTo>
                    <a:pt x="89538" y="58438"/>
                    <a:pt x="89538" y="58438"/>
                    <a:pt x="89538" y="58438"/>
                  </a:cubicBezTo>
                  <a:cubicBezTo>
                    <a:pt x="89538" y="57992"/>
                    <a:pt x="89538" y="57992"/>
                    <a:pt x="89538" y="57992"/>
                  </a:cubicBezTo>
                  <a:cubicBezTo>
                    <a:pt x="89769" y="57769"/>
                    <a:pt x="89769" y="57769"/>
                    <a:pt x="89769" y="57769"/>
                  </a:cubicBezTo>
                  <a:cubicBezTo>
                    <a:pt x="89769" y="57769"/>
                    <a:pt x="90000" y="57546"/>
                    <a:pt x="90000" y="57323"/>
                  </a:cubicBezTo>
                  <a:cubicBezTo>
                    <a:pt x="90000" y="57323"/>
                    <a:pt x="90000" y="56877"/>
                    <a:pt x="90000" y="56877"/>
                  </a:cubicBezTo>
                  <a:cubicBezTo>
                    <a:pt x="90000" y="56877"/>
                    <a:pt x="90000" y="56654"/>
                    <a:pt x="90000" y="56654"/>
                  </a:cubicBezTo>
                  <a:cubicBezTo>
                    <a:pt x="90923" y="55762"/>
                    <a:pt x="90923" y="55762"/>
                    <a:pt x="90923" y="55762"/>
                  </a:cubicBezTo>
                  <a:cubicBezTo>
                    <a:pt x="91384" y="55315"/>
                    <a:pt x="91384" y="55315"/>
                    <a:pt x="91384" y="55315"/>
                  </a:cubicBezTo>
                  <a:cubicBezTo>
                    <a:pt x="91384" y="55315"/>
                    <a:pt x="91846" y="55315"/>
                    <a:pt x="91846" y="55092"/>
                  </a:cubicBezTo>
                  <a:cubicBezTo>
                    <a:pt x="91846" y="55092"/>
                    <a:pt x="92307" y="55092"/>
                    <a:pt x="92307" y="55092"/>
                  </a:cubicBezTo>
                  <a:cubicBezTo>
                    <a:pt x="92307" y="55092"/>
                    <a:pt x="92538" y="54869"/>
                    <a:pt x="92538" y="54869"/>
                  </a:cubicBezTo>
                  <a:cubicBezTo>
                    <a:pt x="92769" y="54646"/>
                    <a:pt x="92769" y="54423"/>
                    <a:pt x="92769" y="54423"/>
                  </a:cubicBezTo>
                  <a:cubicBezTo>
                    <a:pt x="92769" y="54423"/>
                    <a:pt x="92769" y="54200"/>
                    <a:pt x="92769" y="54200"/>
                  </a:cubicBezTo>
                  <a:cubicBezTo>
                    <a:pt x="92769" y="54200"/>
                    <a:pt x="92769" y="53977"/>
                    <a:pt x="92769" y="53977"/>
                  </a:cubicBezTo>
                  <a:cubicBezTo>
                    <a:pt x="92769" y="53977"/>
                    <a:pt x="92769" y="53754"/>
                    <a:pt x="92769" y="53754"/>
                  </a:cubicBezTo>
                  <a:cubicBezTo>
                    <a:pt x="92769" y="53531"/>
                    <a:pt x="93000" y="53531"/>
                    <a:pt x="93000" y="53531"/>
                  </a:cubicBezTo>
                  <a:cubicBezTo>
                    <a:pt x="93000" y="53085"/>
                    <a:pt x="93000" y="53085"/>
                    <a:pt x="93000" y="53085"/>
                  </a:cubicBezTo>
                  <a:cubicBezTo>
                    <a:pt x="93000" y="53085"/>
                    <a:pt x="92769" y="52862"/>
                    <a:pt x="92769" y="52639"/>
                  </a:cubicBezTo>
                  <a:cubicBezTo>
                    <a:pt x="92769" y="52639"/>
                    <a:pt x="92769" y="52639"/>
                    <a:pt x="92769" y="52416"/>
                  </a:cubicBezTo>
                  <a:cubicBezTo>
                    <a:pt x="93000" y="52193"/>
                    <a:pt x="93230" y="52193"/>
                    <a:pt x="93230" y="52193"/>
                  </a:cubicBezTo>
                  <a:cubicBezTo>
                    <a:pt x="93692" y="52193"/>
                    <a:pt x="93692" y="52193"/>
                    <a:pt x="93692" y="52193"/>
                  </a:cubicBezTo>
                  <a:cubicBezTo>
                    <a:pt x="93692" y="52193"/>
                    <a:pt x="93923" y="51970"/>
                    <a:pt x="94153" y="51970"/>
                  </a:cubicBezTo>
                  <a:cubicBezTo>
                    <a:pt x="94153" y="51970"/>
                    <a:pt x="94384" y="51747"/>
                    <a:pt x="94384" y="51747"/>
                  </a:cubicBezTo>
                  <a:cubicBezTo>
                    <a:pt x="94615" y="51301"/>
                    <a:pt x="94615" y="51301"/>
                    <a:pt x="94615" y="51301"/>
                  </a:cubicBezTo>
                  <a:cubicBezTo>
                    <a:pt x="94846" y="51301"/>
                    <a:pt x="94846" y="51301"/>
                    <a:pt x="94846" y="51301"/>
                  </a:cubicBezTo>
                  <a:cubicBezTo>
                    <a:pt x="95076" y="51078"/>
                    <a:pt x="95076" y="51078"/>
                    <a:pt x="95076" y="51078"/>
                  </a:cubicBezTo>
                  <a:cubicBezTo>
                    <a:pt x="95076" y="50631"/>
                    <a:pt x="95076" y="50631"/>
                    <a:pt x="95076" y="50631"/>
                  </a:cubicBezTo>
                  <a:cubicBezTo>
                    <a:pt x="95538" y="50408"/>
                    <a:pt x="95538" y="50408"/>
                    <a:pt x="95538" y="50408"/>
                  </a:cubicBezTo>
                  <a:cubicBezTo>
                    <a:pt x="95538" y="50185"/>
                    <a:pt x="95538" y="50185"/>
                    <a:pt x="95538" y="50185"/>
                  </a:cubicBezTo>
                  <a:cubicBezTo>
                    <a:pt x="95769" y="49962"/>
                    <a:pt x="95769" y="49962"/>
                    <a:pt x="95769" y="49962"/>
                  </a:cubicBezTo>
                  <a:cubicBezTo>
                    <a:pt x="96000" y="49962"/>
                    <a:pt x="96000" y="49962"/>
                    <a:pt x="96000" y="49962"/>
                  </a:cubicBezTo>
                  <a:cubicBezTo>
                    <a:pt x="96461" y="49516"/>
                    <a:pt x="96461" y="49516"/>
                    <a:pt x="96461" y="49516"/>
                  </a:cubicBezTo>
                  <a:cubicBezTo>
                    <a:pt x="96923" y="49293"/>
                    <a:pt x="96923" y="49293"/>
                    <a:pt x="96923" y="49293"/>
                  </a:cubicBezTo>
                  <a:cubicBezTo>
                    <a:pt x="96923" y="49293"/>
                    <a:pt x="97153" y="48847"/>
                    <a:pt x="97153" y="48624"/>
                  </a:cubicBezTo>
                  <a:cubicBezTo>
                    <a:pt x="97153" y="48401"/>
                    <a:pt x="97153" y="48401"/>
                    <a:pt x="97384" y="48178"/>
                  </a:cubicBezTo>
                  <a:cubicBezTo>
                    <a:pt x="97384" y="48178"/>
                    <a:pt x="97615" y="48178"/>
                    <a:pt x="97846" y="47955"/>
                  </a:cubicBezTo>
                  <a:cubicBezTo>
                    <a:pt x="97846" y="47955"/>
                    <a:pt x="97846" y="47732"/>
                    <a:pt x="97846" y="47732"/>
                  </a:cubicBezTo>
                  <a:cubicBezTo>
                    <a:pt x="98076" y="47732"/>
                    <a:pt x="98076" y="47732"/>
                    <a:pt x="98076" y="47732"/>
                  </a:cubicBezTo>
                  <a:cubicBezTo>
                    <a:pt x="98076" y="47286"/>
                    <a:pt x="98076" y="47286"/>
                    <a:pt x="98076" y="47286"/>
                  </a:cubicBezTo>
                  <a:cubicBezTo>
                    <a:pt x="98076" y="47063"/>
                    <a:pt x="98076" y="47063"/>
                    <a:pt x="98076" y="47063"/>
                  </a:cubicBezTo>
                  <a:cubicBezTo>
                    <a:pt x="98076" y="47063"/>
                    <a:pt x="97615" y="47286"/>
                    <a:pt x="97615" y="47286"/>
                  </a:cubicBezTo>
                  <a:cubicBezTo>
                    <a:pt x="97615" y="47286"/>
                    <a:pt x="97384" y="47286"/>
                    <a:pt x="97153" y="47286"/>
                  </a:cubicBezTo>
                  <a:cubicBezTo>
                    <a:pt x="97153" y="47286"/>
                    <a:pt x="96923" y="47286"/>
                    <a:pt x="96692" y="47286"/>
                  </a:cubicBezTo>
                  <a:cubicBezTo>
                    <a:pt x="96461" y="47063"/>
                    <a:pt x="96692" y="47063"/>
                    <a:pt x="96692" y="47063"/>
                  </a:cubicBezTo>
                  <a:cubicBezTo>
                    <a:pt x="96692" y="47063"/>
                    <a:pt x="96923" y="47063"/>
                    <a:pt x="96923" y="46840"/>
                  </a:cubicBezTo>
                  <a:cubicBezTo>
                    <a:pt x="96923" y="46840"/>
                    <a:pt x="97153" y="46394"/>
                    <a:pt x="97153" y="46394"/>
                  </a:cubicBezTo>
                  <a:cubicBezTo>
                    <a:pt x="97384" y="46394"/>
                    <a:pt x="97384" y="46394"/>
                    <a:pt x="97384" y="46394"/>
                  </a:cubicBezTo>
                  <a:cubicBezTo>
                    <a:pt x="97615" y="46171"/>
                    <a:pt x="97615" y="46171"/>
                    <a:pt x="97615" y="46171"/>
                  </a:cubicBezTo>
                  <a:cubicBezTo>
                    <a:pt x="97615" y="46171"/>
                    <a:pt x="97846" y="46171"/>
                    <a:pt x="97846" y="46171"/>
                  </a:cubicBezTo>
                  <a:cubicBezTo>
                    <a:pt x="97846" y="46171"/>
                    <a:pt x="97615" y="45947"/>
                    <a:pt x="97615" y="45947"/>
                  </a:cubicBezTo>
                  <a:cubicBezTo>
                    <a:pt x="97615" y="45501"/>
                    <a:pt x="97615" y="45501"/>
                    <a:pt x="97615" y="45501"/>
                  </a:cubicBezTo>
                  <a:cubicBezTo>
                    <a:pt x="98076" y="45724"/>
                    <a:pt x="98076" y="45724"/>
                    <a:pt x="98076" y="45724"/>
                  </a:cubicBezTo>
                  <a:cubicBezTo>
                    <a:pt x="98769" y="45724"/>
                    <a:pt x="98769" y="45724"/>
                    <a:pt x="98769" y="45724"/>
                  </a:cubicBezTo>
                  <a:cubicBezTo>
                    <a:pt x="99000" y="45501"/>
                    <a:pt x="99000" y="45501"/>
                    <a:pt x="99000" y="45501"/>
                  </a:cubicBezTo>
                  <a:cubicBezTo>
                    <a:pt x="99000" y="45501"/>
                    <a:pt x="99230" y="45947"/>
                    <a:pt x="99230" y="45947"/>
                  </a:cubicBezTo>
                  <a:cubicBezTo>
                    <a:pt x="99230" y="46171"/>
                    <a:pt x="99230" y="46394"/>
                    <a:pt x="99461" y="46394"/>
                  </a:cubicBezTo>
                  <a:cubicBezTo>
                    <a:pt x="99461" y="46394"/>
                    <a:pt x="99923" y="46617"/>
                    <a:pt x="99923" y="46617"/>
                  </a:cubicBezTo>
                  <a:cubicBezTo>
                    <a:pt x="99923" y="46617"/>
                    <a:pt x="99923" y="46394"/>
                    <a:pt x="100153" y="46394"/>
                  </a:cubicBezTo>
                  <a:cubicBezTo>
                    <a:pt x="100153" y="46394"/>
                    <a:pt x="100384" y="46394"/>
                    <a:pt x="100384" y="46394"/>
                  </a:cubicBezTo>
                  <a:cubicBezTo>
                    <a:pt x="100615" y="46394"/>
                    <a:pt x="100846" y="46394"/>
                    <a:pt x="100846" y="46394"/>
                  </a:cubicBezTo>
                  <a:cubicBezTo>
                    <a:pt x="100846" y="46394"/>
                    <a:pt x="101076" y="46394"/>
                    <a:pt x="101307" y="46394"/>
                  </a:cubicBezTo>
                  <a:cubicBezTo>
                    <a:pt x="101307" y="46171"/>
                    <a:pt x="101307" y="46171"/>
                    <a:pt x="101307" y="46171"/>
                  </a:cubicBezTo>
                  <a:cubicBezTo>
                    <a:pt x="101307" y="46171"/>
                    <a:pt x="101307" y="45947"/>
                    <a:pt x="101307" y="45947"/>
                  </a:cubicBezTo>
                  <a:cubicBezTo>
                    <a:pt x="101307" y="45947"/>
                    <a:pt x="101538" y="45501"/>
                    <a:pt x="101538" y="45501"/>
                  </a:cubicBezTo>
                  <a:cubicBezTo>
                    <a:pt x="101538" y="45501"/>
                    <a:pt x="101769" y="45501"/>
                    <a:pt x="101769" y="45501"/>
                  </a:cubicBezTo>
                  <a:cubicBezTo>
                    <a:pt x="101769" y="45501"/>
                    <a:pt x="102000" y="45501"/>
                    <a:pt x="102000" y="45501"/>
                  </a:cubicBezTo>
                  <a:cubicBezTo>
                    <a:pt x="102000" y="45501"/>
                    <a:pt x="102000" y="45278"/>
                    <a:pt x="102000" y="45278"/>
                  </a:cubicBezTo>
                  <a:cubicBezTo>
                    <a:pt x="102000" y="45278"/>
                    <a:pt x="102000" y="45055"/>
                    <a:pt x="102000" y="45055"/>
                  </a:cubicBezTo>
                  <a:cubicBezTo>
                    <a:pt x="102000" y="45055"/>
                    <a:pt x="102230" y="45055"/>
                    <a:pt x="102230" y="45055"/>
                  </a:cubicBezTo>
                  <a:cubicBezTo>
                    <a:pt x="102230" y="44609"/>
                    <a:pt x="102230" y="44609"/>
                    <a:pt x="102230" y="44609"/>
                  </a:cubicBezTo>
                  <a:cubicBezTo>
                    <a:pt x="102230" y="44609"/>
                    <a:pt x="102692" y="44609"/>
                    <a:pt x="102692" y="44609"/>
                  </a:cubicBezTo>
                  <a:cubicBezTo>
                    <a:pt x="102923" y="44609"/>
                    <a:pt x="102692" y="44609"/>
                    <a:pt x="102692" y="44609"/>
                  </a:cubicBezTo>
                  <a:cubicBezTo>
                    <a:pt x="103384" y="44386"/>
                    <a:pt x="103384" y="44386"/>
                    <a:pt x="103384" y="44386"/>
                  </a:cubicBezTo>
                  <a:cubicBezTo>
                    <a:pt x="103384" y="44386"/>
                    <a:pt x="103384" y="44386"/>
                    <a:pt x="103384" y="44609"/>
                  </a:cubicBezTo>
                  <a:cubicBezTo>
                    <a:pt x="102923" y="43940"/>
                    <a:pt x="102230" y="43048"/>
                    <a:pt x="102230" y="43048"/>
                  </a:cubicBezTo>
                  <a:cubicBezTo>
                    <a:pt x="102692" y="42156"/>
                    <a:pt x="102692" y="42156"/>
                    <a:pt x="102692" y="42156"/>
                  </a:cubicBezTo>
                  <a:cubicBezTo>
                    <a:pt x="102692" y="42156"/>
                    <a:pt x="102923" y="40594"/>
                    <a:pt x="102923" y="40148"/>
                  </a:cubicBezTo>
                  <a:cubicBezTo>
                    <a:pt x="102923" y="39925"/>
                    <a:pt x="102923" y="38587"/>
                    <a:pt x="102923" y="38587"/>
                  </a:cubicBezTo>
                  <a:cubicBezTo>
                    <a:pt x="102923" y="38587"/>
                    <a:pt x="102000" y="38364"/>
                    <a:pt x="102692" y="37695"/>
                  </a:cubicBezTo>
                  <a:cubicBezTo>
                    <a:pt x="103384" y="36802"/>
                    <a:pt x="104076" y="35687"/>
                    <a:pt x="104076" y="35687"/>
                  </a:cubicBezTo>
                  <a:cubicBezTo>
                    <a:pt x="104076" y="33457"/>
                    <a:pt x="104076" y="33457"/>
                    <a:pt x="104076" y="33457"/>
                  </a:cubicBezTo>
                  <a:cubicBezTo>
                    <a:pt x="104076" y="33457"/>
                    <a:pt x="103384" y="32788"/>
                    <a:pt x="104307" y="32342"/>
                  </a:cubicBezTo>
                  <a:cubicBezTo>
                    <a:pt x="105230" y="31672"/>
                    <a:pt x="106846" y="29665"/>
                    <a:pt x="106846" y="29665"/>
                  </a:cubicBezTo>
                  <a:cubicBezTo>
                    <a:pt x="108461" y="27881"/>
                    <a:pt x="108461" y="27881"/>
                    <a:pt x="108461" y="27881"/>
                  </a:cubicBezTo>
                  <a:cubicBezTo>
                    <a:pt x="105692" y="27211"/>
                    <a:pt x="105692" y="27211"/>
                    <a:pt x="105692" y="27211"/>
                  </a:cubicBezTo>
                  <a:cubicBezTo>
                    <a:pt x="104076" y="26988"/>
                    <a:pt x="104076" y="26988"/>
                    <a:pt x="104076" y="26988"/>
                  </a:cubicBezTo>
                  <a:cubicBezTo>
                    <a:pt x="102923" y="26319"/>
                    <a:pt x="102923" y="26319"/>
                    <a:pt x="102923" y="26319"/>
                  </a:cubicBezTo>
                  <a:cubicBezTo>
                    <a:pt x="102230" y="25204"/>
                    <a:pt x="102230" y="25204"/>
                    <a:pt x="102230" y="25204"/>
                  </a:cubicBezTo>
                  <a:cubicBezTo>
                    <a:pt x="101538" y="25650"/>
                    <a:pt x="101538" y="25650"/>
                    <a:pt x="101538" y="25650"/>
                  </a:cubicBezTo>
                  <a:cubicBezTo>
                    <a:pt x="100846" y="26096"/>
                    <a:pt x="100846" y="26096"/>
                    <a:pt x="100846" y="26096"/>
                  </a:cubicBezTo>
                  <a:cubicBezTo>
                    <a:pt x="99230" y="25873"/>
                    <a:pt x="99230" y="25873"/>
                    <a:pt x="99230" y="25873"/>
                  </a:cubicBezTo>
                  <a:cubicBezTo>
                    <a:pt x="98076" y="24758"/>
                    <a:pt x="98076" y="24758"/>
                    <a:pt x="98076" y="24758"/>
                  </a:cubicBezTo>
                  <a:cubicBezTo>
                    <a:pt x="97153" y="25427"/>
                    <a:pt x="97153" y="25427"/>
                    <a:pt x="97153" y="25427"/>
                  </a:cubicBezTo>
                  <a:cubicBezTo>
                    <a:pt x="96230" y="24758"/>
                    <a:pt x="96230" y="24758"/>
                    <a:pt x="96230" y="24758"/>
                  </a:cubicBezTo>
                  <a:cubicBezTo>
                    <a:pt x="95538" y="23643"/>
                    <a:pt x="95538" y="23643"/>
                    <a:pt x="95538" y="23643"/>
                  </a:cubicBezTo>
                  <a:cubicBezTo>
                    <a:pt x="95307" y="22750"/>
                    <a:pt x="95307" y="22750"/>
                    <a:pt x="95307" y="22750"/>
                  </a:cubicBezTo>
                  <a:cubicBezTo>
                    <a:pt x="94153" y="21635"/>
                    <a:pt x="94153" y="21635"/>
                    <a:pt x="94153" y="21635"/>
                  </a:cubicBezTo>
                  <a:cubicBezTo>
                    <a:pt x="93692" y="21635"/>
                    <a:pt x="93692" y="21635"/>
                    <a:pt x="93692" y="21635"/>
                  </a:cubicBezTo>
                  <a:cubicBezTo>
                    <a:pt x="93692" y="21858"/>
                    <a:pt x="93461" y="21858"/>
                    <a:pt x="93461" y="21858"/>
                  </a:cubicBezTo>
                  <a:cubicBezTo>
                    <a:pt x="93461" y="21858"/>
                    <a:pt x="92769" y="21635"/>
                    <a:pt x="92769" y="21635"/>
                  </a:cubicBezTo>
                  <a:cubicBezTo>
                    <a:pt x="92769" y="21189"/>
                    <a:pt x="92769" y="21189"/>
                    <a:pt x="92769" y="21189"/>
                  </a:cubicBezTo>
                  <a:cubicBezTo>
                    <a:pt x="92538" y="20966"/>
                    <a:pt x="92538" y="20966"/>
                    <a:pt x="92538" y="20966"/>
                  </a:cubicBezTo>
                  <a:cubicBezTo>
                    <a:pt x="92076" y="20966"/>
                    <a:pt x="92076" y="20966"/>
                    <a:pt x="92076" y="20966"/>
                  </a:cubicBezTo>
                  <a:cubicBezTo>
                    <a:pt x="91615" y="21189"/>
                    <a:pt x="91615" y="21189"/>
                    <a:pt x="91615" y="21189"/>
                  </a:cubicBezTo>
                  <a:cubicBezTo>
                    <a:pt x="91384" y="21412"/>
                    <a:pt x="91384" y="21412"/>
                    <a:pt x="91384" y="21412"/>
                  </a:cubicBezTo>
                  <a:cubicBezTo>
                    <a:pt x="91384" y="21412"/>
                    <a:pt x="91384" y="21412"/>
                    <a:pt x="91384" y="21412"/>
                  </a:cubicBezTo>
                  <a:cubicBezTo>
                    <a:pt x="91153" y="21635"/>
                    <a:pt x="91153" y="21635"/>
                    <a:pt x="91153" y="21635"/>
                  </a:cubicBezTo>
                  <a:cubicBezTo>
                    <a:pt x="90923" y="21635"/>
                    <a:pt x="90923" y="21635"/>
                    <a:pt x="90923" y="21635"/>
                  </a:cubicBezTo>
                  <a:cubicBezTo>
                    <a:pt x="90923" y="21635"/>
                    <a:pt x="90923" y="21635"/>
                    <a:pt x="90923" y="21635"/>
                  </a:cubicBezTo>
                  <a:cubicBezTo>
                    <a:pt x="90923" y="21635"/>
                    <a:pt x="90692" y="21635"/>
                    <a:pt x="90692" y="21635"/>
                  </a:cubicBezTo>
                  <a:cubicBezTo>
                    <a:pt x="90230" y="21635"/>
                    <a:pt x="90230" y="21635"/>
                    <a:pt x="90230" y="21635"/>
                  </a:cubicBezTo>
                  <a:cubicBezTo>
                    <a:pt x="90230" y="21412"/>
                    <a:pt x="90230" y="21412"/>
                    <a:pt x="90230" y="21412"/>
                  </a:cubicBezTo>
                  <a:cubicBezTo>
                    <a:pt x="90230" y="21189"/>
                    <a:pt x="90230" y="21189"/>
                    <a:pt x="90230" y="21189"/>
                  </a:cubicBezTo>
                  <a:cubicBezTo>
                    <a:pt x="89769" y="20966"/>
                    <a:pt x="89769" y="20966"/>
                    <a:pt x="89769" y="20966"/>
                  </a:cubicBezTo>
                  <a:cubicBezTo>
                    <a:pt x="89538" y="20966"/>
                    <a:pt x="89538" y="20966"/>
                    <a:pt x="89538" y="20966"/>
                  </a:cubicBezTo>
                  <a:cubicBezTo>
                    <a:pt x="89538" y="20966"/>
                    <a:pt x="89307" y="20743"/>
                    <a:pt x="89307" y="20743"/>
                  </a:cubicBezTo>
                  <a:cubicBezTo>
                    <a:pt x="89076" y="20743"/>
                    <a:pt x="89076" y="20520"/>
                    <a:pt x="89076" y="20520"/>
                  </a:cubicBezTo>
                  <a:cubicBezTo>
                    <a:pt x="88846" y="20297"/>
                    <a:pt x="88846" y="20297"/>
                    <a:pt x="88846" y="20297"/>
                  </a:cubicBezTo>
                  <a:cubicBezTo>
                    <a:pt x="89307" y="20297"/>
                    <a:pt x="89307" y="20297"/>
                    <a:pt x="89307" y="20297"/>
                  </a:cubicBezTo>
                  <a:cubicBezTo>
                    <a:pt x="89307" y="20297"/>
                    <a:pt x="89307" y="20074"/>
                    <a:pt x="89307" y="20074"/>
                  </a:cubicBezTo>
                  <a:cubicBezTo>
                    <a:pt x="89307" y="20074"/>
                    <a:pt x="89307" y="20074"/>
                    <a:pt x="89307" y="20074"/>
                  </a:cubicBezTo>
                  <a:cubicBezTo>
                    <a:pt x="89307" y="20074"/>
                    <a:pt x="89076" y="20074"/>
                    <a:pt x="89076" y="20074"/>
                  </a:cubicBezTo>
                  <a:cubicBezTo>
                    <a:pt x="88615" y="20074"/>
                    <a:pt x="88615" y="20074"/>
                    <a:pt x="88615" y="20074"/>
                  </a:cubicBezTo>
                  <a:cubicBezTo>
                    <a:pt x="88384" y="20297"/>
                    <a:pt x="88384" y="20297"/>
                    <a:pt x="88384" y="20297"/>
                  </a:cubicBezTo>
                  <a:cubicBezTo>
                    <a:pt x="87923" y="20297"/>
                    <a:pt x="87923" y="20297"/>
                    <a:pt x="87923" y="20297"/>
                  </a:cubicBezTo>
                  <a:cubicBezTo>
                    <a:pt x="87461" y="20520"/>
                    <a:pt x="87461" y="20520"/>
                    <a:pt x="87461" y="20520"/>
                  </a:cubicBezTo>
                  <a:cubicBezTo>
                    <a:pt x="86769" y="20520"/>
                    <a:pt x="86769" y="20520"/>
                    <a:pt x="86769" y="20520"/>
                  </a:cubicBezTo>
                  <a:cubicBezTo>
                    <a:pt x="86538" y="20074"/>
                    <a:pt x="86538" y="20074"/>
                    <a:pt x="86538" y="20074"/>
                  </a:cubicBezTo>
                  <a:cubicBezTo>
                    <a:pt x="86307" y="19628"/>
                    <a:pt x="86307" y="19628"/>
                    <a:pt x="86307" y="19628"/>
                  </a:cubicBezTo>
                  <a:cubicBezTo>
                    <a:pt x="86076" y="19405"/>
                    <a:pt x="86076" y="19405"/>
                    <a:pt x="86076" y="19405"/>
                  </a:cubicBezTo>
                  <a:cubicBezTo>
                    <a:pt x="85846" y="19405"/>
                    <a:pt x="85846" y="19405"/>
                    <a:pt x="85846" y="19405"/>
                  </a:cubicBezTo>
                  <a:cubicBezTo>
                    <a:pt x="85153" y="19182"/>
                    <a:pt x="85153" y="19182"/>
                    <a:pt x="85153" y="19182"/>
                  </a:cubicBezTo>
                  <a:cubicBezTo>
                    <a:pt x="85384" y="18736"/>
                    <a:pt x="85384" y="18736"/>
                    <a:pt x="85384" y="18736"/>
                  </a:cubicBezTo>
                  <a:cubicBezTo>
                    <a:pt x="85384" y="18736"/>
                    <a:pt x="85153" y="18289"/>
                    <a:pt x="85153" y="18289"/>
                  </a:cubicBezTo>
                  <a:cubicBezTo>
                    <a:pt x="84923" y="18289"/>
                    <a:pt x="84692" y="18289"/>
                    <a:pt x="84692" y="18289"/>
                  </a:cubicBezTo>
                  <a:cubicBezTo>
                    <a:pt x="84230" y="17843"/>
                    <a:pt x="84230" y="17843"/>
                    <a:pt x="84230" y="17843"/>
                  </a:cubicBezTo>
                  <a:cubicBezTo>
                    <a:pt x="84230" y="17843"/>
                    <a:pt x="84230" y="17620"/>
                    <a:pt x="84000" y="17397"/>
                  </a:cubicBezTo>
                  <a:cubicBezTo>
                    <a:pt x="83769" y="17397"/>
                    <a:pt x="83769" y="17174"/>
                    <a:pt x="83538" y="17174"/>
                  </a:cubicBezTo>
                  <a:cubicBezTo>
                    <a:pt x="83307" y="17174"/>
                    <a:pt x="82846" y="17174"/>
                    <a:pt x="82846" y="17174"/>
                  </a:cubicBezTo>
                  <a:cubicBezTo>
                    <a:pt x="82846" y="17174"/>
                    <a:pt x="82615" y="16728"/>
                    <a:pt x="82384" y="16728"/>
                  </a:cubicBezTo>
                  <a:cubicBezTo>
                    <a:pt x="82384" y="16728"/>
                    <a:pt x="81461" y="16728"/>
                    <a:pt x="81461" y="16728"/>
                  </a:cubicBezTo>
                  <a:cubicBezTo>
                    <a:pt x="81461" y="16728"/>
                    <a:pt x="81692" y="16059"/>
                    <a:pt x="81692" y="16059"/>
                  </a:cubicBezTo>
                  <a:cubicBezTo>
                    <a:pt x="81692" y="15836"/>
                    <a:pt x="81692" y="15167"/>
                    <a:pt x="81692" y="15167"/>
                  </a:cubicBezTo>
                  <a:cubicBezTo>
                    <a:pt x="81692" y="14944"/>
                    <a:pt x="81692" y="14944"/>
                    <a:pt x="81692" y="14944"/>
                  </a:cubicBezTo>
                  <a:cubicBezTo>
                    <a:pt x="81692" y="14944"/>
                    <a:pt x="81461" y="14721"/>
                    <a:pt x="81692" y="14275"/>
                  </a:cubicBezTo>
                  <a:cubicBezTo>
                    <a:pt x="81923" y="13828"/>
                    <a:pt x="81692" y="14052"/>
                    <a:pt x="81923" y="13605"/>
                  </a:cubicBezTo>
                  <a:cubicBezTo>
                    <a:pt x="82153" y="12936"/>
                    <a:pt x="82153" y="12713"/>
                    <a:pt x="82153" y="12713"/>
                  </a:cubicBezTo>
                  <a:cubicBezTo>
                    <a:pt x="81692" y="12490"/>
                    <a:pt x="81692" y="12490"/>
                    <a:pt x="81692" y="12490"/>
                  </a:cubicBezTo>
                  <a:cubicBezTo>
                    <a:pt x="81692" y="12490"/>
                    <a:pt x="81461" y="12267"/>
                    <a:pt x="81230" y="12490"/>
                  </a:cubicBezTo>
                  <a:cubicBezTo>
                    <a:pt x="81230" y="12936"/>
                    <a:pt x="81000" y="12936"/>
                    <a:pt x="81000" y="12936"/>
                  </a:cubicBezTo>
                  <a:cubicBezTo>
                    <a:pt x="80538" y="13605"/>
                    <a:pt x="80538" y="13605"/>
                    <a:pt x="80538" y="13605"/>
                  </a:cubicBezTo>
                  <a:cubicBezTo>
                    <a:pt x="80538" y="14275"/>
                    <a:pt x="80538" y="14275"/>
                    <a:pt x="80538" y="14275"/>
                  </a:cubicBezTo>
                  <a:cubicBezTo>
                    <a:pt x="80538" y="14275"/>
                    <a:pt x="80769" y="14498"/>
                    <a:pt x="80076" y="14498"/>
                  </a:cubicBezTo>
                  <a:cubicBezTo>
                    <a:pt x="79615" y="14498"/>
                    <a:pt x="79153" y="14498"/>
                    <a:pt x="79153" y="14498"/>
                  </a:cubicBezTo>
                  <a:cubicBezTo>
                    <a:pt x="79153" y="14498"/>
                    <a:pt x="79615" y="14944"/>
                    <a:pt x="78923" y="14944"/>
                  </a:cubicBezTo>
                  <a:cubicBezTo>
                    <a:pt x="78461" y="14944"/>
                    <a:pt x="77769" y="14944"/>
                    <a:pt x="77769" y="14944"/>
                  </a:cubicBezTo>
                  <a:cubicBezTo>
                    <a:pt x="77307" y="14498"/>
                    <a:pt x="77307" y="14498"/>
                    <a:pt x="77307" y="14498"/>
                  </a:cubicBezTo>
                  <a:cubicBezTo>
                    <a:pt x="76384" y="14721"/>
                    <a:pt x="76384" y="14721"/>
                    <a:pt x="76384" y="14721"/>
                  </a:cubicBezTo>
                  <a:cubicBezTo>
                    <a:pt x="76384" y="14721"/>
                    <a:pt x="76384" y="14498"/>
                    <a:pt x="76384" y="14052"/>
                  </a:cubicBezTo>
                  <a:cubicBezTo>
                    <a:pt x="76384" y="13828"/>
                    <a:pt x="76153" y="13382"/>
                    <a:pt x="76384" y="13382"/>
                  </a:cubicBezTo>
                  <a:cubicBezTo>
                    <a:pt x="76615" y="13382"/>
                    <a:pt x="76846" y="13159"/>
                    <a:pt x="76846" y="13159"/>
                  </a:cubicBezTo>
                  <a:cubicBezTo>
                    <a:pt x="76615" y="12490"/>
                    <a:pt x="76615" y="12490"/>
                    <a:pt x="76615" y="12490"/>
                  </a:cubicBezTo>
                  <a:cubicBezTo>
                    <a:pt x="76615" y="12490"/>
                    <a:pt x="76615" y="12490"/>
                    <a:pt x="76615" y="12490"/>
                  </a:cubicBezTo>
                  <a:cubicBezTo>
                    <a:pt x="76615" y="12490"/>
                    <a:pt x="76384" y="12490"/>
                    <a:pt x="76384" y="12267"/>
                  </a:cubicBezTo>
                  <a:cubicBezTo>
                    <a:pt x="76384" y="12044"/>
                    <a:pt x="76615" y="11598"/>
                    <a:pt x="76615" y="11598"/>
                  </a:cubicBezTo>
                  <a:cubicBezTo>
                    <a:pt x="76846" y="11375"/>
                    <a:pt x="76846" y="10929"/>
                    <a:pt x="76846" y="10929"/>
                  </a:cubicBezTo>
                  <a:cubicBezTo>
                    <a:pt x="76615" y="10929"/>
                    <a:pt x="76615" y="10929"/>
                    <a:pt x="76615" y="10929"/>
                  </a:cubicBezTo>
                  <a:cubicBezTo>
                    <a:pt x="76615" y="10929"/>
                    <a:pt x="76153" y="11152"/>
                    <a:pt x="76153" y="10706"/>
                  </a:cubicBezTo>
                  <a:cubicBezTo>
                    <a:pt x="76153" y="10483"/>
                    <a:pt x="75923" y="10037"/>
                    <a:pt x="75923" y="10037"/>
                  </a:cubicBezTo>
                  <a:cubicBezTo>
                    <a:pt x="75923" y="10037"/>
                    <a:pt x="75461" y="9814"/>
                    <a:pt x="75461" y="9814"/>
                  </a:cubicBezTo>
                  <a:cubicBezTo>
                    <a:pt x="75230" y="9814"/>
                    <a:pt x="75230" y="9814"/>
                    <a:pt x="75000" y="10037"/>
                  </a:cubicBezTo>
                  <a:cubicBezTo>
                    <a:pt x="75000" y="10037"/>
                    <a:pt x="74307" y="9814"/>
                    <a:pt x="74307" y="9814"/>
                  </a:cubicBezTo>
                  <a:cubicBezTo>
                    <a:pt x="74307" y="9814"/>
                    <a:pt x="73615" y="9814"/>
                    <a:pt x="73615" y="9814"/>
                  </a:cubicBezTo>
                  <a:cubicBezTo>
                    <a:pt x="73384" y="9814"/>
                    <a:pt x="73153" y="10260"/>
                    <a:pt x="73153" y="10260"/>
                  </a:cubicBezTo>
                  <a:cubicBezTo>
                    <a:pt x="72692" y="9591"/>
                    <a:pt x="72692" y="9591"/>
                    <a:pt x="72692" y="9591"/>
                  </a:cubicBezTo>
                  <a:cubicBezTo>
                    <a:pt x="72923" y="8921"/>
                    <a:pt x="72923" y="8921"/>
                    <a:pt x="72923" y="8921"/>
                  </a:cubicBezTo>
                  <a:cubicBezTo>
                    <a:pt x="72923" y="8921"/>
                    <a:pt x="72461" y="8475"/>
                    <a:pt x="72461" y="8252"/>
                  </a:cubicBezTo>
                  <a:cubicBezTo>
                    <a:pt x="72461" y="8252"/>
                    <a:pt x="72230" y="7806"/>
                    <a:pt x="72230" y="7806"/>
                  </a:cubicBezTo>
                  <a:cubicBezTo>
                    <a:pt x="71769" y="7806"/>
                    <a:pt x="71769" y="7806"/>
                    <a:pt x="71769" y="7806"/>
                  </a:cubicBezTo>
                  <a:cubicBezTo>
                    <a:pt x="71538" y="7583"/>
                    <a:pt x="71538" y="7583"/>
                    <a:pt x="71538" y="7583"/>
                  </a:cubicBezTo>
                  <a:cubicBezTo>
                    <a:pt x="71538" y="7583"/>
                    <a:pt x="71076" y="7583"/>
                    <a:pt x="70846" y="7583"/>
                  </a:cubicBezTo>
                  <a:cubicBezTo>
                    <a:pt x="70615" y="7583"/>
                    <a:pt x="70615" y="7583"/>
                    <a:pt x="70384" y="7583"/>
                  </a:cubicBezTo>
                  <a:cubicBezTo>
                    <a:pt x="70384" y="7583"/>
                    <a:pt x="69923" y="7137"/>
                    <a:pt x="69923" y="7137"/>
                  </a:cubicBezTo>
                  <a:cubicBezTo>
                    <a:pt x="69923" y="6914"/>
                    <a:pt x="69923" y="6691"/>
                    <a:pt x="69923" y="6468"/>
                  </a:cubicBezTo>
                  <a:cubicBezTo>
                    <a:pt x="69692" y="6245"/>
                    <a:pt x="69461" y="5799"/>
                    <a:pt x="69461" y="5576"/>
                  </a:cubicBezTo>
                  <a:cubicBezTo>
                    <a:pt x="69461" y="5576"/>
                    <a:pt x="69692" y="5130"/>
                    <a:pt x="69692" y="5130"/>
                  </a:cubicBezTo>
                  <a:cubicBezTo>
                    <a:pt x="69461" y="4907"/>
                    <a:pt x="69000" y="4460"/>
                    <a:pt x="69000" y="4460"/>
                  </a:cubicBezTo>
                  <a:cubicBezTo>
                    <a:pt x="68769" y="4014"/>
                    <a:pt x="68769" y="4014"/>
                    <a:pt x="68769" y="4014"/>
                  </a:cubicBezTo>
                  <a:cubicBezTo>
                    <a:pt x="68769" y="4014"/>
                    <a:pt x="68076" y="4460"/>
                    <a:pt x="67846" y="4460"/>
                  </a:cubicBezTo>
                  <a:cubicBezTo>
                    <a:pt x="67615" y="4460"/>
                    <a:pt x="67153" y="4237"/>
                    <a:pt x="67153" y="4460"/>
                  </a:cubicBezTo>
                  <a:cubicBezTo>
                    <a:pt x="67153" y="4460"/>
                    <a:pt x="67384" y="4907"/>
                    <a:pt x="67153" y="4907"/>
                  </a:cubicBezTo>
                  <a:cubicBezTo>
                    <a:pt x="66923" y="4907"/>
                    <a:pt x="66461" y="4907"/>
                    <a:pt x="66230" y="4684"/>
                  </a:cubicBezTo>
                  <a:cubicBezTo>
                    <a:pt x="66000" y="4460"/>
                    <a:pt x="66000" y="4237"/>
                    <a:pt x="66000" y="4014"/>
                  </a:cubicBezTo>
                  <a:cubicBezTo>
                    <a:pt x="65769" y="4014"/>
                    <a:pt x="65769" y="3568"/>
                    <a:pt x="65538" y="3568"/>
                  </a:cubicBezTo>
                  <a:cubicBezTo>
                    <a:pt x="65307" y="3568"/>
                    <a:pt x="65076" y="3568"/>
                    <a:pt x="65076" y="3345"/>
                  </a:cubicBezTo>
                  <a:cubicBezTo>
                    <a:pt x="65076" y="3345"/>
                    <a:pt x="65076" y="2676"/>
                    <a:pt x="65076" y="2676"/>
                  </a:cubicBezTo>
                  <a:cubicBezTo>
                    <a:pt x="65076" y="2230"/>
                    <a:pt x="65076" y="2230"/>
                    <a:pt x="65076" y="2230"/>
                  </a:cubicBezTo>
                  <a:cubicBezTo>
                    <a:pt x="65076" y="2230"/>
                    <a:pt x="65076" y="1561"/>
                    <a:pt x="64846" y="1561"/>
                  </a:cubicBezTo>
                  <a:cubicBezTo>
                    <a:pt x="64846" y="1338"/>
                    <a:pt x="64615" y="1115"/>
                    <a:pt x="64615" y="1115"/>
                  </a:cubicBezTo>
                  <a:cubicBezTo>
                    <a:pt x="64615" y="446"/>
                    <a:pt x="64615" y="446"/>
                    <a:pt x="64615" y="446"/>
                  </a:cubicBezTo>
                  <a:cubicBezTo>
                    <a:pt x="64846" y="223"/>
                    <a:pt x="64846" y="223"/>
                    <a:pt x="64846" y="223"/>
                  </a:cubicBezTo>
                  <a:cubicBezTo>
                    <a:pt x="64846" y="223"/>
                    <a:pt x="64846" y="0"/>
                    <a:pt x="65076" y="0"/>
                  </a:cubicBezTo>
                  <a:cubicBezTo>
                    <a:pt x="59769" y="892"/>
                    <a:pt x="59769" y="892"/>
                    <a:pt x="59769" y="892"/>
                  </a:cubicBezTo>
                  <a:cubicBezTo>
                    <a:pt x="57461" y="1115"/>
                    <a:pt x="57461" y="1115"/>
                    <a:pt x="57461" y="1115"/>
                  </a:cubicBezTo>
                  <a:cubicBezTo>
                    <a:pt x="56538" y="2230"/>
                    <a:pt x="56538" y="2230"/>
                    <a:pt x="56538" y="2230"/>
                  </a:cubicBezTo>
                  <a:cubicBezTo>
                    <a:pt x="56076" y="3345"/>
                    <a:pt x="56076" y="3345"/>
                    <a:pt x="56076" y="3345"/>
                  </a:cubicBezTo>
                  <a:cubicBezTo>
                    <a:pt x="56307" y="5130"/>
                    <a:pt x="56307" y="5130"/>
                    <a:pt x="56307" y="5130"/>
                  </a:cubicBezTo>
                  <a:cubicBezTo>
                    <a:pt x="55615" y="6245"/>
                    <a:pt x="55615" y="6245"/>
                    <a:pt x="55615" y="6245"/>
                  </a:cubicBezTo>
                  <a:cubicBezTo>
                    <a:pt x="55615" y="7583"/>
                    <a:pt x="55615" y="7583"/>
                    <a:pt x="55615" y="7583"/>
                  </a:cubicBezTo>
                  <a:cubicBezTo>
                    <a:pt x="55615" y="9591"/>
                    <a:pt x="55615" y="9591"/>
                    <a:pt x="55615" y="9591"/>
                  </a:cubicBezTo>
                  <a:cubicBezTo>
                    <a:pt x="54461" y="10260"/>
                    <a:pt x="54461" y="10260"/>
                    <a:pt x="54461" y="10260"/>
                  </a:cubicBezTo>
                  <a:cubicBezTo>
                    <a:pt x="52846" y="11821"/>
                    <a:pt x="52846" y="11821"/>
                    <a:pt x="52846" y="11821"/>
                  </a:cubicBezTo>
                  <a:cubicBezTo>
                    <a:pt x="50538" y="12713"/>
                    <a:pt x="50538" y="12713"/>
                    <a:pt x="50538" y="12713"/>
                  </a:cubicBezTo>
                  <a:cubicBezTo>
                    <a:pt x="47538" y="13382"/>
                    <a:pt x="47538" y="13382"/>
                    <a:pt x="47538" y="13382"/>
                  </a:cubicBezTo>
                  <a:cubicBezTo>
                    <a:pt x="45230" y="14052"/>
                    <a:pt x="45230" y="14052"/>
                    <a:pt x="45230" y="14052"/>
                  </a:cubicBezTo>
                  <a:cubicBezTo>
                    <a:pt x="43153" y="15167"/>
                    <a:pt x="43153" y="15167"/>
                    <a:pt x="43153" y="15167"/>
                  </a:cubicBezTo>
                  <a:cubicBezTo>
                    <a:pt x="42692" y="16728"/>
                    <a:pt x="42692" y="16728"/>
                    <a:pt x="42692" y="16728"/>
                  </a:cubicBezTo>
                  <a:cubicBezTo>
                    <a:pt x="42461" y="18736"/>
                    <a:pt x="42461" y="18736"/>
                    <a:pt x="42461" y="18736"/>
                  </a:cubicBezTo>
                  <a:cubicBezTo>
                    <a:pt x="40846" y="19405"/>
                    <a:pt x="40846" y="19405"/>
                    <a:pt x="40846" y="19405"/>
                  </a:cubicBezTo>
                  <a:cubicBezTo>
                    <a:pt x="40846" y="19405"/>
                    <a:pt x="40153" y="19851"/>
                    <a:pt x="39692" y="19628"/>
                  </a:cubicBezTo>
                  <a:cubicBezTo>
                    <a:pt x="39000" y="19628"/>
                    <a:pt x="37615" y="19182"/>
                    <a:pt x="37615" y="19182"/>
                  </a:cubicBezTo>
                  <a:cubicBezTo>
                    <a:pt x="37615" y="19182"/>
                    <a:pt x="36000" y="18289"/>
                    <a:pt x="35307" y="18289"/>
                  </a:cubicBezTo>
                  <a:cubicBezTo>
                    <a:pt x="34615" y="18066"/>
                    <a:pt x="33461" y="16951"/>
                    <a:pt x="33461" y="16951"/>
                  </a:cubicBezTo>
                  <a:cubicBezTo>
                    <a:pt x="32307" y="17843"/>
                    <a:pt x="32307" y="17843"/>
                    <a:pt x="32307" y="17843"/>
                  </a:cubicBezTo>
                  <a:cubicBezTo>
                    <a:pt x="32307" y="17843"/>
                    <a:pt x="31615" y="17174"/>
                    <a:pt x="31615" y="16728"/>
                  </a:cubicBezTo>
                  <a:cubicBezTo>
                    <a:pt x="31615" y="16505"/>
                    <a:pt x="31615" y="16505"/>
                    <a:pt x="31615" y="16059"/>
                  </a:cubicBezTo>
                  <a:cubicBezTo>
                    <a:pt x="31615" y="15390"/>
                    <a:pt x="31615" y="14275"/>
                    <a:pt x="31615" y="14275"/>
                  </a:cubicBezTo>
                  <a:cubicBezTo>
                    <a:pt x="30000" y="13605"/>
                    <a:pt x="30000" y="13605"/>
                    <a:pt x="30000" y="13605"/>
                  </a:cubicBezTo>
                  <a:cubicBezTo>
                    <a:pt x="28384" y="13382"/>
                    <a:pt x="28384" y="13382"/>
                    <a:pt x="28384" y="13382"/>
                  </a:cubicBezTo>
                  <a:cubicBezTo>
                    <a:pt x="28384" y="13382"/>
                    <a:pt x="28384" y="13828"/>
                    <a:pt x="27923" y="13382"/>
                  </a:cubicBezTo>
                  <a:cubicBezTo>
                    <a:pt x="27230" y="12936"/>
                    <a:pt x="27230" y="12044"/>
                    <a:pt x="27230" y="12044"/>
                  </a:cubicBezTo>
                  <a:cubicBezTo>
                    <a:pt x="25846" y="11375"/>
                    <a:pt x="25846" y="11375"/>
                    <a:pt x="25846" y="11375"/>
                  </a:cubicBezTo>
                  <a:cubicBezTo>
                    <a:pt x="25384" y="13159"/>
                    <a:pt x="25384" y="13159"/>
                    <a:pt x="25384" y="13159"/>
                  </a:cubicBezTo>
                  <a:cubicBezTo>
                    <a:pt x="27000" y="14498"/>
                    <a:pt x="27000" y="14498"/>
                    <a:pt x="27000" y="14498"/>
                  </a:cubicBezTo>
                  <a:cubicBezTo>
                    <a:pt x="27461" y="15390"/>
                    <a:pt x="27461" y="15390"/>
                    <a:pt x="27461" y="15390"/>
                  </a:cubicBezTo>
                  <a:cubicBezTo>
                    <a:pt x="27000" y="16728"/>
                    <a:pt x="27000" y="16728"/>
                    <a:pt x="27000" y="16728"/>
                  </a:cubicBezTo>
                  <a:cubicBezTo>
                    <a:pt x="27461" y="17843"/>
                    <a:pt x="27461" y="17843"/>
                    <a:pt x="27461" y="17843"/>
                  </a:cubicBezTo>
                  <a:cubicBezTo>
                    <a:pt x="27692" y="18736"/>
                    <a:pt x="27692" y="18736"/>
                    <a:pt x="27692" y="18736"/>
                  </a:cubicBezTo>
                  <a:cubicBezTo>
                    <a:pt x="27692" y="18736"/>
                    <a:pt x="27923" y="18736"/>
                    <a:pt x="27923" y="19405"/>
                  </a:cubicBezTo>
                  <a:cubicBezTo>
                    <a:pt x="27923" y="19851"/>
                    <a:pt x="27692" y="22081"/>
                    <a:pt x="27692" y="22081"/>
                  </a:cubicBezTo>
                  <a:cubicBezTo>
                    <a:pt x="27692" y="23866"/>
                    <a:pt x="27692" y="23866"/>
                    <a:pt x="27692" y="23866"/>
                  </a:cubicBezTo>
                  <a:cubicBezTo>
                    <a:pt x="28384" y="25650"/>
                    <a:pt x="28384" y="25650"/>
                    <a:pt x="28384" y="25650"/>
                  </a:cubicBezTo>
                  <a:cubicBezTo>
                    <a:pt x="28384" y="25650"/>
                    <a:pt x="27230" y="26319"/>
                    <a:pt x="26769" y="26319"/>
                  </a:cubicBezTo>
                  <a:cubicBezTo>
                    <a:pt x="26307" y="26319"/>
                    <a:pt x="25153" y="25873"/>
                    <a:pt x="25153" y="25873"/>
                  </a:cubicBezTo>
                  <a:cubicBezTo>
                    <a:pt x="24692" y="24758"/>
                    <a:pt x="24692" y="24758"/>
                    <a:pt x="24692" y="24758"/>
                  </a:cubicBezTo>
                  <a:cubicBezTo>
                    <a:pt x="21923" y="24981"/>
                    <a:pt x="21923" y="24981"/>
                    <a:pt x="21923" y="24981"/>
                  </a:cubicBezTo>
                  <a:cubicBezTo>
                    <a:pt x="20307" y="24758"/>
                    <a:pt x="20307" y="24758"/>
                    <a:pt x="20307" y="24758"/>
                  </a:cubicBezTo>
                  <a:cubicBezTo>
                    <a:pt x="18923" y="25650"/>
                    <a:pt x="18923" y="25650"/>
                    <a:pt x="18923" y="25650"/>
                  </a:cubicBezTo>
                  <a:cubicBezTo>
                    <a:pt x="18000" y="25427"/>
                    <a:pt x="18000" y="25427"/>
                    <a:pt x="18000" y="25427"/>
                  </a:cubicBezTo>
                  <a:cubicBezTo>
                    <a:pt x="17076" y="24535"/>
                    <a:pt x="17076" y="24535"/>
                    <a:pt x="17076" y="24535"/>
                  </a:cubicBezTo>
                  <a:cubicBezTo>
                    <a:pt x="16846" y="23197"/>
                    <a:pt x="16846" y="23197"/>
                    <a:pt x="16846" y="23197"/>
                  </a:cubicBezTo>
                  <a:cubicBezTo>
                    <a:pt x="16384" y="22081"/>
                    <a:pt x="16384" y="22081"/>
                    <a:pt x="16384" y="22081"/>
                  </a:cubicBezTo>
                  <a:cubicBezTo>
                    <a:pt x="15461" y="20966"/>
                    <a:pt x="15461" y="20966"/>
                    <a:pt x="15461" y="20966"/>
                  </a:cubicBezTo>
                  <a:cubicBezTo>
                    <a:pt x="12461" y="21189"/>
                    <a:pt x="12461" y="21189"/>
                    <a:pt x="12461" y="21189"/>
                  </a:cubicBezTo>
                  <a:cubicBezTo>
                    <a:pt x="11307" y="21412"/>
                    <a:pt x="11307" y="21412"/>
                    <a:pt x="11307" y="21412"/>
                  </a:cubicBezTo>
                  <a:cubicBezTo>
                    <a:pt x="10615" y="22081"/>
                    <a:pt x="10615" y="22081"/>
                    <a:pt x="10615" y="22081"/>
                  </a:cubicBezTo>
                  <a:cubicBezTo>
                    <a:pt x="9230" y="21858"/>
                    <a:pt x="9230" y="21858"/>
                    <a:pt x="9230" y="21858"/>
                  </a:cubicBezTo>
                  <a:cubicBezTo>
                    <a:pt x="8769" y="22527"/>
                    <a:pt x="8769" y="22527"/>
                    <a:pt x="8769" y="22527"/>
                  </a:cubicBezTo>
                  <a:cubicBezTo>
                    <a:pt x="7153" y="22081"/>
                    <a:pt x="7153" y="22081"/>
                    <a:pt x="7153" y="22081"/>
                  </a:cubicBezTo>
                  <a:cubicBezTo>
                    <a:pt x="5538" y="22304"/>
                    <a:pt x="5538" y="22304"/>
                    <a:pt x="5538" y="22304"/>
                  </a:cubicBezTo>
                  <a:cubicBezTo>
                    <a:pt x="4384" y="22081"/>
                    <a:pt x="4384" y="22081"/>
                    <a:pt x="4384" y="22081"/>
                  </a:cubicBezTo>
                  <a:cubicBezTo>
                    <a:pt x="2307" y="22527"/>
                    <a:pt x="2307" y="22527"/>
                    <a:pt x="2307" y="22527"/>
                  </a:cubicBezTo>
                  <a:cubicBezTo>
                    <a:pt x="1153" y="23420"/>
                    <a:pt x="1153" y="23420"/>
                    <a:pt x="1153" y="23420"/>
                  </a:cubicBezTo>
                  <a:cubicBezTo>
                    <a:pt x="0" y="25204"/>
                    <a:pt x="0" y="25204"/>
                    <a:pt x="0" y="25204"/>
                  </a:cubicBezTo>
                  <a:cubicBezTo>
                    <a:pt x="0" y="25204"/>
                    <a:pt x="461" y="25204"/>
                    <a:pt x="923" y="25204"/>
                  </a:cubicBezTo>
                  <a:cubicBezTo>
                    <a:pt x="1153" y="25204"/>
                    <a:pt x="3230" y="25427"/>
                    <a:pt x="3230" y="25427"/>
                  </a:cubicBezTo>
                  <a:cubicBezTo>
                    <a:pt x="3692" y="26096"/>
                    <a:pt x="3692" y="26096"/>
                    <a:pt x="3692" y="26096"/>
                  </a:cubicBezTo>
                  <a:cubicBezTo>
                    <a:pt x="2307" y="26765"/>
                    <a:pt x="2307" y="26765"/>
                    <a:pt x="2307" y="26765"/>
                  </a:cubicBezTo>
                  <a:cubicBezTo>
                    <a:pt x="3461" y="27211"/>
                    <a:pt x="3461" y="27211"/>
                    <a:pt x="3461" y="27211"/>
                  </a:cubicBezTo>
                  <a:cubicBezTo>
                    <a:pt x="3692" y="27657"/>
                    <a:pt x="3692" y="27657"/>
                    <a:pt x="3692" y="27657"/>
                  </a:cubicBezTo>
                  <a:cubicBezTo>
                    <a:pt x="3692" y="28327"/>
                    <a:pt x="3692" y="28327"/>
                    <a:pt x="3692" y="28327"/>
                  </a:cubicBezTo>
                  <a:cubicBezTo>
                    <a:pt x="1153" y="28550"/>
                    <a:pt x="1153" y="28550"/>
                    <a:pt x="1153" y="28550"/>
                  </a:cubicBezTo>
                  <a:cubicBezTo>
                    <a:pt x="1153" y="28550"/>
                    <a:pt x="461" y="28327"/>
                    <a:pt x="461" y="28773"/>
                  </a:cubicBezTo>
                  <a:cubicBezTo>
                    <a:pt x="230" y="29219"/>
                    <a:pt x="1153" y="29442"/>
                    <a:pt x="1153" y="29442"/>
                  </a:cubicBezTo>
                  <a:cubicBezTo>
                    <a:pt x="2307" y="30111"/>
                    <a:pt x="2307" y="30111"/>
                    <a:pt x="2307" y="30111"/>
                  </a:cubicBezTo>
                  <a:cubicBezTo>
                    <a:pt x="2076" y="32342"/>
                    <a:pt x="2076" y="32342"/>
                    <a:pt x="2076" y="32342"/>
                  </a:cubicBezTo>
                  <a:cubicBezTo>
                    <a:pt x="3000" y="32342"/>
                    <a:pt x="3000" y="32342"/>
                    <a:pt x="3000" y="32342"/>
                  </a:cubicBezTo>
                  <a:cubicBezTo>
                    <a:pt x="4384" y="32342"/>
                    <a:pt x="4384" y="32342"/>
                    <a:pt x="4384" y="32342"/>
                  </a:cubicBezTo>
                  <a:cubicBezTo>
                    <a:pt x="4384" y="32342"/>
                    <a:pt x="4615" y="31895"/>
                    <a:pt x="5307" y="31672"/>
                  </a:cubicBezTo>
                  <a:cubicBezTo>
                    <a:pt x="5769" y="31672"/>
                    <a:pt x="6461" y="31672"/>
                    <a:pt x="6461" y="31672"/>
                  </a:cubicBezTo>
                  <a:cubicBezTo>
                    <a:pt x="6461" y="31672"/>
                    <a:pt x="6461" y="31449"/>
                    <a:pt x="6923" y="32565"/>
                  </a:cubicBezTo>
                  <a:cubicBezTo>
                    <a:pt x="7153" y="33457"/>
                    <a:pt x="7153" y="33457"/>
                    <a:pt x="7153" y="33457"/>
                  </a:cubicBezTo>
                  <a:cubicBezTo>
                    <a:pt x="8076" y="33680"/>
                    <a:pt x="8076" y="33680"/>
                    <a:pt x="8076" y="33680"/>
                  </a:cubicBezTo>
                  <a:cubicBezTo>
                    <a:pt x="8538" y="33903"/>
                    <a:pt x="8538" y="33903"/>
                    <a:pt x="8538" y="33903"/>
                  </a:cubicBezTo>
                  <a:cubicBezTo>
                    <a:pt x="8538" y="33903"/>
                    <a:pt x="9461" y="34349"/>
                    <a:pt x="9923" y="34572"/>
                  </a:cubicBezTo>
                  <a:cubicBezTo>
                    <a:pt x="10384" y="34795"/>
                    <a:pt x="11307" y="35687"/>
                    <a:pt x="11307" y="35687"/>
                  </a:cubicBezTo>
                  <a:cubicBezTo>
                    <a:pt x="11769" y="35910"/>
                    <a:pt x="11769" y="35910"/>
                    <a:pt x="11769" y="35910"/>
                  </a:cubicBezTo>
                  <a:cubicBezTo>
                    <a:pt x="11769" y="37026"/>
                    <a:pt x="11769" y="37026"/>
                    <a:pt x="11769" y="37026"/>
                  </a:cubicBezTo>
                  <a:cubicBezTo>
                    <a:pt x="11769" y="37026"/>
                    <a:pt x="12692" y="37249"/>
                    <a:pt x="13384" y="37249"/>
                  </a:cubicBezTo>
                  <a:cubicBezTo>
                    <a:pt x="14076" y="37249"/>
                    <a:pt x="15692" y="37026"/>
                    <a:pt x="15692" y="37026"/>
                  </a:cubicBezTo>
                  <a:cubicBezTo>
                    <a:pt x="16153" y="37918"/>
                    <a:pt x="16153" y="37918"/>
                    <a:pt x="16153" y="37918"/>
                  </a:cubicBezTo>
                  <a:cubicBezTo>
                    <a:pt x="16615" y="37918"/>
                    <a:pt x="18692" y="38587"/>
                    <a:pt x="18692" y="38587"/>
                  </a:cubicBezTo>
                  <a:cubicBezTo>
                    <a:pt x="18000" y="39479"/>
                    <a:pt x="18000" y="39479"/>
                    <a:pt x="18000" y="39479"/>
                  </a:cubicBezTo>
                  <a:cubicBezTo>
                    <a:pt x="17307" y="40148"/>
                    <a:pt x="17307" y="40148"/>
                    <a:pt x="17307" y="40148"/>
                  </a:cubicBezTo>
                  <a:cubicBezTo>
                    <a:pt x="17076" y="40817"/>
                    <a:pt x="17076" y="40817"/>
                    <a:pt x="17076" y="40817"/>
                  </a:cubicBezTo>
                  <a:cubicBezTo>
                    <a:pt x="17076" y="40817"/>
                    <a:pt x="17307" y="40817"/>
                    <a:pt x="18230" y="41040"/>
                  </a:cubicBezTo>
                  <a:cubicBezTo>
                    <a:pt x="19153" y="41263"/>
                    <a:pt x="19846" y="41710"/>
                    <a:pt x="19846" y="41710"/>
                  </a:cubicBezTo>
                  <a:cubicBezTo>
                    <a:pt x="19384" y="42825"/>
                    <a:pt x="19384" y="42825"/>
                    <a:pt x="19384" y="42825"/>
                  </a:cubicBezTo>
                  <a:cubicBezTo>
                    <a:pt x="20538" y="43717"/>
                    <a:pt x="20538" y="43717"/>
                    <a:pt x="20538" y="43717"/>
                  </a:cubicBezTo>
                  <a:cubicBezTo>
                    <a:pt x="20538" y="43717"/>
                    <a:pt x="21000" y="44386"/>
                    <a:pt x="21000" y="44609"/>
                  </a:cubicBezTo>
                  <a:cubicBezTo>
                    <a:pt x="20769" y="44832"/>
                    <a:pt x="20769" y="45278"/>
                    <a:pt x="20769" y="45278"/>
                  </a:cubicBezTo>
                  <a:cubicBezTo>
                    <a:pt x="20076" y="45055"/>
                    <a:pt x="20076" y="45055"/>
                    <a:pt x="20076" y="45055"/>
                  </a:cubicBezTo>
                  <a:cubicBezTo>
                    <a:pt x="20076" y="45055"/>
                    <a:pt x="20076" y="45501"/>
                    <a:pt x="19846" y="45055"/>
                  </a:cubicBezTo>
                  <a:cubicBezTo>
                    <a:pt x="19384" y="44609"/>
                    <a:pt x="19153" y="44163"/>
                    <a:pt x="19153" y="44163"/>
                  </a:cubicBezTo>
                  <a:cubicBezTo>
                    <a:pt x="18923" y="45055"/>
                    <a:pt x="18923" y="45055"/>
                    <a:pt x="18923" y="45055"/>
                  </a:cubicBezTo>
                  <a:cubicBezTo>
                    <a:pt x="18923" y="45055"/>
                    <a:pt x="19153" y="45947"/>
                    <a:pt x="19384" y="46171"/>
                  </a:cubicBezTo>
                  <a:cubicBezTo>
                    <a:pt x="19846" y="46171"/>
                    <a:pt x="19846" y="45947"/>
                    <a:pt x="19846" y="46617"/>
                  </a:cubicBezTo>
                  <a:cubicBezTo>
                    <a:pt x="19846" y="47063"/>
                    <a:pt x="20076" y="48178"/>
                    <a:pt x="20307" y="48401"/>
                  </a:cubicBezTo>
                  <a:cubicBezTo>
                    <a:pt x="20538" y="48847"/>
                    <a:pt x="20538" y="49962"/>
                    <a:pt x="20769" y="50185"/>
                  </a:cubicBezTo>
                  <a:cubicBezTo>
                    <a:pt x="21230" y="50185"/>
                    <a:pt x="21461" y="50408"/>
                    <a:pt x="21461" y="50408"/>
                  </a:cubicBezTo>
                  <a:cubicBezTo>
                    <a:pt x="21923" y="50855"/>
                    <a:pt x="21923" y="50855"/>
                    <a:pt x="21923" y="50855"/>
                  </a:cubicBezTo>
                  <a:cubicBezTo>
                    <a:pt x="23307" y="51970"/>
                    <a:pt x="23307" y="51970"/>
                    <a:pt x="23307" y="51970"/>
                  </a:cubicBezTo>
                  <a:cubicBezTo>
                    <a:pt x="23307" y="51970"/>
                    <a:pt x="24230" y="52639"/>
                    <a:pt x="24692" y="52862"/>
                  </a:cubicBezTo>
                  <a:cubicBezTo>
                    <a:pt x="25153" y="53085"/>
                    <a:pt x="25384" y="53085"/>
                    <a:pt x="25384" y="53085"/>
                  </a:cubicBezTo>
                  <a:cubicBezTo>
                    <a:pt x="26538" y="54200"/>
                    <a:pt x="26538" y="54200"/>
                    <a:pt x="26538" y="54200"/>
                  </a:cubicBezTo>
                  <a:cubicBezTo>
                    <a:pt x="26538" y="54200"/>
                    <a:pt x="27230" y="55315"/>
                    <a:pt x="27000" y="55315"/>
                  </a:cubicBezTo>
                  <a:cubicBezTo>
                    <a:pt x="26769" y="55315"/>
                    <a:pt x="27000" y="55539"/>
                    <a:pt x="26538" y="55539"/>
                  </a:cubicBezTo>
                  <a:cubicBezTo>
                    <a:pt x="25846" y="55539"/>
                    <a:pt x="26076" y="55985"/>
                    <a:pt x="25615" y="55539"/>
                  </a:cubicBezTo>
                  <a:cubicBezTo>
                    <a:pt x="24923" y="55092"/>
                    <a:pt x="24461" y="54423"/>
                    <a:pt x="23769" y="54423"/>
                  </a:cubicBezTo>
                  <a:cubicBezTo>
                    <a:pt x="23076" y="54423"/>
                    <a:pt x="23076" y="54423"/>
                    <a:pt x="23076" y="54423"/>
                  </a:cubicBezTo>
                  <a:cubicBezTo>
                    <a:pt x="24461" y="55539"/>
                    <a:pt x="24461" y="55539"/>
                    <a:pt x="24461" y="55539"/>
                  </a:cubicBezTo>
                  <a:cubicBezTo>
                    <a:pt x="25153" y="55762"/>
                    <a:pt x="25153" y="55762"/>
                    <a:pt x="25153" y="55762"/>
                  </a:cubicBezTo>
                  <a:cubicBezTo>
                    <a:pt x="26076" y="56654"/>
                    <a:pt x="26076" y="56654"/>
                    <a:pt x="26076" y="56654"/>
                  </a:cubicBezTo>
                  <a:cubicBezTo>
                    <a:pt x="26307" y="56654"/>
                    <a:pt x="26307" y="56654"/>
                    <a:pt x="26307" y="56654"/>
                  </a:cubicBezTo>
                  <a:cubicBezTo>
                    <a:pt x="26307" y="56654"/>
                    <a:pt x="26538" y="57100"/>
                    <a:pt x="26538" y="57323"/>
                  </a:cubicBezTo>
                  <a:cubicBezTo>
                    <a:pt x="26538" y="57546"/>
                    <a:pt x="26307" y="58215"/>
                    <a:pt x="26076" y="58438"/>
                  </a:cubicBezTo>
                  <a:cubicBezTo>
                    <a:pt x="26076" y="58884"/>
                    <a:pt x="26076" y="59330"/>
                    <a:pt x="26076" y="59330"/>
                  </a:cubicBezTo>
                  <a:cubicBezTo>
                    <a:pt x="25384" y="57769"/>
                    <a:pt x="25384" y="57769"/>
                    <a:pt x="25384" y="57769"/>
                  </a:cubicBezTo>
                  <a:cubicBezTo>
                    <a:pt x="25384" y="57769"/>
                    <a:pt x="25615" y="57323"/>
                    <a:pt x="25153" y="57100"/>
                  </a:cubicBezTo>
                  <a:cubicBezTo>
                    <a:pt x="24692" y="57100"/>
                    <a:pt x="24230" y="57323"/>
                    <a:pt x="24230" y="57323"/>
                  </a:cubicBezTo>
                  <a:cubicBezTo>
                    <a:pt x="24230" y="57323"/>
                    <a:pt x="24000" y="57769"/>
                    <a:pt x="24230" y="57992"/>
                  </a:cubicBezTo>
                  <a:cubicBezTo>
                    <a:pt x="24692" y="58215"/>
                    <a:pt x="24923" y="58438"/>
                    <a:pt x="24923" y="58661"/>
                  </a:cubicBezTo>
                  <a:cubicBezTo>
                    <a:pt x="25153" y="58884"/>
                    <a:pt x="25153" y="59107"/>
                    <a:pt x="25153" y="59107"/>
                  </a:cubicBezTo>
                  <a:cubicBezTo>
                    <a:pt x="25153" y="59107"/>
                    <a:pt x="25615" y="59107"/>
                    <a:pt x="25615" y="59553"/>
                  </a:cubicBezTo>
                  <a:cubicBezTo>
                    <a:pt x="25615" y="60223"/>
                    <a:pt x="25384" y="60892"/>
                    <a:pt x="25384" y="60892"/>
                  </a:cubicBezTo>
                  <a:cubicBezTo>
                    <a:pt x="25384" y="60892"/>
                    <a:pt x="24923" y="60892"/>
                    <a:pt x="25615" y="61338"/>
                  </a:cubicBezTo>
                  <a:cubicBezTo>
                    <a:pt x="26307" y="61784"/>
                    <a:pt x="26538" y="62007"/>
                    <a:pt x="26769" y="62230"/>
                  </a:cubicBezTo>
                  <a:cubicBezTo>
                    <a:pt x="27000" y="62453"/>
                    <a:pt x="27923" y="63568"/>
                    <a:pt x="27923" y="63568"/>
                  </a:cubicBezTo>
                  <a:cubicBezTo>
                    <a:pt x="28615" y="64460"/>
                    <a:pt x="28615" y="64460"/>
                    <a:pt x="28615" y="64460"/>
                  </a:cubicBezTo>
                  <a:cubicBezTo>
                    <a:pt x="28615" y="64460"/>
                    <a:pt x="28615" y="64907"/>
                    <a:pt x="28615" y="64907"/>
                  </a:cubicBezTo>
                  <a:cubicBezTo>
                    <a:pt x="28384" y="64907"/>
                    <a:pt x="27923" y="64907"/>
                    <a:pt x="27923" y="64907"/>
                  </a:cubicBezTo>
                  <a:cubicBezTo>
                    <a:pt x="27923" y="64907"/>
                    <a:pt x="27692" y="64907"/>
                    <a:pt x="27461" y="64684"/>
                  </a:cubicBezTo>
                  <a:cubicBezTo>
                    <a:pt x="27230" y="64237"/>
                    <a:pt x="26769" y="63568"/>
                    <a:pt x="26769" y="63568"/>
                  </a:cubicBezTo>
                  <a:cubicBezTo>
                    <a:pt x="26307" y="63345"/>
                    <a:pt x="26307" y="63345"/>
                    <a:pt x="26307" y="63345"/>
                  </a:cubicBezTo>
                  <a:cubicBezTo>
                    <a:pt x="25846" y="63568"/>
                    <a:pt x="25846" y="63568"/>
                    <a:pt x="25846" y="63568"/>
                  </a:cubicBezTo>
                  <a:cubicBezTo>
                    <a:pt x="25846" y="63568"/>
                    <a:pt x="25384" y="64460"/>
                    <a:pt x="25384" y="64460"/>
                  </a:cubicBezTo>
                  <a:cubicBezTo>
                    <a:pt x="25384" y="64684"/>
                    <a:pt x="24692" y="66022"/>
                    <a:pt x="24692" y="66022"/>
                  </a:cubicBezTo>
                  <a:cubicBezTo>
                    <a:pt x="24230" y="68698"/>
                    <a:pt x="24230" y="68698"/>
                    <a:pt x="24230" y="68698"/>
                  </a:cubicBezTo>
                  <a:cubicBezTo>
                    <a:pt x="24230" y="68698"/>
                    <a:pt x="24230" y="71821"/>
                    <a:pt x="24000" y="72044"/>
                  </a:cubicBezTo>
                  <a:cubicBezTo>
                    <a:pt x="24000" y="72267"/>
                    <a:pt x="23076" y="74498"/>
                    <a:pt x="23076" y="74498"/>
                  </a:cubicBezTo>
                  <a:cubicBezTo>
                    <a:pt x="23076" y="74498"/>
                    <a:pt x="23076" y="74721"/>
                    <a:pt x="23076" y="75390"/>
                  </a:cubicBezTo>
                  <a:cubicBezTo>
                    <a:pt x="22846" y="76059"/>
                    <a:pt x="22615" y="77174"/>
                    <a:pt x="22615" y="77174"/>
                  </a:cubicBezTo>
                  <a:cubicBezTo>
                    <a:pt x="22615" y="77174"/>
                    <a:pt x="22384" y="78066"/>
                    <a:pt x="22384" y="78513"/>
                  </a:cubicBezTo>
                  <a:cubicBezTo>
                    <a:pt x="22153" y="78959"/>
                    <a:pt x="21461" y="80743"/>
                    <a:pt x="21461" y="80743"/>
                  </a:cubicBezTo>
                  <a:cubicBezTo>
                    <a:pt x="21230" y="82750"/>
                    <a:pt x="21230" y="82750"/>
                    <a:pt x="21230" y="82750"/>
                  </a:cubicBezTo>
                  <a:cubicBezTo>
                    <a:pt x="19384" y="86542"/>
                    <a:pt x="19384" y="86542"/>
                    <a:pt x="19384" y="86542"/>
                  </a:cubicBezTo>
                  <a:cubicBezTo>
                    <a:pt x="18000" y="87657"/>
                    <a:pt x="18000" y="87657"/>
                    <a:pt x="18000" y="87657"/>
                  </a:cubicBezTo>
                  <a:cubicBezTo>
                    <a:pt x="17307" y="88104"/>
                    <a:pt x="17307" y="88104"/>
                    <a:pt x="17307" y="88104"/>
                  </a:cubicBezTo>
                  <a:cubicBezTo>
                    <a:pt x="18000" y="88327"/>
                    <a:pt x="18461" y="88550"/>
                    <a:pt x="18692" y="89219"/>
                  </a:cubicBezTo>
                  <a:cubicBezTo>
                    <a:pt x="19153" y="90334"/>
                    <a:pt x="20076" y="92118"/>
                    <a:pt x="20076" y="92118"/>
                  </a:cubicBezTo>
                  <a:cubicBezTo>
                    <a:pt x="23076" y="93234"/>
                    <a:pt x="23076" y="93234"/>
                    <a:pt x="23076" y="93234"/>
                  </a:cubicBezTo>
                  <a:cubicBezTo>
                    <a:pt x="23076" y="93234"/>
                    <a:pt x="24692" y="94572"/>
                    <a:pt x="24923" y="95018"/>
                  </a:cubicBezTo>
                  <a:cubicBezTo>
                    <a:pt x="25153" y="95241"/>
                    <a:pt x="28615" y="96356"/>
                    <a:pt x="28615" y="96356"/>
                  </a:cubicBezTo>
                  <a:cubicBezTo>
                    <a:pt x="30923" y="98364"/>
                    <a:pt x="30923" y="98364"/>
                    <a:pt x="30923" y="98364"/>
                  </a:cubicBezTo>
                  <a:cubicBezTo>
                    <a:pt x="34384" y="98364"/>
                    <a:pt x="34384" y="98364"/>
                    <a:pt x="34384" y="98364"/>
                  </a:cubicBezTo>
                  <a:cubicBezTo>
                    <a:pt x="36692" y="98810"/>
                    <a:pt x="36692" y="98810"/>
                    <a:pt x="36692" y="98810"/>
                  </a:cubicBezTo>
                  <a:cubicBezTo>
                    <a:pt x="37846" y="97472"/>
                    <a:pt x="37846" y="97472"/>
                    <a:pt x="37846" y="97472"/>
                  </a:cubicBezTo>
                  <a:cubicBezTo>
                    <a:pt x="37846" y="97472"/>
                    <a:pt x="43615" y="100148"/>
                    <a:pt x="43846" y="100148"/>
                  </a:cubicBezTo>
                  <a:cubicBezTo>
                    <a:pt x="44076" y="100148"/>
                    <a:pt x="44076" y="100817"/>
                    <a:pt x="44307" y="101486"/>
                  </a:cubicBezTo>
                  <a:cubicBezTo>
                    <a:pt x="44307" y="101486"/>
                    <a:pt x="44307" y="101486"/>
                    <a:pt x="44307" y="101486"/>
                  </a:cubicBezTo>
                  <a:cubicBezTo>
                    <a:pt x="44307" y="101486"/>
                    <a:pt x="44307" y="101486"/>
                    <a:pt x="44307" y="101486"/>
                  </a:cubicBezTo>
                  <a:cubicBezTo>
                    <a:pt x="44538" y="101486"/>
                    <a:pt x="44538" y="101486"/>
                    <a:pt x="44538" y="101486"/>
                  </a:cubicBezTo>
                  <a:cubicBezTo>
                    <a:pt x="44538" y="101486"/>
                    <a:pt x="44307" y="101263"/>
                    <a:pt x="44307" y="101263"/>
                  </a:cubicBezTo>
                  <a:cubicBezTo>
                    <a:pt x="44307" y="101040"/>
                    <a:pt x="44307" y="101040"/>
                    <a:pt x="44307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769" y="101040"/>
                    <a:pt x="44769" y="101040"/>
                    <a:pt x="44769" y="101040"/>
                  </a:cubicBezTo>
                  <a:cubicBezTo>
                    <a:pt x="45000" y="100817"/>
                    <a:pt x="45000" y="100817"/>
                    <a:pt x="45000" y="100817"/>
                  </a:cubicBezTo>
                  <a:cubicBezTo>
                    <a:pt x="45000" y="100817"/>
                    <a:pt x="45000" y="100817"/>
                    <a:pt x="45000" y="100817"/>
                  </a:cubicBezTo>
                  <a:cubicBezTo>
                    <a:pt x="45000" y="100594"/>
                    <a:pt x="44769" y="100594"/>
                    <a:pt x="44769" y="100594"/>
                  </a:cubicBezTo>
                  <a:cubicBezTo>
                    <a:pt x="44769" y="100594"/>
                    <a:pt x="45000" y="100594"/>
                    <a:pt x="45000" y="100371"/>
                  </a:cubicBezTo>
                  <a:cubicBezTo>
                    <a:pt x="45000" y="100371"/>
                    <a:pt x="45000" y="100371"/>
                    <a:pt x="4500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461" y="100371"/>
                    <a:pt x="45461" y="100371"/>
                    <a:pt x="45461" y="100371"/>
                  </a:cubicBezTo>
                  <a:cubicBezTo>
                    <a:pt x="45461" y="100371"/>
                    <a:pt x="45461" y="100371"/>
                    <a:pt x="45461" y="100371"/>
                  </a:cubicBezTo>
                  <a:cubicBezTo>
                    <a:pt x="45692" y="100371"/>
                    <a:pt x="45692" y="100371"/>
                    <a:pt x="45692" y="100371"/>
                  </a:cubicBezTo>
                  <a:cubicBezTo>
                    <a:pt x="45692" y="100371"/>
                    <a:pt x="45692" y="100371"/>
                    <a:pt x="45692" y="100371"/>
                  </a:cubicBezTo>
                  <a:cubicBezTo>
                    <a:pt x="45692" y="100371"/>
                    <a:pt x="45923" y="100371"/>
                    <a:pt x="45923" y="100371"/>
                  </a:cubicBezTo>
                  <a:cubicBezTo>
                    <a:pt x="45923" y="100371"/>
                    <a:pt x="45923" y="100594"/>
                    <a:pt x="45923" y="100594"/>
                  </a:cubicBezTo>
                  <a:cubicBezTo>
                    <a:pt x="45923" y="100594"/>
                    <a:pt x="45923" y="100594"/>
                    <a:pt x="45923" y="100594"/>
                  </a:cubicBezTo>
                  <a:cubicBezTo>
                    <a:pt x="45923" y="100594"/>
                    <a:pt x="46153" y="100594"/>
                    <a:pt x="46153" y="100594"/>
                  </a:cubicBezTo>
                  <a:cubicBezTo>
                    <a:pt x="46153" y="100594"/>
                    <a:pt x="46153" y="100817"/>
                    <a:pt x="46153" y="100817"/>
                  </a:cubicBezTo>
                  <a:cubicBezTo>
                    <a:pt x="46153" y="100817"/>
                    <a:pt x="46384" y="100817"/>
                    <a:pt x="46384" y="100817"/>
                  </a:cubicBezTo>
                  <a:cubicBezTo>
                    <a:pt x="46384" y="100817"/>
                    <a:pt x="46615" y="100817"/>
                    <a:pt x="46615" y="100817"/>
                  </a:cubicBezTo>
                  <a:cubicBezTo>
                    <a:pt x="46615" y="100817"/>
                    <a:pt x="46615" y="100817"/>
                    <a:pt x="46615" y="101040"/>
                  </a:cubicBezTo>
                  <a:cubicBezTo>
                    <a:pt x="46846" y="101040"/>
                    <a:pt x="46846" y="101040"/>
                    <a:pt x="46846" y="101040"/>
                  </a:cubicBezTo>
                  <a:cubicBezTo>
                    <a:pt x="46846" y="100817"/>
                    <a:pt x="47076" y="100817"/>
                    <a:pt x="47076" y="100817"/>
                  </a:cubicBezTo>
                  <a:cubicBezTo>
                    <a:pt x="47076" y="101040"/>
                    <a:pt x="47076" y="101040"/>
                    <a:pt x="47076" y="101040"/>
                  </a:cubicBezTo>
                  <a:cubicBezTo>
                    <a:pt x="47307" y="101040"/>
                    <a:pt x="47307" y="101040"/>
                    <a:pt x="47307" y="101040"/>
                  </a:cubicBezTo>
                  <a:cubicBezTo>
                    <a:pt x="47538" y="101040"/>
                    <a:pt x="47538" y="101040"/>
                    <a:pt x="47538" y="101040"/>
                  </a:cubicBezTo>
                  <a:cubicBezTo>
                    <a:pt x="47538" y="101263"/>
                    <a:pt x="47538" y="101263"/>
                    <a:pt x="47538" y="101263"/>
                  </a:cubicBezTo>
                  <a:cubicBezTo>
                    <a:pt x="47307" y="101263"/>
                    <a:pt x="47307" y="101263"/>
                    <a:pt x="47307" y="101263"/>
                  </a:cubicBezTo>
                  <a:cubicBezTo>
                    <a:pt x="47307" y="101263"/>
                    <a:pt x="47307" y="101263"/>
                    <a:pt x="47307" y="101263"/>
                  </a:cubicBezTo>
                  <a:cubicBezTo>
                    <a:pt x="47307" y="101486"/>
                    <a:pt x="47307" y="101486"/>
                    <a:pt x="47307" y="101486"/>
                  </a:cubicBezTo>
                  <a:cubicBezTo>
                    <a:pt x="47538" y="101486"/>
                    <a:pt x="47538" y="101486"/>
                    <a:pt x="47538" y="101486"/>
                  </a:cubicBezTo>
                  <a:cubicBezTo>
                    <a:pt x="47538" y="101486"/>
                    <a:pt x="47538" y="101486"/>
                    <a:pt x="47538" y="101486"/>
                  </a:cubicBezTo>
                  <a:cubicBezTo>
                    <a:pt x="48000" y="101710"/>
                    <a:pt x="48000" y="101710"/>
                    <a:pt x="48000" y="101710"/>
                  </a:cubicBezTo>
                  <a:cubicBezTo>
                    <a:pt x="47769" y="101710"/>
                    <a:pt x="47769" y="101710"/>
                    <a:pt x="47769" y="101710"/>
                  </a:cubicBezTo>
                  <a:cubicBezTo>
                    <a:pt x="47769" y="101710"/>
                    <a:pt x="47769" y="101710"/>
                    <a:pt x="47769" y="101710"/>
                  </a:cubicBezTo>
                  <a:cubicBezTo>
                    <a:pt x="47769" y="101710"/>
                    <a:pt x="47538" y="101710"/>
                    <a:pt x="47538" y="101710"/>
                  </a:cubicBezTo>
                  <a:cubicBezTo>
                    <a:pt x="47538" y="101710"/>
                    <a:pt x="47307" y="101710"/>
                    <a:pt x="47307" y="101710"/>
                  </a:cubicBezTo>
                  <a:cubicBezTo>
                    <a:pt x="47307" y="101933"/>
                    <a:pt x="47307" y="101933"/>
                    <a:pt x="47307" y="101933"/>
                  </a:cubicBezTo>
                  <a:cubicBezTo>
                    <a:pt x="47307" y="102379"/>
                    <a:pt x="47307" y="102379"/>
                    <a:pt x="47307" y="102379"/>
                  </a:cubicBezTo>
                  <a:cubicBezTo>
                    <a:pt x="47076" y="102379"/>
                    <a:pt x="47076" y="102379"/>
                    <a:pt x="47076" y="102379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6846" y="102602"/>
                  </a:cubicBezTo>
                  <a:cubicBezTo>
                    <a:pt x="46846" y="102602"/>
                    <a:pt x="46846" y="102602"/>
                    <a:pt x="46846" y="102602"/>
                  </a:cubicBezTo>
                  <a:cubicBezTo>
                    <a:pt x="46615" y="102379"/>
                    <a:pt x="46615" y="102379"/>
                    <a:pt x="46615" y="102379"/>
                  </a:cubicBezTo>
                  <a:cubicBezTo>
                    <a:pt x="46615" y="102602"/>
                    <a:pt x="46615" y="102602"/>
                    <a:pt x="46615" y="102602"/>
                  </a:cubicBezTo>
                  <a:cubicBezTo>
                    <a:pt x="46615" y="102825"/>
                    <a:pt x="46615" y="102825"/>
                    <a:pt x="46615" y="102825"/>
                  </a:cubicBezTo>
                  <a:cubicBezTo>
                    <a:pt x="46615" y="102825"/>
                    <a:pt x="46615" y="102825"/>
                    <a:pt x="46615" y="102825"/>
                  </a:cubicBezTo>
                  <a:cubicBezTo>
                    <a:pt x="46384" y="102825"/>
                    <a:pt x="46384" y="102825"/>
                    <a:pt x="46384" y="102825"/>
                  </a:cubicBezTo>
                  <a:cubicBezTo>
                    <a:pt x="46153" y="102825"/>
                    <a:pt x="46153" y="102825"/>
                    <a:pt x="46153" y="102825"/>
                  </a:cubicBezTo>
                  <a:cubicBezTo>
                    <a:pt x="45923" y="102825"/>
                    <a:pt x="45923" y="102825"/>
                    <a:pt x="45923" y="102825"/>
                  </a:cubicBezTo>
                  <a:cubicBezTo>
                    <a:pt x="45923" y="102825"/>
                    <a:pt x="45923" y="102825"/>
                    <a:pt x="45923" y="102825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461" y="102825"/>
                    <a:pt x="45461" y="102825"/>
                    <a:pt x="45461" y="102825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8461" y="103717"/>
                    <a:pt x="48461" y="103717"/>
                    <a:pt x="48461" y="103717"/>
                  </a:cubicBezTo>
                  <a:cubicBezTo>
                    <a:pt x="49153" y="103940"/>
                    <a:pt x="49153" y="104386"/>
                    <a:pt x="49846" y="104832"/>
                  </a:cubicBezTo>
                  <a:cubicBezTo>
                    <a:pt x="51692" y="104163"/>
                    <a:pt x="51692" y="104163"/>
                    <a:pt x="51692" y="104163"/>
                  </a:cubicBezTo>
                  <a:cubicBezTo>
                    <a:pt x="54000" y="105724"/>
                    <a:pt x="54000" y="105724"/>
                    <a:pt x="54000" y="105724"/>
                  </a:cubicBezTo>
                  <a:cubicBezTo>
                    <a:pt x="56076" y="105055"/>
                    <a:pt x="56076" y="105055"/>
                    <a:pt x="56076" y="105055"/>
                  </a:cubicBezTo>
                  <a:cubicBezTo>
                    <a:pt x="58153" y="105055"/>
                    <a:pt x="58153" y="105055"/>
                    <a:pt x="58153" y="105055"/>
                  </a:cubicBezTo>
                  <a:cubicBezTo>
                    <a:pt x="58153" y="104832"/>
                    <a:pt x="59076" y="104832"/>
                    <a:pt x="59769" y="105055"/>
                  </a:cubicBezTo>
                  <a:cubicBezTo>
                    <a:pt x="59769" y="105055"/>
                    <a:pt x="59769" y="105055"/>
                    <a:pt x="59769" y="105055"/>
                  </a:cubicBezTo>
                  <a:close/>
                  <a:moveTo>
                    <a:pt x="44307" y="101710"/>
                  </a:moveTo>
                  <a:cubicBezTo>
                    <a:pt x="44307" y="101710"/>
                    <a:pt x="44307" y="101710"/>
                    <a:pt x="44307" y="101710"/>
                  </a:cubicBezTo>
                  <a:cubicBezTo>
                    <a:pt x="44307" y="101710"/>
                    <a:pt x="44307" y="101710"/>
                    <a:pt x="44307" y="101710"/>
                  </a:cubicBezTo>
                  <a:cubicBezTo>
                    <a:pt x="44307" y="101710"/>
                    <a:pt x="44538" y="101710"/>
                    <a:pt x="44538" y="101710"/>
                  </a:cubicBezTo>
                  <a:cubicBezTo>
                    <a:pt x="44538" y="101710"/>
                    <a:pt x="44538" y="101933"/>
                    <a:pt x="44538" y="101933"/>
                  </a:cubicBezTo>
                  <a:cubicBezTo>
                    <a:pt x="44538" y="101933"/>
                    <a:pt x="44538" y="101933"/>
                    <a:pt x="44538" y="101933"/>
                  </a:cubicBezTo>
                  <a:cubicBezTo>
                    <a:pt x="44538" y="101933"/>
                    <a:pt x="44538" y="101933"/>
                    <a:pt x="44769" y="102156"/>
                  </a:cubicBezTo>
                  <a:cubicBezTo>
                    <a:pt x="44769" y="102156"/>
                    <a:pt x="44538" y="102156"/>
                    <a:pt x="44538" y="102156"/>
                  </a:cubicBezTo>
                  <a:cubicBezTo>
                    <a:pt x="44538" y="102156"/>
                    <a:pt x="44538" y="102156"/>
                    <a:pt x="44538" y="102156"/>
                  </a:cubicBezTo>
                  <a:cubicBezTo>
                    <a:pt x="44307" y="102156"/>
                    <a:pt x="44307" y="102156"/>
                    <a:pt x="44307" y="102156"/>
                  </a:cubicBezTo>
                  <a:cubicBezTo>
                    <a:pt x="44307" y="102156"/>
                    <a:pt x="44307" y="102156"/>
                    <a:pt x="44307" y="102156"/>
                  </a:cubicBezTo>
                  <a:cubicBezTo>
                    <a:pt x="44307" y="101710"/>
                    <a:pt x="44307" y="101710"/>
                    <a:pt x="44307" y="101710"/>
                  </a:cubicBezTo>
                  <a:close/>
                  <a:moveTo>
                    <a:pt x="103846" y="45055"/>
                  </a:moveTo>
                  <a:cubicBezTo>
                    <a:pt x="103846" y="45055"/>
                    <a:pt x="103846" y="45055"/>
                    <a:pt x="103846" y="45055"/>
                  </a:cubicBezTo>
                  <a:cubicBezTo>
                    <a:pt x="103615" y="45055"/>
                    <a:pt x="103615" y="45055"/>
                    <a:pt x="103615" y="45055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615" y="44832"/>
                    <a:pt x="103615" y="44609"/>
                    <a:pt x="103615" y="44609"/>
                  </a:cubicBezTo>
                  <a:cubicBezTo>
                    <a:pt x="103615" y="44832"/>
                    <a:pt x="103846" y="44832"/>
                    <a:pt x="103846" y="45055"/>
                  </a:cubicBezTo>
                  <a:close/>
                  <a:moveTo>
                    <a:pt x="113769" y="115985"/>
                  </a:moveTo>
                  <a:cubicBezTo>
                    <a:pt x="113769" y="115985"/>
                    <a:pt x="113769" y="115985"/>
                    <a:pt x="113769" y="115985"/>
                  </a:cubicBezTo>
                  <a:cubicBezTo>
                    <a:pt x="113307" y="116877"/>
                    <a:pt x="113307" y="116877"/>
                    <a:pt x="113307" y="116877"/>
                  </a:cubicBezTo>
                  <a:cubicBezTo>
                    <a:pt x="112846" y="117546"/>
                    <a:pt x="112846" y="117546"/>
                    <a:pt x="112846" y="117546"/>
                  </a:cubicBezTo>
                  <a:cubicBezTo>
                    <a:pt x="114000" y="117992"/>
                    <a:pt x="114000" y="117992"/>
                    <a:pt x="114000" y="117992"/>
                  </a:cubicBezTo>
                  <a:cubicBezTo>
                    <a:pt x="114692" y="118884"/>
                    <a:pt x="114692" y="118884"/>
                    <a:pt x="114692" y="118884"/>
                  </a:cubicBezTo>
                  <a:cubicBezTo>
                    <a:pt x="114692" y="118884"/>
                    <a:pt x="115153" y="119553"/>
                    <a:pt x="115615" y="119553"/>
                  </a:cubicBezTo>
                  <a:cubicBezTo>
                    <a:pt x="116076" y="119553"/>
                    <a:pt x="116769" y="120000"/>
                    <a:pt x="116769" y="120000"/>
                  </a:cubicBezTo>
                  <a:cubicBezTo>
                    <a:pt x="116769" y="120000"/>
                    <a:pt x="117230" y="119330"/>
                    <a:pt x="117230" y="118438"/>
                  </a:cubicBezTo>
                  <a:cubicBezTo>
                    <a:pt x="117461" y="117769"/>
                    <a:pt x="116538" y="116877"/>
                    <a:pt x="117923" y="116654"/>
                  </a:cubicBezTo>
                  <a:cubicBezTo>
                    <a:pt x="119307" y="116654"/>
                    <a:pt x="118384" y="115092"/>
                    <a:pt x="118384" y="115092"/>
                  </a:cubicBezTo>
                  <a:cubicBezTo>
                    <a:pt x="118384" y="113977"/>
                    <a:pt x="118384" y="113977"/>
                    <a:pt x="118384" y="113977"/>
                  </a:cubicBezTo>
                  <a:cubicBezTo>
                    <a:pt x="118153" y="112639"/>
                    <a:pt x="118153" y="112639"/>
                    <a:pt x="118153" y="112639"/>
                  </a:cubicBezTo>
                  <a:cubicBezTo>
                    <a:pt x="118384" y="112193"/>
                    <a:pt x="118384" y="112193"/>
                    <a:pt x="118384" y="112193"/>
                  </a:cubicBezTo>
                  <a:cubicBezTo>
                    <a:pt x="119076" y="111301"/>
                    <a:pt x="119076" y="111301"/>
                    <a:pt x="119076" y="111301"/>
                  </a:cubicBezTo>
                  <a:cubicBezTo>
                    <a:pt x="119769" y="110631"/>
                    <a:pt x="119769" y="110631"/>
                    <a:pt x="119769" y="110631"/>
                  </a:cubicBezTo>
                  <a:cubicBezTo>
                    <a:pt x="119769" y="110631"/>
                    <a:pt x="120000" y="109962"/>
                    <a:pt x="120000" y="109516"/>
                  </a:cubicBezTo>
                  <a:cubicBezTo>
                    <a:pt x="119769" y="109293"/>
                    <a:pt x="119076" y="108178"/>
                    <a:pt x="119076" y="108178"/>
                  </a:cubicBezTo>
                  <a:cubicBezTo>
                    <a:pt x="119769" y="105501"/>
                    <a:pt x="119769" y="105501"/>
                    <a:pt x="119769" y="105501"/>
                  </a:cubicBezTo>
                  <a:cubicBezTo>
                    <a:pt x="119538" y="105055"/>
                    <a:pt x="119538" y="105055"/>
                    <a:pt x="119538" y="105055"/>
                  </a:cubicBezTo>
                  <a:cubicBezTo>
                    <a:pt x="119307" y="104386"/>
                    <a:pt x="119307" y="104386"/>
                    <a:pt x="119307" y="104386"/>
                  </a:cubicBezTo>
                  <a:cubicBezTo>
                    <a:pt x="118846" y="102379"/>
                    <a:pt x="118846" y="102379"/>
                    <a:pt x="118846" y="102379"/>
                  </a:cubicBezTo>
                  <a:cubicBezTo>
                    <a:pt x="118846" y="99702"/>
                    <a:pt x="118846" y="99702"/>
                    <a:pt x="118846" y="99702"/>
                  </a:cubicBezTo>
                  <a:cubicBezTo>
                    <a:pt x="117461" y="100148"/>
                    <a:pt x="117461" y="100148"/>
                    <a:pt x="117461" y="100148"/>
                  </a:cubicBezTo>
                  <a:cubicBezTo>
                    <a:pt x="117923" y="101263"/>
                    <a:pt x="117923" y="101263"/>
                    <a:pt x="117923" y="101263"/>
                  </a:cubicBezTo>
                  <a:cubicBezTo>
                    <a:pt x="117461" y="103271"/>
                    <a:pt x="117461" y="103271"/>
                    <a:pt x="117461" y="103271"/>
                  </a:cubicBezTo>
                  <a:cubicBezTo>
                    <a:pt x="116307" y="103494"/>
                    <a:pt x="116307" y="103494"/>
                    <a:pt x="116307" y="103494"/>
                  </a:cubicBezTo>
                  <a:cubicBezTo>
                    <a:pt x="115846" y="103717"/>
                    <a:pt x="115846" y="103717"/>
                    <a:pt x="115846" y="103717"/>
                  </a:cubicBezTo>
                  <a:cubicBezTo>
                    <a:pt x="115153" y="104386"/>
                    <a:pt x="115153" y="104386"/>
                    <a:pt x="115153" y="104386"/>
                  </a:cubicBezTo>
                  <a:cubicBezTo>
                    <a:pt x="114000" y="104609"/>
                    <a:pt x="114000" y="104609"/>
                    <a:pt x="114000" y="104609"/>
                  </a:cubicBezTo>
                  <a:cubicBezTo>
                    <a:pt x="112846" y="105501"/>
                    <a:pt x="112846" y="105501"/>
                    <a:pt x="112846" y="105501"/>
                  </a:cubicBezTo>
                  <a:cubicBezTo>
                    <a:pt x="111923" y="106617"/>
                    <a:pt x="111923" y="106617"/>
                    <a:pt x="111923" y="106617"/>
                  </a:cubicBezTo>
                  <a:cubicBezTo>
                    <a:pt x="111230" y="107286"/>
                    <a:pt x="111230" y="107286"/>
                    <a:pt x="111230" y="107286"/>
                  </a:cubicBezTo>
                  <a:cubicBezTo>
                    <a:pt x="111230" y="107286"/>
                    <a:pt x="111230" y="107732"/>
                    <a:pt x="111692" y="108178"/>
                  </a:cubicBezTo>
                  <a:cubicBezTo>
                    <a:pt x="112153" y="108847"/>
                    <a:pt x="111000" y="111078"/>
                    <a:pt x="111000" y="111078"/>
                  </a:cubicBezTo>
                  <a:cubicBezTo>
                    <a:pt x="111923" y="111078"/>
                    <a:pt x="111923" y="111078"/>
                    <a:pt x="111923" y="111078"/>
                  </a:cubicBezTo>
                  <a:cubicBezTo>
                    <a:pt x="112153" y="112193"/>
                    <a:pt x="112153" y="112193"/>
                    <a:pt x="112153" y="112193"/>
                  </a:cubicBezTo>
                  <a:cubicBezTo>
                    <a:pt x="111461" y="113308"/>
                    <a:pt x="111461" y="113308"/>
                    <a:pt x="111461" y="113308"/>
                  </a:cubicBezTo>
                  <a:cubicBezTo>
                    <a:pt x="112153" y="113754"/>
                    <a:pt x="112153" y="113754"/>
                    <a:pt x="112153" y="113754"/>
                  </a:cubicBezTo>
                  <a:cubicBezTo>
                    <a:pt x="112846" y="113754"/>
                    <a:pt x="112846" y="113754"/>
                    <a:pt x="112846" y="113754"/>
                  </a:cubicBezTo>
                  <a:cubicBezTo>
                    <a:pt x="112153" y="115092"/>
                    <a:pt x="112153" y="115092"/>
                    <a:pt x="112153" y="115092"/>
                  </a:cubicBezTo>
                  <a:cubicBezTo>
                    <a:pt x="112153" y="115539"/>
                    <a:pt x="112153" y="115539"/>
                    <a:pt x="112153" y="115539"/>
                  </a:cubicBezTo>
                  <a:lnTo>
                    <a:pt x="113769" y="115985"/>
                  </a:ln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2" name="Shape 2033"/>
            <p:cNvSpPr/>
            <p:nvPr/>
          </p:nvSpPr>
          <p:spPr>
            <a:xfrm>
              <a:off x="4446566" y="2676821"/>
              <a:ext cx="294647" cy="2407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30" y="19816"/>
                  </a:moveTo>
                  <a:cubicBezTo>
                    <a:pt x="930" y="19816"/>
                    <a:pt x="19534" y="6605"/>
                    <a:pt x="19534" y="6605"/>
                  </a:cubicBezTo>
                  <a:cubicBezTo>
                    <a:pt x="25116" y="5504"/>
                    <a:pt x="25116" y="5504"/>
                    <a:pt x="25116" y="5504"/>
                  </a:cubicBezTo>
                  <a:cubicBezTo>
                    <a:pt x="27906" y="5504"/>
                    <a:pt x="27906" y="5504"/>
                    <a:pt x="27906" y="5504"/>
                  </a:cubicBezTo>
                  <a:cubicBezTo>
                    <a:pt x="28837" y="4403"/>
                    <a:pt x="28837" y="4403"/>
                    <a:pt x="28837" y="4403"/>
                  </a:cubicBezTo>
                  <a:cubicBezTo>
                    <a:pt x="28837" y="4403"/>
                    <a:pt x="29767" y="7706"/>
                    <a:pt x="30697" y="7706"/>
                  </a:cubicBezTo>
                  <a:cubicBezTo>
                    <a:pt x="30697" y="7706"/>
                    <a:pt x="32558" y="9908"/>
                    <a:pt x="32558" y="8807"/>
                  </a:cubicBezTo>
                  <a:cubicBezTo>
                    <a:pt x="33488" y="7706"/>
                    <a:pt x="33488" y="6605"/>
                    <a:pt x="34418" y="6605"/>
                  </a:cubicBezTo>
                  <a:cubicBezTo>
                    <a:pt x="34418" y="5504"/>
                    <a:pt x="35348" y="4403"/>
                    <a:pt x="37209" y="5504"/>
                  </a:cubicBezTo>
                  <a:cubicBezTo>
                    <a:pt x="38139" y="6605"/>
                    <a:pt x="38139" y="11009"/>
                    <a:pt x="38139" y="11009"/>
                  </a:cubicBezTo>
                  <a:cubicBezTo>
                    <a:pt x="45581" y="13211"/>
                    <a:pt x="40930" y="14311"/>
                    <a:pt x="51162" y="11009"/>
                  </a:cubicBezTo>
                  <a:cubicBezTo>
                    <a:pt x="51162" y="11009"/>
                    <a:pt x="53023" y="8807"/>
                    <a:pt x="53023" y="8807"/>
                  </a:cubicBezTo>
                  <a:cubicBezTo>
                    <a:pt x="53023" y="7706"/>
                    <a:pt x="52093" y="5504"/>
                    <a:pt x="53953" y="6605"/>
                  </a:cubicBezTo>
                  <a:cubicBezTo>
                    <a:pt x="54883" y="7706"/>
                    <a:pt x="55813" y="7706"/>
                    <a:pt x="56744" y="7706"/>
                  </a:cubicBezTo>
                  <a:cubicBezTo>
                    <a:pt x="57674" y="7706"/>
                    <a:pt x="59534" y="7706"/>
                    <a:pt x="59534" y="7706"/>
                  </a:cubicBezTo>
                  <a:cubicBezTo>
                    <a:pt x="59534" y="7706"/>
                    <a:pt x="60465" y="6605"/>
                    <a:pt x="59534" y="5504"/>
                  </a:cubicBezTo>
                  <a:cubicBezTo>
                    <a:pt x="59534" y="4403"/>
                    <a:pt x="58604" y="3302"/>
                    <a:pt x="59534" y="3302"/>
                  </a:cubicBezTo>
                  <a:cubicBezTo>
                    <a:pt x="59534" y="2201"/>
                    <a:pt x="61395" y="1100"/>
                    <a:pt x="61395" y="1100"/>
                  </a:cubicBezTo>
                  <a:cubicBezTo>
                    <a:pt x="61395" y="1100"/>
                    <a:pt x="62325" y="1100"/>
                    <a:pt x="62325" y="2201"/>
                  </a:cubicBezTo>
                  <a:cubicBezTo>
                    <a:pt x="63255" y="3302"/>
                    <a:pt x="63255" y="3302"/>
                    <a:pt x="63255" y="4403"/>
                  </a:cubicBezTo>
                  <a:cubicBezTo>
                    <a:pt x="64186" y="4403"/>
                    <a:pt x="64186" y="5504"/>
                    <a:pt x="65116" y="5504"/>
                  </a:cubicBezTo>
                  <a:cubicBezTo>
                    <a:pt x="66976" y="5504"/>
                    <a:pt x="66976" y="5504"/>
                    <a:pt x="67906" y="4403"/>
                  </a:cubicBezTo>
                  <a:cubicBezTo>
                    <a:pt x="68837" y="3302"/>
                    <a:pt x="68837" y="3302"/>
                    <a:pt x="69767" y="2201"/>
                  </a:cubicBezTo>
                  <a:cubicBezTo>
                    <a:pt x="70697" y="0"/>
                    <a:pt x="70697" y="0"/>
                    <a:pt x="71627" y="1100"/>
                  </a:cubicBezTo>
                  <a:cubicBezTo>
                    <a:pt x="72558" y="1100"/>
                    <a:pt x="74418" y="2201"/>
                    <a:pt x="74418" y="2201"/>
                  </a:cubicBezTo>
                  <a:cubicBezTo>
                    <a:pt x="72558" y="4403"/>
                    <a:pt x="72558" y="4403"/>
                    <a:pt x="72558" y="4403"/>
                  </a:cubicBezTo>
                  <a:cubicBezTo>
                    <a:pt x="72558" y="4403"/>
                    <a:pt x="71627" y="4403"/>
                    <a:pt x="73488" y="5504"/>
                  </a:cubicBezTo>
                  <a:cubicBezTo>
                    <a:pt x="76279" y="6605"/>
                    <a:pt x="77209" y="6605"/>
                    <a:pt x="77209" y="6605"/>
                  </a:cubicBezTo>
                  <a:cubicBezTo>
                    <a:pt x="79069" y="3302"/>
                    <a:pt x="79069" y="3302"/>
                    <a:pt x="79069" y="3302"/>
                  </a:cubicBezTo>
                  <a:cubicBezTo>
                    <a:pt x="79069" y="3302"/>
                    <a:pt x="79069" y="1100"/>
                    <a:pt x="80000" y="3302"/>
                  </a:cubicBezTo>
                  <a:cubicBezTo>
                    <a:pt x="80000" y="4403"/>
                    <a:pt x="80930" y="6605"/>
                    <a:pt x="80930" y="6605"/>
                  </a:cubicBezTo>
                  <a:cubicBezTo>
                    <a:pt x="80930" y="6605"/>
                    <a:pt x="80930" y="9908"/>
                    <a:pt x="81860" y="9908"/>
                  </a:cubicBezTo>
                  <a:cubicBezTo>
                    <a:pt x="82790" y="9908"/>
                    <a:pt x="82790" y="8807"/>
                    <a:pt x="82790" y="9908"/>
                  </a:cubicBezTo>
                  <a:cubicBezTo>
                    <a:pt x="82790" y="11009"/>
                    <a:pt x="81860" y="11009"/>
                    <a:pt x="82790" y="11009"/>
                  </a:cubicBezTo>
                  <a:cubicBezTo>
                    <a:pt x="82790" y="12110"/>
                    <a:pt x="84651" y="12110"/>
                    <a:pt x="84651" y="12110"/>
                  </a:cubicBezTo>
                  <a:cubicBezTo>
                    <a:pt x="84651" y="12110"/>
                    <a:pt x="85581" y="12110"/>
                    <a:pt x="85581" y="13211"/>
                  </a:cubicBezTo>
                  <a:cubicBezTo>
                    <a:pt x="85581" y="14311"/>
                    <a:pt x="85581" y="15412"/>
                    <a:pt x="85581" y="15412"/>
                  </a:cubicBezTo>
                  <a:cubicBezTo>
                    <a:pt x="85581" y="15412"/>
                    <a:pt x="88372" y="15412"/>
                    <a:pt x="88372" y="15412"/>
                  </a:cubicBezTo>
                  <a:cubicBezTo>
                    <a:pt x="89302" y="15412"/>
                    <a:pt x="90232" y="16513"/>
                    <a:pt x="91162" y="16513"/>
                  </a:cubicBezTo>
                  <a:cubicBezTo>
                    <a:pt x="92093" y="15412"/>
                    <a:pt x="93023" y="14311"/>
                    <a:pt x="93023" y="14311"/>
                  </a:cubicBezTo>
                  <a:cubicBezTo>
                    <a:pt x="93023" y="15412"/>
                    <a:pt x="94883" y="15412"/>
                    <a:pt x="94883" y="16513"/>
                  </a:cubicBezTo>
                  <a:cubicBezTo>
                    <a:pt x="93953" y="18715"/>
                    <a:pt x="93023" y="18715"/>
                    <a:pt x="94883" y="19816"/>
                  </a:cubicBezTo>
                  <a:cubicBezTo>
                    <a:pt x="96744" y="19816"/>
                    <a:pt x="98604" y="20917"/>
                    <a:pt x="99534" y="20917"/>
                  </a:cubicBezTo>
                  <a:cubicBezTo>
                    <a:pt x="100465" y="22018"/>
                    <a:pt x="103255" y="23119"/>
                    <a:pt x="103255" y="23119"/>
                  </a:cubicBezTo>
                  <a:cubicBezTo>
                    <a:pt x="104186" y="23119"/>
                    <a:pt x="105116" y="23119"/>
                    <a:pt x="105116" y="24220"/>
                  </a:cubicBezTo>
                  <a:cubicBezTo>
                    <a:pt x="105116" y="25321"/>
                    <a:pt x="103255" y="27522"/>
                    <a:pt x="103255" y="27522"/>
                  </a:cubicBezTo>
                  <a:cubicBezTo>
                    <a:pt x="103255" y="27522"/>
                    <a:pt x="102325" y="28623"/>
                    <a:pt x="102325" y="29724"/>
                  </a:cubicBezTo>
                  <a:cubicBezTo>
                    <a:pt x="102325" y="29724"/>
                    <a:pt x="101395" y="33027"/>
                    <a:pt x="101395" y="33027"/>
                  </a:cubicBezTo>
                  <a:cubicBezTo>
                    <a:pt x="100465" y="34128"/>
                    <a:pt x="99534" y="36330"/>
                    <a:pt x="99534" y="36330"/>
                  </a:cubicBezTo>
                  <a:cubicBezTo>
                    <a:pt x="99534" y="36330"/>
                    <a:pt x="98604" y="38532"/>
                    <a:pt x="97674" y="38532"/>
                  </a:cubicBezTo>
                  <a:cubicBezTo>
                    <a:pt x="97674" y="38532"/>
                    <a:pt x="96744" y="39633"/>
                    <a:pt x="96744" y="39633"/>
                  </a:cubicBezTo>
                  <a:cubicBezTo>
                    <a:pt x="96744" y="40733"/>
                    <a:pt x="96744" y="42935"/>
                    <a:pt x="96744" y="42935"/>
                  </a:cubicBezTo>
                  <a:cubicBezTo>
                    <a:pt x="97674" y="45137"/>
                    <a:pt x="97674" y="45137"/>
                    <a:pt x="97674" y="45137"/>
                  </a:cubicBezTo>
                  <a:cubicBezTo>
                    <a:pt x="97674" y="47339"/>
                    <a:pt x="97674" y="47339"/>
                    <a:pt x="97674" y="47339"/>
                  </a:cubicBezTo>
                  <a:cubicBezTo>
                    <a:pt x="101395" y="46238"/>
                    <a:pt x="101395" y="46238"/>
                    <a:pt x="101395" y="46238"/>
                  </a:cubicBezTo>
                  <a:cubicBezTo>
                    <a:pt x="101395" y="46238"/>
                    <a:pt x="101395" y="46238"/>
                    <a:pt x="102325" y="47339"/>
                  </a:cubicBezTo>
                  <a:cubicBezTo>
                    <a:pt x="104186" y="47339"/>
                    <a:pt x="105116" y="46238"/>
                    <a:pt x="106046" y="46238"/>
                  </a:cubicBezTo>
                  <a:cubicBezTo>
                    <a:pt x="106046" y="46238"/>
                    <a:pt x="107906" y="48440"/>
                    <a:pt x="107906" y="48440"/>
                  </a:cubicBezTo>
                  <a:cubicBezTo>
                    <a:pt x="107906" y="48440"/>
                    <a:pt x="108837" y="49541"/>
                    <a:pt x="108837" y="49541"/>
                  </a:cubicBezTo>
                  <a:cubicBezTo>
                    <a:pt x="109767" y="49541"/>
                    <a:pt x="111627" y="50642"/>
                    <a:pt x="111627" y="50642"/>
                  </a:cubicBezTo>
                  <a:cubicBezTo>
                    <a:pt x="111627" y="53944"/>
                    <a:pt x="111627" y="53944"/>
                    <a:pt x="111627" y="53944"/>
                  </a:cubicBezTo>
                  <a:cubicBezTo>
                    <a:pt x="111627" y="53944"/>
                    <a:pt x="113488" y="53944"/>
                    <a:pt x="113488" y="53944"/>
                  </a:cubicBezTo>
                  <a:cubicBezTo>
                    <a:pt x="114418" y="53944"/>
                    <a:pt x="115348" y="55045"/>
                    <a:pt x="115348" y="55045"/>
                  </a:cubicBezTo>
                  <a:cubicBezTo>
                    <a:pt x="115348" y="55045"/>
                    <a:pt x="115348" y="58348"/>
                    <a:pt x="114418" y="58348"/>
                  </a:cubicBezTo>
                  <a:cubicBezTo>
                    <a:pt x="114418" y="59449"/>
                    <a:pt x="113488" y="60550"/>
                    <a:pt x="113488" y="60550"/>
                  </a:cubicBezTo>
                  <a:cubicBezTo>
                    <a:pt x="113488" y="60550"/>
                    <a:pt x="114418" y="62752"/>
                    <a:pt x="115348" y="62752"/>
                  </a:cubicBezTo>
                  <a:cubicBezTo>
                    <a:pt x="115348" y="62752"/>
                    <a:pt x="117209" y="62752"/>
                    <a:pt x="117209" y="62752"/>
                  </a:cubicBezTo>
                  <a:cubicBezTo>
                    <a:pt x="118139" y="62752"/>
                    <a:pt x="119069" y="64954"/>
                    <a:pt x="119069" y="64954"/>
                  </a:cubicBezTo>
                  <a:cubicBezTo>
                    <a:pt x="119069" y="64954"/>
                    <a:pt x="120000" y="66055"/>
                    <a:pt x="120000" y="67155"/>
                  </a:cubicBezTo>
                  <a:cubicBezTo>
                    <a:pt x="120000" y="68256"/>
                    <a:pt x="119069" y="70458"/>
                    <a:pt x="119069" y="70458"/>
                  </a:cubicBezTo>
                  <a:cubicBezTo>
                    <a:pt x="119069" y="70458"/>
                    <a:pt x="119069" y="71559"/>
                    <a:pt x="119069" y="72660"/>
                  </a:cubicBezTo>
                  <a:cubicBezTo>
                    <a:pt x="119069" y="72660"/>
                    <a:pt x="118139" y="73761"/>
                    <a:pt x="118139" y="73761"/>
                  </a:cubicBezTo>
                  <a:cubicBezTo>
                    <a:pt x="116279" y="73761"/>
                    <a:pt x="116279" y="73761"/>
                    <a:pt x="116279" y="73761"/>
                  </a:cubicBezTo>
                  <a:cubicBezTo>
                    <a:pt x="116279" y="73761"/>
                    <a:pt x="116279" y="77064"/>
                    <a:pt x="115348" y="77064"/>
                  </a:cubicBezTo>
                  <a:cubicBezTo>
                    <a:pt x="115348" y="77064"/>
                    <a:pt x="114418" y="77064"/>
                    <a:pt x="114418" y="77064"/>
                  </a:cubicBezTo>
                  <a:cubicBezTo>
                    <a:pt x="113488" y="77064"/>
                    <a:pt x="112558" y="78165"/>
                    <a:pt x="112558" y="78165"/>
                  </a:cubicBezTo>
                  <a:cubicBezTo>
                    <a:pt x="112558" y="79266"/>
                    <a:pt x="112558" y="79266"/>
                    <a:pt x="112558" y="79266"/>
                  </a:cubicBezTo>
                  <a:cubicBezTo>
                    <a:pt x="111627" y="81467"/>
                    <a:pt x="111627" y="81467"/>
                    <a:pt x="111627" y="81467"/>
                  </a:cubicBezTo>
                  <a:cubicBezTo>
                    <a:pt x="111627" y="81467"/>
                    <a:pt x="111627" y="81467"/>
                    <a:pt x="110697" y="81467"/>
                  </a:cubicBezTo>
                  <a:cubicBezTo>
                    <a:pt x="110697" y="81467"/>
                    <a:pt x="110697" y="81467"/>
                    <a:pt x="109767" y="81467"/>
                  </a:cubicBezTo>
                  <a:cubicBezTo>
                    <a:pt x="109767" y="82568"/>
                    <a:pt x="108837" y="82568"/>
                    <a:pt x="108837" y="82568"/>
                  </a:cubicBezTo>
                  <a:cubicBezTo>
                    <a:pt x="108837" y="82568"/>
                    <a:pt x="107906" y="81467"/>
                    <a:pt x="106976" y="81467"/>
                  </a:cubicBezTo>
                  <a:cubicBezTo>
                    <a:pt x="106976" y="81467"/>
                    <a:pt x="106046" y="81467"/>
                    <a:pt x="106046" y="82568"/>
                  </a:cubicBezTo>
                  <a:cubicBezTo>
                    <a:pt x="105116" y="83669"/>
                    <a:pt x="105116" y="84770"/>
                    <a:pt x="104186" y="84770"/>
                  </a:cubicBezTo>
                  <a:cubicBezTo>
                    <a:pt x="104186" y="84770"/>
                    <a:pt x="103255" y="85871"/>
                    <a:pt x="103255" y="85871"/>
                  </a:cubicBezTo>
                  <a:cubicBezTo>
                    <a:pt x="103255" y="85871"/>
                    <a:pt x="103255" y="88073"/>
                    <a:pt x="102325" y="88073"/>
                  </a:cubicBezTo>
                  <a:cubicBezTo>
                    <a:pt x="102325" y="89174"/>
                    <a:pt x="101395" y="90275"/>
                    <a:pt x="101395" y="90275"/>
                  </a:cubicBezTo>
                  <a:cubicBezTo>
                    <a:pt x="101395" y="90275"/>
                    <a:pt x="101395" y="91376"/>
                    <a:pt x="101395" y="91376"/>
                  </a:cubicBezTo>
                  <a:cubicBezTo>
                    <a:pt x="101395" y="92477"/>
                    <a:pt x="101395" y="93577"/>
                    <a:pt x="100465" y="94678"/>
                  </a:cubicBezTo>
                  <a:cubicBezTo>
                    <a:pt x="99534" y="94678"/>
                    <a:pt x="97674" y="96880"/>
                    <a:pt x="97674" y="96880"/>
                  </a:cubicBezTo>
                  <a:cubicBezTo>
                    <a:pt x="97674" y="96880"/>
                    <a:pt x="97674" y="96880"/>
                    <a:pt x="97674" y="97981"/>
                  </a:cubicBezTo>
                  <a:cubicBezTo>
                    <a:pt x="98604" y="97981"/>
                    <a:pt x="98604" y="99082"/>
                    <a:pt x="98604" y="99082"/>
                  </a:cubicBezTo>
                  <a:cubicBezTo>
                    <a:pt x="98604" y="101284"/>
                    <a:pt x="98604" y="101284"/>
                    <a:pt x="98604" y="101284"/>
                  </a:cubicBezTo>
                  <a:cubicBezTo>
                    <a:pt x="98604" y="101284"/>
                    <a:pt x="97674" y="102385"/>
                    <a:pt x="97674" y="103486"/>
                  </a:cubicBezTo>
                  <a:cubicBezTo>
                    <a:pt x="98604" y="103486"/>
                    <a:pt x="98604" y="103486"/>
                    <a:pt x="98604" y="103486"/>
                  </a:cubicBezTo>
                  <a:cubicBezTo>
                    <a:pt x="99534" y="105688"/>
                    <a:pt x="99534" y="105688"/>
                    <a:pt x="99534" y="105688"/>
                  </a:cubicBezTo>
                  <a:cubicBezTo>
                    <a:pt x="100465" y="107889"/>
                    <a:pt x="100465" y="107889"/>
                    <a:pt x="100465" y="107889"/>
                  </a:cubicBezTo>
                  <a:cubicBezTo>
                    <a:pt x="101395" y="107889"/>
                    <a:pt x="101395" y="107889"/>
                    <a:pt x="101395" y="107889"/>
                  </a:cubicBezTo>
                  <a:cubicBezTo>
                    <a:pt x="101395" y="107889"/>
                    <a:pt x="102325" y="110091"/>
                    <a:pt x="102325" y="111192"/>
                  </a:cubicBezTo>
                  <a:cubicBezTo>
                    <a:pt x="102325" y="111192"/>
                    <a:pt x="102325" y="113394"/>
                    <a:pt x="102325" y="113394"/>
                  </a:cubicBezTo>
                  <a:cubicBezTo>
                    <a:pt x="100465" y="115596"/>
                    <a:pt x="100465" y="115596"/>
                    <a:pt x="100465" y="115596"/>
                  </a:cubicBezTo>
                  <a:cubicBezTo>
                    <a:pt x="99534" y="117798"/>
                    <a:pt x="99534" y="117798"/>
                    <a:pt x="99534" y="117798"/>
                  </a:cubicBezTo>
                  <a:cubicBezTo>
                    <a:pt x="99534" y="117798"/>
                    <a:pt x="98604" y="117798"/>
                    <a:pt x="98604" y="117798"/>
                  </a:cubicBezTo>
                  <a:cubicBezTo>
                    <a:pt x="97674" y="117798"/>
                    <a:pt x="96744" y="117798"/>
                    <a:pt x="96744" y="117798"/>
                  </a:cubicBezTo>
                  <a:cubicBezTo>
                    <a:pt x="95813" y="118899"/>
                    <a:pt x="95813" y="118899"/>
                    <a:pt x="95813" y="118899"/>
                  </a:cubicBezTo>
                  <a:cubicBezTo>
                    <a:pt x="93953" y="118899"/>
                    <a:pt x="93953" y="118899"/>
                    <a:pt x="93953" y="118899"/>
                  </a:cubicBezTo>
                  <a:cubicBezTo>
                    <a:pt x="92093" y="120000"/>
                    <a:pt x="92093" y="120000"/>
                    <a:pt x="92093" y="120000"/>
                  </a:cubicBezTo>
                  <a:cubicBezTo>
                    <a:pt x="89302" y="120000"/>
                    <a:pt x="89302" y="120000"/>
                    <a:pt x="89302" y="120000"/>
                  </a:cubicBezTo>
                  <a:cubicBezTo>
                    <a:pt x="88372" y="117798"/>
                    <a:pt x="88372" y="117798"/>
                    <a:pt x="88372" y="117798"/>
                  </a:cubicBezTo>
                  <a:cubicBezTo>
                    <a:pt x="87441" y="115596"/>
                    <a:pt x="87441" y="115596"/>
                    <a:pt x="87441" y="115596"/>
                  </a:cubicBezTo>
                  <a:cubicBezTo>
                    <a:pt x="86511" y="114495"/>
                    <a:pt x="86511" y="114495"/>
                    <a:pt x="86511" y="114495"/>
                  </a:cubicBezTo>
                  <a:cubicBezTo>
                    <a:pt x="85581" y="114495"/>
                    <a:pt x="85581" y="114495"/>
                    <a:pt x="85581" y="114495"/>
                  </a:cubicBezTo>
                  <a:cubicBezTo>
                    <a:pt x="82790" y="113394"/>
                    <a:pt x="82790" y="113394"/>
                    <a:pt x="82790" y="113394"/>
                  </a:cubicBezTo>
                  <a:cubicBezTo>
                    <a:pt x="83720" y="111192"/>
                    <a:pt x="83720" y="111192"/>
                    <a:pt x="83720" y="111192"/>
                  </a:cubicBezTo>
                  <a:cubicBezTo>
                    <a:pt x="83720" y="111192"/>
                    <a:pt x="82790" y="108990"/>
                    <a:pt x="82790" y="108990"/>
                  </a:cubicBezTo>
                  <a:cubicBezTo>
                    <a:pt x="81860" y="108990"/>
                    <a:pt x="80930" y="108990"/>
                    <a:pt x="80930" y="108990"/>
                  </a:cubicBezTo>
                  <a:cubicBezTo>
                    <a:pt x="79069" y="106788"/>
                    <a:pt x="79069" y="106788"/>
                    <a:pt x="79069" y="106788"/>
                  </a:cubicBezTo>
                  <a:cubicBezTo>
                    <a:pt x="79069" y="106788"/>
                    <a:pt x="79069" y="105688"/>
                    <a:pt x="78139" y="104587"/>
                  </a:cubicBezTo>
                  <a:cubicBezTo>
                    <a:pt x="77209" y="104587"/>
                    <a:pt x="77209" y="103486"/>
                    <a:pt x="76279" y="103486"/>
                  </a:cubicBezTo>
                  <a:cubicBezTo>
                    <a:pt x="75348" y="103486"/>
                    <a:pt x="73488" y="103486"/>
                    <a:pt x="73488" y="103486"/>
                  </a:cubicBezTo>
                  <a:cubicBezTo>
                    <a:pt x="73488" y="103486"/>
                    <a:pt x="72558" y="101284"/>
                    <a:pt x="71627" y="101284"/>
                  </a:cubicBezTo>
                  <a:cubicBezTo>
                    <a:pt x="71627" y="101284"/>
                    <a:pt x="67906" y="101284"/>
                    <a:pt x="67906" y="101284"/>
                  </a:cubicBezTo>
                  <a:cubicBezTo>
                    <a:pt x="67906" y="101284"/>
                    <a:pt x="68837" y="97981"/>
                    <a:pt x="68837" y="97981"/>
                  </a:cubicBezTo>
                  <a:cubicBezTo>
                    <a:pt x="68837" y="96880"/>
                    <a:pt x="68837" y="93577"/>
                    <a:pt x="68837" y="93577"/>
                  </a:cubicBezTo>
                  <a:cubicBezTo>
                    <a:pt x="68837" y="92477"/>
                    <a:pt x="68837" y="92477"/>
                    <a:pt x="68837" y="92477"/>
                  </a:cubicBezTo>
                  <a:cubicBezTo>
                    <a:pt x="68837" y="92477"/>
                    <a:pt x="67906" y="91376"/>
                    <a:pt x="68837" y="89174"/>
                  </a:cubicBezTo>
                  <a:cubicBezTo>
                    <a:pt x="69767" y="86972"/>
                    <a:pt x="68837" y="88073"/>
                    <a:pt x="69767" y="85871"/>
                  </a:cubicBezTo>
                  <a:cubicBezTo>
                    <a:pt x="70697" y="82568"/>
                    <a:pt x="70697" y="81467"/>
                    <a:pt x="70697" y="81467"/>
                  </a:cubicBezTo>
                  <a:cubicBezTo>
                    <a:pt x="68837" y="80366"/>
                    <a:pt x="68837" y="80366"/>
                    <a:pt x="68837" y="80366"/>
                  </a:cubicBezTo>
                  <a:cubicBezTo>
                    <a:pt x="68837" y="80366"/>
                    <a:pt x="67906" y="79266"/>
                    <a:pt x="66976" y="80366"/>
                  </a:cubicBezTo>
                  <a:cubicBezTo>
                    <a:pt x="66976" y="82568"/>
                    <a:pt x="66046" y="82568"/>
                    <a:pt x="66046" y="82568"/>
                  </a:cubicBezTo>
                  <a:cubicBezTo>
                    <a:pt x="64186" y="85871"/>
                    <a:pt x="64186" y="85871"/>
                    <a:pt x="64186" y="85871"/>
                  </a:cubicBezTo>
                  <a:cubicBezTo>
                    <a:pt x="64186" y="89174"/>
                    <a:pt x="64186" y="89174"/>
                    <a:pt x="64186" y="89174"/>
                  </a:cubicBezTo>
                  <a:cubicBezTo>
                    <a:pt x="64186" y="89174"/>
                    <a:pt x="65116" y="90275"/>
                    <a:pt x="62325" y="90275"/>
                  </a:cubicBezTo>
                  <a:cubicBezTo>
                    <a:pt x="60465" y="90275"/>
                    <a:pt x="58604" y="90275"/>
                    <a:pt x="58604" y="90275"/>
                  </a:cubicBezTo>
                  <a:cubicBezTo>
                    <a:pt x="58604" y="90275"/>
                    <a:pt x="60465" y="92477"/>
                    <a:pt x="58604" y="92477"/>
                  </a:cubicBezTo>
                  <a:cubicBezTo>
                    <a:pt x="55813" y="92477"/>
                    <a:pt x="53023" y="92477"/>
                    <a:pt x="53023" y="92477"/>
                  </a:cubicBezTo>
                  <a:cubicBezTo>
                    <a:pt x="51162" y="90275"/>
                    <a:pt x="51162" y="90275"/>
                    <a:pt x="51162" y="90275"/>
                  </a:cubicBezTo>
                  <a:cubicBezTo>
                    <a:pt x="47441" y="91376"/>
                    <a:pt x="47441" y="91376"/>
                    <a:pt x="47441" y="91376"/>
                  </a:cubicBezTo>
                  <a:cubicBezTo>
                    <a:pt x="47441" y="91376"/>
                    <a:pt x="47441" y="90275"/>
                    <a:pt x="47441" y="88073"/>
                  </a:cubicBezTo>
                  <a:cubicBezTo>
                    <a:pt x="47441" y="86972"/>
                    <a:pt x="46511" y="84770"/>
                    <a:pt x="47441" y="84770"/>
                  </a:cubicBezTo>
                  <a:cubicBezTo>
                    <a:pt x="48372" y="84770"/>
                    <a:pt x="49302" y="83669"/>
                    <a:pt x="49302" y="83669"/>
                  </a:cubicBezTo>
                  <a:cubicBezTo>
                    <a:pt x="48372" y="80366"/>
                    <a:pt x="48372" y="80366"/>
                    <a:pt x="48372" y="80366"/>
                  </a:cubicBezTo>
                  <a:cubicBezTo>
                    <a:pt x="48372" y="80366"/>
                    <a:pt x="48372" y="80366"/>
                    <a:pt x="48372" y="80366"/>
                  </a:cubicBezTo>
                  <a:cubicBezTo>
                    <a:pt x="48372" y="80366"/>
                    <a:pt x="47441" y="80366"/>
                    <a:pt x="47441" y="79266"/>
                  </a:cubicBezTo>
                  <a:cubicBezTo>
                    <a:pt x="47441" y="78165"/>
                    <a:pt x="48372" y="75963"/>
                    <a:pt x="48372" y="75963"/>
                  </a:cubicBezTo>
                  <a:cubicBezTo>
                    <a:pt x="49302" y="74862"/>
                    <a:pt x="49302" y="72660"/>
                    <a:pt x="49302" y="72660"/>
                  </a:cubicBezTo>
                  <a:cubicBezTo>
                    <a:pt x="48372" y="72660"/>
                    <a:pt x="48372" y="72660"/>
                    <a:pt x="48372" y="72660"/>
                  </a:cubicBezTo>
                  <a:cubicBezTo>
                    <a:pt x="48372" y="72660"/>
                    <a:pt x="46511" y="73761"/>
                    <a:pt x="46511" y="71559"/>
                  </a:cubicBezTo>
                  <a:cubicBezTo>
                    <a:pt x="46511" y="70458"/>
                    <a:pt x="45581" y="68256"/>
                    <a:pt x="45581" y="68256"/>
                  </a:cubicBezTo>
                  <a:cubicBezTo>
                    <a:pt x="45581" y="68256"/>
                    <a:pt x="43720" y="67155"/>
                    <a:pt x="43720" y="67155"/>
                  </a:cubicBezTo>
                  <a:cubicBezTo>
                    <a:pt x="42790" y="67155"/>
                    <a:pt x="42790" y="67155"/>
                    <a:pt x="41860" y="68256"/>
                  </a:cubicBezTo>
                  <a:cubicBezTo>
                    <a:pt x="41860" y="68256"/>
                    <a:pt x="39069" y="67155"/>
                    <a:pt x="39069" y="67155"/>
                  </a:cubicBezTo>
                  <a:cubicBezTo>
                    <a:pt x="39069" y="67155"/>
                    <a:pt x="36279" y="67155"/>
                    <a:pt x="36279" y="67155"/>
                  </a:cubicBezTo>
                  <a:cubicBezTo>
                    <a:pt x="35348" y="67155"/>
                    <a:pt x="34418" y="69357"/>
                    <a:pt x="34418" y="69357"/>
                  </a:cubicBezTo>
                  <a:cubicBezTo>
                    <a:pt x="32558" y="66055"/>
                    <a:pt x="32558" y="66055"/>
                    <a:pt x="32558" y="66055"/>
                  </a:cubicBezTo>
                  <a:cubicBezTo>
                    <a:pt x="33488" y="62752"/>
                    <a:pt x="33488" y="62752"/>
                    <a:pt x="33488" y="62752"/>
                  </a:cubicBezTo>
                  <a:cubicBezTo>
                    <a:pt x="33488" y="62752"/>
                    <a:pt x="31627" y="60550"/>
                    <a:pt x="31627" y="59449"/>
                  </a:cubicBezTo>
                  <a:cubicBezTo>
                    <a:pt x="31627" y="59449"/>
                    <a:pt x="30697" y="57247"/>
                    <a:pt x="30697" y="57247"/>
                  </a:cubicBezTo>
                  <a:cubicBezTo>
                    <a:pt x="28837" y="57247"/>
                    <a:pt x="28837" y="57247"/>
                    <a:pt x="28837" y="57247"/>
                  </a:cubicBezTo>
                  <a:cubicBezTo>
                    <a:pt x="27906" y="56146"/>
                    <a:pt x="27906" y="56146"/>
                    <a:pt x="27906" y="56146"/>
                  </a:cubicBezTo>
                  <a:cubicBezTo>
                    <a:pt x="27906" y="56146"/>
                    <a:pt x="26046" y="56146"/>
                    <a:pt x="25116" y="56146"/>
                  </a:cubicBezTo>
                  <a:cubicBezTo>
                    <a:pt x="24186" y="56146"/>
                    <a:pt x="24186" y="56146"/>
                    <a:pt x="23255" y="56146"/>
                  </a:cubicBezTo>
                  <a:cubicBezTo>
                    <a:pt x="23255" y="56146"/>
                    <a:pt x="21395" y="53944"/>
                    <a:pt x="21395" y="53944"/>
                  </a:cubicBezTo>
                  <a:cubicBezTo>
                    <a:pt x="21395" y="52844"/>
                    <a:pt x="21395" y="51743"/>
                    <a:pt x="21395" y="50642"/>
                  </a:cubicBezTo>
                  <a:cubicBezTo>
                    <a:pt x="20465" y="49541"/>
                    <a:pt x="19534" y="47339"/>
                    <a:pt x="19534" y="46238"/>
                  </a:cubicBezTo>
                  <a:cubicBezTo>
                    <a:pt x="19534" y="46238"/>
                    <a:pt x="20465" y="44036"/>
                    <a:pt x="20465" y="44036"/>
                  </a:cubicBezTo>
                  <a:cubicBezTo>
                    <a:pt x="19534" y="42935"/>
                    <a:pt x="17674" y="40733"/>
                    <a:pt x="17674" y="40733"/>
                  </a:cubicBezTo>
                  <a:cubicBezTo>
                    <a:pt x="16744" y="38532"/>
                    <a:pt x="16744" y="38532"/>
                    <a:pt x="16744" y="38532"/>
                  </a:cubicBezTo>
                  <a:cubicBezTo>
                    <a:pt x="16744" y="38532"/>
                    <a:pt x="13953" y="40733"/>
                    <a:pt x="13023" y="40733"/>
                  </a:cubicBezTo>
                  <a:cubicBezTo>
                    <a:pt x="12093" y="40733"/>
                    <a:pt x="10232" y="39633"/>
                    <a:pt x="10232" y="40733"/>
                  </a:cubicBezTo>
                  <a:cubicBezTo>
                    <a:pt x="10232" y="40733"/>
                    <a:pt x="11162" y="42935"/>
                    <a:pt x="10232" y="42935"/>
                  </a:cubicBezTo>
                  <a:cubicBezTo>
                    <a:pt x="9302" y="42935"/>
                    <a:pt x="7441" y="42935"/>
                    <a:pt x="6511" y="41834"/>
                  </a:cubicBezTo>
                  <a:cubicBezTo>
                    <a:pt x="5581" y="40733"/>
                    <a:pt x="5581" y="39633"/>
                    <a:pt x="5581" y="38532"/>
                  </a:cubicBezTo>
                  <a:cubicBezTo>
                    <a:pt x="4651" y="38532"/>
                    <a:pt x="4651" y="36330"/>
                    <a:pt x="3720" y="36330"/>
                  </a:cubicBezTo>
                  <a:cubicBezTo>
                    <a:pt x="2790" y="36330"/>
                    <a:pt x="1860" y="36330"/>
                    <a:pt x="1860" y="35229"/>
                  </a:cubicBezTo>
                  <a:cubicBezTo>
                    <a:pt x="1860" y="35229"/>
                    <a:pt x="1860" y="31926"/>
                    <a:pt x="1860" y="31926"/>
                  </a:cubicBezTo>
                  <a:cubicBezTo>
                    <a:pt x="1860" y="29724"/>
                    <a:pt x="1860" y="29724"/>
                    <a:pt x="1860" y="29724"/>
                  </a:cubicBezTo>
                  <a:cubicBezTo>
                    <a:pt x="1860" y="29724"/>
                    <a:pt x="1860" y="26422"/>
                    <a:pt x="930" y="26422"/>
                  </a:cubicBezTo>
                  <a:cubicBezTo>
                    <a:pt x="930" y="25321"/>
                    <a:pt x="0" y="24220"/>
                    <a:pt x="0" y="24220"/>
                  </a:cubicBezTo>
                  <a:cubicBezTo>
                    <a:pt x="0" y="20917"/>
                    <a:pt x="0" y="20917"/>
                    <a:pt x="0" y="20917"/>
                  </a:cubicBezTo>
                  <a:lnTo>
                    <a:pt x="930" y="19816"/>
                  </a:ln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5" name="Shape 2046"/>
            <p:cNvSpPr/>
            <p:nvPr/>
          </p:nvSpPr>
          <p:spPr>
            <a:xfrm>
              <a:off x="4704932" y="2283682"/>
              <a:ext cx="711330" cy="91306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769" y="94430"/>
                  </a:moveTo>
                  <a:cubicBezTo>
                    <a:pt x="105769" y="94430"/>
                    <a:pt x="105769" y="94430"/>
                    <a:pt x="105769" y="94430"/>
                  </a:cubicBezTo>
                  <a:cubicBezTo>
                    <a:pt x="105769" y="95302"/>
                    <a:pt x="105769" y="95302"/>
                    <a:pt x="105769" y="95302"/>
                  </a:cubicBezTo>
                  <a:cubicBezTo>
                    <a:pt x="106153" y="96755"/>
                    <a:pt x="106153" y="96755"/>
                    <a:pt x="106153" y="96755"/>
                  </a:cubicBezTo>
                  <a:cubicBezTo>
                    <a:pt x="106153" y="97627"/>
                    <a:pt x="106153" y="97627"/>
                    <a:pt x="106153" y="97627"/>
                  </a:cubicBezTo>
                  <a:cubicBezTo>
                    <a:pt x="106153" y="97627"/>
                    <a:pt x="105769" y="98208"/>
                    <a:pt x="105384" y="98208"/>
                  </a:cubicBezTo>
                  <a:cubicBezTo>
                    <a:pt x="105384" y="98208"/>
                    <a:pt x="105000" y="98498"/>
                    <a:pt x="104615" y="98498"/>
                  </a:cubicBezTo>
                  <a:cubicBezTo>
                    <a:pt x="104230" y="98208"/>
                    <a:pt x="103846" y="97917"/>
                    <a:pt x="103846" y="97917"/>
                  </a:cubicBezTo>
                  <a:cubicBezTo>
                    <a:pt x="101538" y="97917"/>
                    <a:pt x="101538" y="97917"/>
                    <a:pt x="101538" y="97917"/>
                  </a:cubicBezTo>
                  <a:cubicBezTo>
                    <a:pt x="101538" y="97917"/>
                    <a:pt x="101538" y="98498"/>
                    <a:pt x="101538" y="98789"/>
                  </a:cubicBezTo>
                  <a:cubicBezTo>
                    <a:pt x="101153" y="99370"/>
                    <a:pt x="101153" y="99370"/>
                    <a:pt x="101153" y="99370"/>
                  </a:cubicBezTo>
                  <a:cubicBezTo>
                    <a:pt x="101153" y="100823"/>
                    <a:pt x="101153" y="100823"/>
                    <a:pt x="101153" y="100823"/>
                  </a:cubicBezTo>
                  <a:cubicBezTo>
                    <a:pt x="99230" y="102276"/>
                    <a:pt x="99230" y="102276"/>
                    <a:pt x="99230" y="102276"/>
                  </a:cubicBezTo>
                  <a:cubicBezTo>
                    <a:pt x="98846" y="102276"/>
                    <a:pt x="98846" y="102276"/>
                    <a:pt x="98846" y="102276"/>
                  </a:cubicBezTo>
                  <a:cubicBezTo>
                    <a:pt x="98846" y="102276"/>
                    <a:pt x="98461" y="102566"/>
                    <a:pt x="98461" y="102566"/>
                  </a:cubicBezTo>
                  <a:cubicBezTo>
                    <a:pt x="98461" y="102566"/>
                    <a:pt x="96538" y="103147"/>
                    <a:pt x="96538" y="103147"/>
                  </a:cubicBezTo>
                  <a:cubicBezTo>
                    <a:pt x="95769" y="103728"/>
                    <a:pt x="95769" y="103728"/>
                    <a:pt x="95769" y="103728"/>
                  </a:cubicBezTo>
                  <a:cubicBezTo>
                    <a:pt x="95384" y="103728"/>
                    <a:pt x="95384" y="103728"/>
                    <a:pt x="95384" y="103728"/>
                  </a:cubicBezTo>
                  <a:cubicBezTo>
                    <a:pt x="95384" y="103728"/>
                    <a:pt x="94230" y="104309"/>
                    <a:pt x="93461" y="104891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3076" y="106924"/>
                    <a:pt x="93076" y="106924"/>
                    <a:pt x="93076" y="106924"/>
                  </a:cubicBezTo>
                  <a:cubicBezTo>
                    <a:pt x="94230" y="107796"/>
                    <a:pt x="94230" y="107796"/>
                    <a:pt x="94230" y="107796"/>
                  </a:cubicBezTo>
                  <a:cubicBezTo>
                    <a:pt x="95384" y="109249"/>
                    <a:pt x="95384" y="109249"/>
                    <a:pt x="95384" y="109249"/>
                  </a:cubicBezTo>
                  <a:cubicBezTo>
                    <a:pt x="95384" y="110121"/>
                    <a:pt x="95384" y="110121"/>
                    <a:pt x="95384" y="110121"/>
                  </a:cubicBezTo>
                  <a:cubicBezTo>
                    <a:pt x="95384" y="110121"/>
                    <a:pt x="94615" y="110702"/>
                    <a:pt x="94615" y="110702"/>
                  </a:cubicBezTo>
                  <a:cubicBezTo>
                    <a:pt x="94615" y="110992"/>
                    <a:pt x="94230" y="111573"/>
                    <a:pt x="94615" y="111573"/>
                  </a:cubicBezTo>
                  <a:cubicBezTo>
                    <a:pt x="95000" y="111573"/>
                    <a:pt x="96538" y="111864"/>
                    <a:pt x="96538" y="111864"/>
                  </a:cubicBezTo>
                  <a:cubicBezTo>
                    <a:pt x="96538" y="111864"/>
                    <a:pt x="96923" y="111864"/>
                    <a:pt x="96923" y="111864"/>
                  </a:cubicBezTo>
                  <a:cubicBezTo>
                    <a:pt x="97307" y="111864"/>
                    <a:pt x="97307" y="112154"/>
                    <a:pt x="97307" y="112154"/>
                  </a:cubicBezTo>
                  <a:cubicBezTo>
                    <a:pt x="97307" y="113317"/>
                    <a:pt x="97307" y="113317"/>
                    <a:pt x="97307" y="113317"/>
                  </a:cubicBezTo>
                  <a:cubicBezTo>
                    <a:pt x="97307" y="113317"/>
                    <a:pt x="97307" y="113607"/>
                    <a:pt x="97307" y="114769"/>
                  </a:cubicBezTo>
                  <a:cubicBezTo>
                    <a:pt x="97307" y="115932"/>
                    <a:pt x="96923" y="115641"/>
                    <a:pt x="96923" y="115641"/>
                  </a:cubicBezTo>
                  <a:cubicBezTo>
                    <a:pt x="96923" y="115641"/>
                    <a:pt x="95000" y="115060"/>
                    <a:pt x="95000" y="115060"/>
                  </a:cubicBezTo>
                  <a:cubicBezTo>
                    <a:pt x="95000" y="115060"/>
                    <a:pt x="94230" y="114479"/>
                    <a:pt x="94230" y="114479"/>
                  </a:cubicBezTo>
                  <a:cubicBezTo>
                    <a:pt x="93846" y="114188"/>
                    <a:pt x="93846" y="113898"/>
                    <a:pt x="93846" y="113607"/>
                  </a:cubicBezTo>
                  <a:cubicBezTo>
                    <a:pt x="93846" y="113317"/>
                    <a:pt x="94230" y="112736"/>
                    <a:pt x="94230" y="112736"/>
                  </a:cubicBezTo>
                  <a:cubicBezTo>
                    <a:pt x="94230" y="112736"/>
                    <a:pt x="92692" y="112445"/>
                    <a:pt x="92692" y="112445"/>
                  </a:cubicBezTo>
                  <a:cubicBezTo>
                    <a:pt x="92692" y="112445"/>
                    <a:pt x="91538" y="112445"/>
                    <a:pt x="91153" y="112445"/>
                  </a:cubicBezTo>
                  <a:cubicBezTo>
                    <a:pt x="90769" y="112445"/>
                    <a:pt x="90384" y="113026"/>
                    <a:pt x="90384" y="113026"/>
                  </a:cubicBezTo>
                  <a:cubicBezTo>
                    <a:pt x="90000" y="113317"/>
                    <a:pt x="89615" y="113026"/>
                    <a:pt x="89230" y="113026"/>
                  </a:cubicBezTo>
                  <a:cubicBezTo>
                    <a:pt x="89230" y="113026"/>
                    <a:pt x="88846" y="112445"/>
                    <a:pt x="88846" y="112445"/>
                  </a:cubicBezTo>
                  <a:cubicBezTo>
                    <a:pt x="88461" y="112445"/>
                    <a:pt x="86923" y="112154"/>
                    <a:pt x="86538" y="112154"/>
                  </a:cubicBezTo>
                  <a:cubicBezTo>
                    <a:pt x="86538" y="112154"/>
                    <a:pt x="85769" y="112154"/>
                    <a:pt x="85000" y="112154"/>
                  </a:cubicBezTo>
                  <a:cubicBezTo>
                    <a:pt x="84615" y="112445"/>
                    <a:pt x="85000" y="112445"/>
                    <a:pt x="85384" y="113317"/>
                  </a:cubicBezTo>
                  <a:cubicBezTo>
                    <a:pt x="85384" y="114188"/>
                    <a:pt x="85000" y="113607"/>
                    <a:pt x="84615" y="113607"/>
                  </a:cubicBezTo>
                  <a:cubicBezTo>
                    <a:pt x="84230" y="113607"/>
                    <a:pt x="84230" y="113607"/>
                    <a:pt x="83461" y="113607"/>
                  </a:cubicBezTo>
                  <a:cubicBezTo>
                    <a:pt x="82692" y="113607"/>
                    <a:pt x="82307" y="113607"/>
                    <a:pt x="81538" y="113607"/>
                  </a:cubicBezTo>
                  <a:cubicBezTo>
                    <a:pt x="81153" y="113898"/>
                    <a:pt x="81153" y="113898"/>
                    <a:pt x="81153" y="114188"/>
                  </a:cubicBezTo>
                  <a:cubicBezTo>
                    <a:pt x="80769" y="114479"/>
                    <a:pt x="80000" y="114479"/>
                    <a:pt x="79615" y="114479"/>
                  </a:cubicBezTo>
                  <a:cubicBezTo>
                    <a:pt x="79230" y="114479"/>
                    <a:pt x="77692" y="114479"/>
                    <a:pt x="77692" y="114479"/>
                  </a:cubicBezTo>
                  <a:cubicBezTo>
                    <a:pt x="77307" y="114479"/>
                    <a:pt x="76923" y="115060"/>
                    <a:pt x="76538" y="115351"/>
                  </a:cubicBezTo>
                  <a:cubicBezTo>
                    <a:pt x="76538" y="115351"/>
                    <a:pt x="75000" y="115351"/>
                    <a:pt x="75000" y="115351"/>
                  </a:cubicBezTo>
                  <a:cubicBezTo>
                    <a:pt x="74615" y="115641"/>
                    <a:pt x="74615" y="115641"/>
                    <a:pt x="74230" y="115932"/>
                  </a:cubicBezTo>
                  <a:cubicBezTo>
                    <a:pt x="73461" y="116222"/>
                    <a:pt x="73461" y="116222"/>
                    <a:pt x="73076" y="116803"/>
                  </a:cubicBezTo>
                  <a:cubicBezTo>
                    <a:pt x="72307" y="117384"/>
                    <a:pt x="72692" y="117094"/>
                    <a:pt x="71153" y="116803"/>
                  </a:cubicBezTo>
                  <a:cubicBezTo>
                    <a:pt x="70000" y="116803"/>
                    <a:pt x="70769" y="117094"/>
                    <a:pt x="70384" y="117094"/>
                  </a:cubicBezTo>
                  <a:cubicBezTo>
                    <a:pt x="70000" y="117094"/>
                    <a:pt x="69615" y="117384"/>
                    <a:pt x="69230" y="117675"/>
                  </a:cubicBezTo>
                  <a:cubicBezTo>
                    <a:pt x="69230" y="117966"/>
                    <a:pt x="68461" y="117384"/>
                    <a:pt x="68076" y="117384"/>
                  </a:cubicBezTo>
                  <a:cubicBezTo>
                    <a:pt x="67692" y="117675"/>
                    <a:pt x="67692" y="117094"/>
                    <a:pt x="67692" y="116222"/>
                  </a:cubicBezTo>
                  <a:cubicBezTo>
                    <a:pt x="67307" y="115641"/>
                    <a:pt x="66538" y="115641"/>
                    <a:pt x="66538" y="115641"/>
                  </a:cubicBezTo>
                  <a:cubicBezTo>
                    <a:pt x="66538" y="115641"/>
                    <a:pt x="65769" y="115641"/>
                    <a:pt x="65769" y="115351"/>
                  </a:cubicBezTo>
                  <a:cubicBezTo>
                    <a:pt x="65769" y="115060"/>
                    <a:pt x="64230" y="115060"/>
                    <a:pt x="63846" y="115060"/>
                  </a:cubicBezTo>
                  <a:cubicBezTo>
                    <a:pt x="63846" y="115060"/>
                    <a:pt x="62692" y="115060"/>
                    <a:pt x="62692" y="115060"/>
                  </a:cubicBezTo>
                  <a:cubicBezTo>
                    <a:pt x="62692" y="115060"/>
                    <a:pt x="61538" y="115060"/>
                    <a:pt x="61538" y="115351"/>
                  </a:cubicBezTo>
                  <a:cubicBezTo>
                    <a:pt x="61538" y="115351"/>
                    <a:pt x="61153" y="115351"/>
                    <a:pt x="60384" y="115641"/>
                  </a:cubicBezTo>
                  <a:cubicBezTo>
                    <a:pt x="59230" y="115932"/>
                    <a:pt x="60000" y="115641"/>
                    <a:pt x="60000" y="116222"/>
                  </a:cubicBezTo>
                  <a:cubicBezTo>
                    <a:pt x="60384" y="116513"/>
                    <a:pt x="60384" y="116803"/>
                    <a:pt x="60384" y="116803"/>
                  </a:cubicBezTo>
                  <a:cubicBezTo>
                    <a:pt x="60769" y="117094"/>
                    <a:pt x="60384" y="116803"/>
                    <a:pt x="60384" y="117384"/>
                  </a:cubicBezTo>
                  <a:cubicBezTo>
                    <a:pt x="60000" y="117966"/>
                    <a:pt x="60000" y="117675"/>
                    <a:pt x="60000" y="118256"/>
                  </a:cubicBezTo>
                  <a:cubicBezTo>
                    <a:pt x="59615" y="118547"/>
                    <a:pt x="59615" y="118256"/>
                    <a:pt x="59230" y="119128"/>
                  </a:cubicBezTo>
                  <a:cubicBezTo>
                    <a:pt x="58846" y="119709"/>
                    <a:pt x="59230" y="119128"/>
                    <a:pt x="58846" y="119709"/>
                  </a:cubicBezTo>
                  <a:cubicBezTo>
                    <a:pt x="58461" y="120000"/>
                    <a:pt x="57692" y="119709"/>
                    <a:pt x="56923" y="119418"/>
                  </a:cubicBezTo>
                  <a:cubicBezTo>
                    <a:pt x="56538" y="119418"/>
                    <a:pt x="56923" y="119128"/>
                    <a:pt x="56923" y="118547"/>
                  </a:cubicBezTo>
                  <a:cubicBezTo>
                    <a:pt x="57307" y="117966"/>
                    <a:pt x="56923" y="118256"/>
                    <a:pt x="56923" y="117966"/>
                  </a:cubicBezTo>
                  <a:cubicBezTo>
                    <a:pt x="56923" y="117675"/>
                    <a:pt x="56538" y="117966"/>
                    <a:pt x="55769" y="118256"/>
                  </a:cubicBezTo>
                  <a:cubicBezTo>
                    <a:pt x="55384" y="118256"/>
                    <a:pt x="55384" y="117675"/>
                    <a:pt x="55769" y="117094"/>
                  </a:cubicBezTo>
                  <a:cubicBezTo>
                    <a:pt x="55769" y="116513"/>
                    <a:pt x="55384" y="116803"/>
                    <a:pt x="55384" y="116513"/>
                  </a:cubicBezTo>
                  <a:cubicBezTo>
                    <a:pt x="55384" y="116513"/>
                    <a:pt x="55000" y="116222"/>
                    <a:pt x="54615" y="116222"/>
                  </a:cubicBezTo>
                  <a:cubicBezTo>
                    <a:pt x="54230" y="116222"/>
                    <a:pt x="53846" y="115932"/>
                    <a:pt x="53846" y="115932"/>
                  </a:cubicBezTo>
                  <a:cubicBezTo>
                    <a:pt x="53461" y="115641"/>
                    <a:pt x="52692" y="115060"/>
                    <a:pt x="52307" y="114769"/>
                  </a:cubicBezTo>
                  <a:cubicBezTo>
                    <a:pt x="51538" y="114479"/>
                    <a:pt x="50769" y="114769"/>
                    <a:pt x="50769" y="114769"/>
                  </a:cubicBezTo>
                  <a:cubicBezTo>
                    <a:pt x="50769" y="114769"/>
                    <a:pt x="50000" y="115351"/>
                    <a:pt x="49230" y="115932"/>
                  </a:cubicBezTo>
                  <a:cubicBezTo>
                    <a:pt x="49230" y="115932"/>
                    <a:pt x="49230" y="116222"/>
                    <a:pt x="49230" y="116222"/>
                  </a:cubicBezTo>
                  <a:cubicBezTo>
                    <a:pt x="48846" y="116222"/>
                    <a:pt x="48846" y="116222"/>
                    <a:pt x="48846" y="115932"/>
                  </a:cubicBezTo>
                  <a:cubicBezTo>
                    <a:pt x="48846" y="115932"/>
                    <a:pt x="48461" y="115641"/>
                    <a:pt x="48461" y="115641"/>
                  </a:cubicBezTo>
                  <a:cubicBezTo>
                    <a:pt x="48461" y="115641"/>
                    <a:pt x="48461" y="115060"/>
                    <a:pt x="48076" y="115060"/>
                  </a:cubicBezTo>
                  <a:cubicBezTo>
                    <a:pt x="48076" y="115060"/>
                    <a:pt x="47692" y="115060"/>
                    <a:pt x="47307" y="114769"/>
                  </a:cubicBezTo>
                  <a:cubicBezTo>
                    <a:pt x="46923" y="114769"/>
                    <a:pt x="46538" y="114479"/>
                    <a:pt x="46538" y="114479"/>
                  </a:cubicBezTo>
                  <a:cubicBezTo>
                    <a:pt x="46153" y="114479"/>
                    <a:pt x="45384" y="113898"/>
                    <a:pt x="45384" y="113898"/>
                  </a:cubicBezTo>
                  <a:cubicBezTo>
                    <a:pt x="45384" y="113898"/>
                    <a:pt x="45384" y="113898"/>
                    <a:pt x="45000" y="113898"/>
                  </a:cubicBezTo>
                  <a:cubicBezTo>
                    <a:pt x="45000" y="113898"/>
                    <a:pt x="44615" y="113607"/>
                    <a:pt x="44615" y="113607"/>
                  </a:cubicBezTo>
                  <a:cubicBezTo>
                    <a:pt x="44230" y="113607"/>
                    <a:pt x="44230" y="113607"/>
                    <a:pt x="44230" y="113607"/>
                  </a:cubicBezTo>
                  <a:cubicBezTo>
                    <a:pt x="44230" y="113607"/>
                    <a:pt x="44230" y="113607"/>
                    <a:pt x="44230" y="113607"/>
                  </a:cubicBezTo>
                  <a:cubicBezTo>
                    <a:pt x="43846" y="113607"/>
                    <a:pt x="43846" y="113607"/>
                    <a:pt x="43461" y="113317"/>
                  </a:cubicBezTo>
                  <a:cubicBezTo>
                    <a:pt x="42692" y="113317"/>
                    <a:pt x="43076" y="113317"/>
                    <a:pt x="42307" y="113317"/>
                  </a:cubicBezTo>
                  <a:cubicBezTo>
                    <a:pt x="41923" y="113317"/>
                    <a:pt x="41538" y="113317"/>
                    <a:pt x="41538" y="113317"/>
                  </a:cubicBezTo>
                  <a:cubicBezTo>
                    <a:pt x="41538" y="113317"/>
                    <a:pt x="41153" y="113026"/>
                    <a:pt x="40384" y="113026"/>
                  </a:cubicBezTo>
                  <a:cubicBezTo>
                    <a:pt x="40000" y="113317"/>
                    <a:pt x="39230" y="113607"/>
                    <a:pt x="38846" y="113607"/>
                  </a:cubicBezTo>
                  <a:cubicBezTo>
                    <a:pt x="38846" y="113607"/>
                    <a:pt x="38461" y="113317"/>
                    <a:pt x="38461" y="113317"/>
                  </a:cubicBezTo>
                  <a:cubicBezTo>
                    <a:pt x="38461" y="113317"/>
                    <a:pt x="38461" y="113026"/>
                    <a:pt x="38461" y="113026"/>
                  </a:cubicBezTo>
                  <a:cubicBezTo>
                    <a:pt x="38461" y="113026"/>
                    <a:pt x="38076" y="112736"/>
                    <a:pt x="37692" y="112445"/>
                  </a:cubicBezTo>
                  <a:cubicBezTo>
                    <a:pt x="37692" y="112445"/>
                    <a:pt x="37307" y="112445"/>
                    <a:pt x="37307" y="112445"/>
                  </a:cubicBezTo>
                  <a:cubicBezTo>
                    <a:pt x="37307" y="112445"/>
                    <a:pt x="37307" y="112445"/>
                    <a:pt x="37307" y="112736"/>
                  </a:cubicBezTo>
                  <a:cubicBezTo>
                    <a:pt x="37307" y="113026"/>
                    <a:pt x="38076" y="113026"/>
                    <a:pt x="37307" y="113026"/>
                  </a:cubicBezTo>
                  <a:cubicBezTo>
                    <a:pt x="36923" y="112736"/>
                    <a:pt x="36538" y="112736"/>
                    <a:pt x="36538" y="112736"/>
                  </a:cubicBezTo>
                  <a:cubicBezTo>
                    <a:pt x="35384" y="113026"/>
                    <a:pt x="35384" y="113026"/>
                    <a:pt x="35384" y="113026"/>
                  </a:cubicBezTo>
                  <a:cubicBezTo>
                    <a:pt x="35769" y="112736"/>
                    <a:pt x="35769" y="112736"/>
                    <a:pt x="35769" y="112736"/>
                  </a:cubicBezTo>
                  <a:cubicBezTo>
                    <a:pt x="35769" y="112736"/>
                    <a:pt x="36153" y="112736"/>
                    <a:pt x="36153" y="112736"/>
                  </a:cubicBezTo>
                  <a:cubicBezTo>
                    <a:pt x="36153" y="112445"/>
                    <a:pt x="36153" y="112445"/>
                    <a:pt x="36153" y="112445"/>
                  </a:cubicBezTo>
                  <a:cubicBezTo>
                    <a:pt x="36153" y="112445"/>
                    <a:pt x="36153" y="112154"/>
                    <a:pt x="36153" y="112154"/>
                  </a:cubicBezTo>
                  <a:cubicBezTo>
                    <a:pt x="36538" y="112154"/>
                    <a:pt x="36923" y="111864"/>
                    <a:pt x="36538" y="111864"/>
                  </a:cubicBezTo>
                  <a:cubicBezTo>
                    <a:pt x="36153" y="111864"/>
                    <a:pt x="35769" y="111864"/>
                    <a:pt x="35769" y="111864"/>
                  </a:cubicBezTo>
                  <a:cubicBezTo>
                    <a:pt x="35769" y="111573"/>
                    <a:pt x="35769" y="111573"/>
                    <a:pt x="35769" y="111573"/>
                  </a:cubicBezTo>
                  <a:cubicBezTo>
                    <a:pt x="35769" y="111573"/>
                    <a:pt x="35384" y="111283"/>
                    <a:pt x="35384" y="111283"/>
                  </a:cubicBezTo>
                  <a:cubicBezTo>
                    <a:pt x="35384" y="111573"/>
                    <a:pt x="35384" y="111864"/>
                    <a:pt x="35384" y="111864"/>
                  </a:cubicBezTo>
                  <a:cubicBezTo>
                    <a:pt x="35000" y="111864"/>
                    <a:pt x="35000" y="111864"/>
                    <a:pt x="35000" y="111573"/>
                  </a:cubicBezTo>
                  <a:cubicBezTo>
                    <a:pt x="35000" y="111283"/>
                    <a:pt x="35000" y="111283"/>
                    <a:pt x="35000" y="111283"/>
                  </a:cubicBezTo>
                  <a:cubicBezTo>
                    <a:pt x="34615" y="111283"/>
                    <a:pt x="34230" y="111283"/>
                    <a:pt x="34230" y="111283"/>
                  </a:cubicBezTo>
                  <a:cubicBezTo>
                    <a:pt x="34230" y="111283"/>
                    <a:pt x="34615" y="111573"/>
                    <a:pt x="33846" y="111573"/>
                  </a:cubicBezTo>
                  <a:cubicBezTo>
                    <a:pt x="33461" y="111573"/>
                    <a:pt x="33076" y="111864"/>
                    <a:pt x="32692" y="111864"/>
                  </a:cubicBezTo>
                  <a:cubicBezTo>
                    <a:pt x="32307" y="112154"/>
                    <a:pt x="32307" y="112445"/>
                    <a:pt x="32307" y="112445"/>
                  </a:cubicBezTo>
                  <a:cubicBezTo>
                    <a:pt x="32307" y="112736"/>
                    <a:pt x="31538" y="112736"/>
                    <a:pt x="31538" y="113026"/>
                  </a:cubicBezTo>
                  <a:cubicBezTo>
                    <a:pt x="31923" y="113026"/>
                    <a:pt x="31538" y="113026"/>
                    <a:pt x="32307" y="113317"/>
                  </a:cubicBezTo>
                  <a:cubicBezTo>
                    <a:pt x="32692" y="113317"/>
                    <a:pt x="32692" y="113317"/>
                    <a:pt x="33076" y="113317"/>
                  </a:cubicBezTo>
                  <a:cubicBezTo>
                    <a:pt x="33461" y="113607"/>
                    <a:pt x="33846" y="113317"/>
                    <a:pt x="33846" y="113317"/>
                  </a:cubicBezTo>
                  <a:cubicBezTo>
                    <a:pt x="33846" y="113317"/>
                    <a:pt x="33846" y="113317"/>
                    <a:pt x="34230" y="113607"/>
                  </a:cubicBezTo>
                  <a:cubicBezTo>
                    <a:pt x="34230" y="113607"/>
                    <a:pt x="34615" y="113317"/>
                    <a:pt x="34615" y="113607"/>
                  </a:cubicBezTo>
                  <a:cubicBezTo>
                    <a:pt x="34615" y="113898"/>
                    <a:pt x="35000" y="114188"/>
                    <a:pt x="34615" y="114188"/>
                  </a:cubicBezTo>
                  <a:cubicBezTo>
                    <a:pt x="34230" y="114188"/>
                    <a:pt x="33846" y="114479"/>
                    <a:pt x="33846" y="114188"/>
                  </a:cubicBezTo>
                  <a:cubicBezTo>
                    <a:pt x="33846" y="114188"/>
                    <a:pt x="33846" y="113898"/>
                    <a:pt x="33461" y="113898"/>
                  </a:cubicBezTo>
                  <a:cubicBezTo>
                    <a:pt x="33461" y="113898"/>
                    <a:pt x="33076" y="113898"/>
                    <a:pt x="33076" y="113898"/>
                  </a:cubicBezTo>
                  <a:cubicBezTo>
                    <a:pt x="32692" y="114479"/>
                    <a:pt x="32692" y="114479"/>
                    <a:pt x="32692" y="114479"/>
                  </a:cubicBezTo>
                  <a:cubicBezTo>
                    <a:pt x="32692" y="114479"/>
                    <a:pt x="32692" y="114769"/>
                    <a:pt x="32307" y="114769"/>
                  </a:cubicBezTo>
                  <a:cubicBezTo>
                    <a:pt x="31923" y="114769"/>
                    <a:pt x="32307" y="114769"/>
                    <a:pt x="31538" y="114769"/>
                  </a:cubicBezTo>
                  <a:cubicBezTo>
                    <a:pt x="30769" y="114769"/>
                    <a:pt x="30769" y="114479"/>
                    <a:pt x="30384" y="114479"/>
                  </a:cubicBezTo>
                  <a:cubicBezTo>
                    <a:pt x="30384" y="114479"/>
                    <a:pt x="30384" y="114479"/>
                    <a:pt x="30000" y="114479"/>
                  </a:cubicBezTo>
                  <a:cubicBezTo>
                    <a:pt x="30000" y="114479"/>
                    <a:pt x="29230" y="113898"/>
                    <a:pt x="28846" y="114479"/>
                  </a:cubicBezTo>
                  <a:cubicBezTo>
                    <a:pt x="28461" y="114769"/>
                    <a:pt x="28076" y="115060"/>
                    <a:pt x="28076" y="115060"/>
                  </a:cubicBezTo>
                  <a:cubicBezTo>
                    <a:pt x="26923" y="115060"/>
                    <a:pt x="26923" y="115060"/>
                    <a:pt x="26923" y="115060"/>
                  </a:cubicBezTo>
                  <a:cubicBezTo>
                    <a:pt x="26923" y="115060"/>
                    <a:pt x="26538" y="115060"/>
                    <a:pt x="26153" y="115060"/>
                  </a:cubicBezTo>
                  <a:cubicBezTo>
                    <a:pt x="25769" y="115060"/>
                    <a:pt x="25384" y="115060"/>
                    <a:pt x="25384" y="115060"/>
                  </a:cubicBezTo>
                  <a:cubicBezTo>
                    <a:pt x="25000" y="115351"/>
                    <a:pt x="24615" y="114479"/>
                    <a:pt x="24615" y="114479"/>
                  </a:cubicBezTo>
                  <a:cubicBezTo>
                    <a:pt x="24615" y="114479"/>
                    <a:pt x="25000" y="113898"/>
                    <a:pt x="23846" y="114479"/>
                  </a:cubicBezTo>
                  <a:cubicBezTo>
                    <a:pt x="22692" y="115060"/>
                    <a:pt x="22307" y="115060"/>
                    <a:pt x="22307" y="115060"/>
                  </a:cubicBezTo>
                  <a:cubicBezTo>
                    <a:pt x="22307" y="115060"/>
                    <a:pt x="21923" y="115060"/>
                    <a:pt x="21923" y="115351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538" y="115060"/>
                    <a:pt x="21538" y="115060"/>
                    <a:pt x="21538" y="114769"/>
                  </a:cubicBezTo>
                  <a:cubicBezTo>
                    <a:pt x="21538" y="114769"/>
                    <a:pt x="21538" y="114769"/>
                    <a:pt x="21538" y="114769"/>
                  </a:cubicBezTo>
                  <a:cubicBezTo>
                    <a:pt x="21538" y="114769"/>
                    <a:pt x="21153" y="114769"/>
                    <a:pt x="21153" y="114479"/>
                  </a:cubicBezTo>
                  <a:cubicBezTo>
                    <a:pt x="20384" y="113898"/>
                    <a:pt x="19230" y="112736"/>
                    <a:pt x="19230" y="112736"/>
                  </a:cubicBezTo>
                  <a:cubicBezTo>
                    <a:pt x="20000" y="111573"/>
                    <a:pt x="20000" y="111573"/>
                    <a:pt x="20000" y="111573"/>
                  </a:cubicBezTo>
                  <a:cubicBezTo>
                    <a:pt x="20000" y="111573"/>
                    <a:pt x="20384" y="109539"/>
                    <a:pt x="20384" y="108958"/>
                  </a:cubicBezTo>
                  <a:cubicBezTo>
                    <a:pt x="20384" y="108668"/>
                    <a:pt x="20384" y="106924"/>
                    <a:pt x="20384" y="106924"/>
                  </a:cubicBezTo>
                  <a:cubicBezTo>
                    <a:pt x="20384" y="106924"/>
                    <a:pt x="18846" y="106634"/>
                    <a:pt x="20000" y="105762"/>
                  </a:cubicBezTo>
                  <a:cubicBezTo>
                    <a:pt x="21153" y="104600"/>
                    <a:pt x="22307" y="103147"/>
                    <a:pt x="22307" y="103147"/>
                  </a:cubicBezTo>
                  <a:cubicBezTo>
                    <a:pt x="22307" y="100242"/>
                    <a:pt x="22307" y="100242"/>
                    <a:pt x="22307" y="100242"/>
                  </a:cubicBezTo>
                  <a:cubicBezTo>
                    <a:pt x="22307" y="100242"/>
                    <a:pt x="21153" y="99370"/>
                    <a:pt x="22692" y="98789"/>
                  </a:cubicBezTo>
                  <a:cubicBezTo>
                    <a:pt x="24230" y="97917"/>
                    <a:pt x="26923" y="95302"/>
                    <a:pt x="26923" y="95302"/>
                  </a:cubicBezTo>
                  <a:cubicBezTo>
                    <a:pt x="29615" y="92978"/>
                    <a:pt x="29615" y="92978"/>
                    <a:pt x="29615" y="92978"/>
                  </a:cubicBezTo>
                  <a:cubicBezTo>
                    <a:pt x="25000" y="92106"/>
                    <a:pt x="25000" y="92106"/>
                    <a:pt x="25000" y="92106"/>
                  </a:cubicBezTo>
                  <a:cubicBezTo>
                    <a:pt x="22307" y="91815"/>
                    <a:pt x="22307" y="91815"/>
                    <a:pt x="22307" y="91815"/>
                  </a:cubicBezTo>
                  <a:cubicBezTo>
                    <a:pt x="20384" y="90944"/>
                    <a:pt x="20384" y="90944"/>
                    <a:pt x="20384" y="90944"/>
                  </a:cubicBezTo>
                  <a:cubicBezTo>
                    <a:pt x="19230" y="89491"/>
                    <a:pt x="19230" y="89491"/>
                    <a:pt x="19230" y="89491"/>
                  </a:cubicBezTo>
                  <a:cubicBezTo>
                    <a:pt x="18076" y="90072"/>
                    <a:pt x="18076" y="90072"/>
                    <a:pt x="18076" y="90072"/>
                  </a:cubicBezTo>
                  <a:cubicBezTo>
                    <a:pt x="16923" y="90653"/>
                    <a:pt x="16923" y="90653"/>
                    <a:pt x="16923" y="90653"/>
                  </a:cubicBezTo>
                  <a:cubicBezTo>
                    <a:pt x="14230" y="90363"/>
                    <a:pt x="14230" y="90363"/>
                    <a:pt x="14230" y="90363"/>
                  </a:cubicBezTo>
                  <a:cubicBezTo>
                    <a:pt x="12307" y="88910"/>
                    <a:pt x="12307" y="88910"/>
                    <a:pt x="12307" y="88910"/>
                  </a:cubicBezTo>
                  <a:cubicBezTo>
                    <a:pt x="10769" y="89782"/>
                    <a:pt x="10769" y="89782"/>
                    <a:pt x="10769" y="89782"/>
                  </a:cubicBezTo>
                  <a:cubicBezTo>
                    <a:pt x="9230" y="88910"/>
                    <a:pt x="9230" y="88910"/>
                    <a:pt x="9230" y="88910"/>
                  </a:cubicBezTo>
                  <a:cubicBezTo>
                    <a:pt x="8076" y="87457"/>
                    <a:pt x="8076" y="87457"/>
                    <a:pt x="8076" y="87457"/>
                  </a:cubicBezTo>
                  <a:cubicBezTo>
                    <a:pt x="7692" y="86295"/>
                    <a:pt x="7692" y="86295"/>
                    <a:pt x="7692" y="86295"/>
                  </a:cubicBezTo>
                  <a:cubicBezTo>
                    <a:pt x="5769" y="84842"/>
                    <a:pt x="5769" y="84842"/>
                    <a:pt x="5769" y="84842"/>
                  </a:cubicBezTo>
                  <a:cubicBezTo>
                    <a:pt x="5000" y="84842"/>
                    <a:pt x="5000" y="84842"/>
                    <a:pt x="5000" y="84842"/>
                  </a:cubicBezTo>
                  <a:cubicBezTo>
                    <a:pt x="5000" y="84552"/>
                    <a:pt x="5000" y="84552"/>
                    <a:pt x="5000" y="84552"/>
                  </a:cubicBezTo>
                  <a:cubicBezTo>
                    <a:pt x="4615" y="82808"/>
                    <a:pt x="4615" y="82808"/>
                    <a:pt x="4615" y="82808"/>
                  </a:cubicBezTo>
                  <a:cubicBezTo>
                    <a:pt x="5769" y="82227"/>
                    <a:pt x="5769" y="82227"/>
                    <a:pt x="5769" y="82227"/>
                  </a:cubicBezTo>
                  <a:cubicBezTo>
                    <a:pt x="6538" y="81355"/>
                    <a:pt x="6538" y="81355"/>
                    <a:pt x="6538" y="81355"/>
                  </a:cubicBezTo>
                  <a:cubicBezTo>
                    <a:pt x="7307" y="80484"/>
                    <a:pt x="7307" y="80484"/>
                    <a:pt x="7307" y="80484"/>
                  </a:cubicBezTo>
                  <a:cubicBezTo>
                    <a:pt x="6923" y="79322"/>
                    <a:pt x="6923" y="79322"/>
                    <a:pt x="6923" y="79322"/>
                  </a:cubicBezTo>
                  <a:cubicBezTo>
                    <a:pt x="6923" y="79322"/>
                    <a:pt x="5384" y="79322"/>
                    <a:pt x="5000" y="79031"/>
                  </a:cubicBezTo>
                  <a:cubicBezTo>
                    <a:pt x="4615" y="79031"/>
                    <a:pt x="3461" y="78450"/>
                    <a:pt x="3461" y="78450"/>
                  </a:cubicBezTo>
                  <a:cubicBezTo>
                    <a:pt x="3076" y="76997"/>
                    <a:pt x="3076" y="76997"/>
                    <a:pt x="3076" y="76997"/>
                  </a:cubicBezTo>
                  <a:cubicBezTo>
                    <a:pt x="2307" y="76125"/>
                    <a:pt x="2307" y="76125"/>
                    <a:pt x="2307" y="76125"/>
                  </a:cubicBezTo>
                  <a:cubicBezTo>
                    <a:pt x="1923" y="74673"/>
                    <a:pt x="1923" y="74673"/>
                    <a:pt x="1923" y="74673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692" y="73220"/>
                    <a:pt x="2692" y="73220"/>
                    <a:pt x="2692" y="73220"/>
                  </a:cubicBezTo>
                  <a:cubicBezTo>
                    <a:pt x="3076" y="72639"/>
                    <a:pt x="3076" y="72639"/>
                    <a:pt x="3076" y="72639"/>
                  </a:cubicBezTo>
                  <a:cubicBezTo>
                    <a:pt x="3076" y="72348"/>
                    <a:pt x="3076" y="72348"/>
                    <a:pt x="3076" y="72348"/>
                  </a:cubicBezTo>
                  <a:cubicBezTo>
                    <a:pt x="3076" y="72348"/>
                    <a:pt x="3461" y="72058"/>
                    <a:pt x="3846" y="72058"/>
                  </a:cubicBezTo>
                  <a:cubicBezTo>
                    <a:pt x="3846" y="72058"/>
                    <a:pt x="4230" y="72058"/>
                    <a:pt x="4230" y="72058"/>
                  </a:cubicBezTo>
                  <a:cubicBezTo>
                    <a:pt x="4615" y="72058"/>
                    <a:pt x="4615" y="71186"/>
                    <a:pt x="4615" y="71186"/>
                  </a:cubicBezTo>
                  <a:cubicBezTo>
                    <a:pt x="5384" y="71186"/>
                    <a:pt x="5384" y="71186"/>
                    <a:pt x="5384" y="71186"/>
                  </a:cubicBezTo>
                  <a:cubicBezTo>
                    <a:pt x="5384" y="71186"/>
                    <a:pt x="5769" y="70895"/>
                    <a:pt x="5769" y="70895"/>
                  </a:cubicBezTo>
                  <a:cubicBezTo>
                    <a:pt x="5769" y="70605"/>
                    <a:pt x="5769" y="70314"/>
                    <a:pt x="5769" y="70314"/>
                  </a:cubicBezTo>
                  <a:cubicBezTo>
                    <a:pt x="5769" y="70314"/>
                    <a:pt x="6153" y="69733"/>
                    <a:pt x="6153" y="69443"/>
                  </a:cubicBezTo>
                  <a:cubicBezTo>
                    <a:pt x="6153" y="69152"/>
                    <a:pt x="5769" y="68861"/>
                    <a:pt x="5769" y="68861"/>
                  </a:cubicBezTo>
                  <a:cubicBezTo>
                    <a:pt x="5769" y="68861"/>
                    <a:pt x="5384" y="68280"/>
                    <a:pt x="5000" y="68280"/>
                  </a:cubicBezTo>
                  <a:cubicBezTo>
                    <a:pt x="5000" y="68280"/>
                    <a:pt x="4230" y="68280"/>
                    <a:pt x="4230" y="68280"/>
                  </a:cubicBezTo>
                  <a:cubicBezTo>
                    <a:pt x="3846" y="68280"/>
                    <a:pt x="3461" y="67699"/>
                    <a:pt x="3461" y="67699"/>
                  </a:cubicBezTo>
                  <a:cubicBezTo>
                    <a:pt x="3461" y="67699"/>
                    <a:pt x="3846" y="67409"/>
                    <a:pt x="3846" y="67118"/>
                  </a:cubicBezTo>
                  <a:cubicBezTo>
                    <a:pt x="4230" y="67118"/>
                    <a:pt x="4230" y="66246"/>
                    <a:pt x="4230" y="66246"/>
                  </a:cubicBezTo>
                  <a:cubicBezTo>
                    <a:pt x="4230" y="66246"/>
                    <a:pt x="3846" y="65956"/>
                    <a:pt x="3461" y="65956"/>
                  </a:cubicBezTo>
                  <a:cubicBezTo>
                    <a:pt x="3461" y="65956"/>
                    <a:pt x="2692" y="65956"/>
                    <a:pt x="2692" y="65956"/>
                  </a:cubicBezTo>
                  <a:cubicBezTo>
                    <a:pt x="2692" y="65084"/>
                    <a:pt x="2692" y="65084"/>
                    <a:pt x="2692" y="65084"/>
                  </a:cubicBezTo>
                  <a:cubicBezTo>
                    <a:pt x="2692" y="65084"/>
                    <a:pt x="1923" y="64794"/>
                    <a:pt x="1538" y="64794"/>
                  </a:cubicBezTo>
                  <a:cubicBezTo>
                    <a:pt x="1538" y="64794"/>
                    <a:pt x="1538" y="64503"/>
                    <a:pt x="1153" y="64503"/>
                  </a:cubicBezTo>
                  <a:cubicBezTo>
                    <a:pt x="1538" y="64503"/>
                    <a:pt x="1538" y="64503"/>
                    <a:pt x="1538" y="64503"/>
                  </a:cubicBezTo>
                  <a:cubicBezTo>
                    <a:pt x="1538" y="64503"/>
                    <a:pt x="1538" y="64503"/>
                    <a:pt x="1538" y="64503"/>
                  </a:cubicBezTo>
                  <a:cubicBezTo>
                    <a:pt x="1538" y="64213"/>
                    <a:pt x="1153" y="63922"/>
                    <a:pt x="1153" y="63631"/>
                  </a:cubicBezTo>
                  <a:cubicBezTo>
                    <a:pt x="1153" y="63631"/>
                    <a:pt x="1538" y="63631"/>
                    <a:pt x="1538" y="63631"/>
                  </a:cubicBezTo>
                  <a:cubicBezTo>
                    <a:pt x="1538" y="63631"/>
                    <a:pt x="1538" y="63341"/>
                    <a:pt x="1923" y="63050"/>
                  </a:cubicBezTo>
                  <a:cubicBezTo>
                    <a:pt x="1923" y="63050"/>
                    <a:pt x="1923" y="63050"/>
                    <a:pt x="2307" y="63050"/>
                  </a:cubicBezTo>
                  <a:cubicBezTo>
                    <a:pt x="2307" y="63050"/>
                    <a:pt x="2307" y="62760"/>
                    <a:pt x="2692" y="62760"/>
                  </a:cubicBezTo>
                  <a:cubicBezTo>
                    <a:pt x="2692" y="62469"/>
                    <a:pt x="2692" y="61888"/>
                    <a:pt x="2692" y="61888"/>
                  </a:cubicBezTo>
                  <a:cubicBezTo>
                    <a:pt x="2692" y="61888"/>
                    <a:pt x="2692" y="61888"/>
                    <a:pt x="2307" y="61598"/>
                  </a:cubicBezTo>
                  <a:cubicBezTo>
                    <a:pt x="1923" y="61598"/>
                    <a:pt x="1923" y="61598"/>
                    <a:pt x="1923" y="61307"/>
                  </a:cubicBezTo>
                  <a:cubicBezTo>
                    <a:pt x="1538" y="61307"/>
                    <a:pt x="1923" y="61016"/>
                    <a:pt x="1923" y="61016"/>
                  </a:cubicBezTo>
                  <a:cubicBezTo>
                    <a:pt x="1923" y="61016"/>
                    <a:pt x="1153" y="60726"/>
                    <a:pt x="1153" y="60726"/>
                  </a:cubicBezTo>
                  <a:cubicBezTo>
                    <a:pt x="1153" y="60726"/>
                    <a:pt x="384" y="60726"/>
                    <a:pt x="384" y="60726"/>
                  </a:cubicBezTo>
                  <a:cubicBezTo>
                    <a:pt x="384" y="60726"/>
                    <a:pt x="384" y="60726"/>
                    <a:pt x="384" y="60726"/>
                  </a:cubicBezTo>
                  <a:cubicBezTo>
                    <a:pt x="384" y="60145"/>
                    <a:pt x="384" y="60145"/>
                    <a:pt x="384" y="60145"/>
                  </a:cubicBezTo>
                  <a:cubicBezTo>
                    <a:pt x="0" y="59564"/>
                    <a:pt x="0" y="59564"/>
                    <a:pt x="0" y="59564"/>
                  </a:cubicBezTo>
                  <a:cubicBezTo>
                    <a:pt x="384" y="59273"/>
                    <a:pt x="384" y="59273"/>
                    <a:pt x="384" y="59273"/>
                  </a:cubicBezTo>
                  <a:cubicBezTo>
                    <a:pt x="1153" y="59854"/>
                    <a:pt x="1153" y="59854"/>
                    <a:pt x="1153" y="59854"/>
                  </a:cubicBezTo>
                  <a:cubicBezTo>
                    <a:pt x="1153" y="59854"/>
                    <a:pt x="1153" y="59564"/>
                    <a:pt x="1153" y="59273"/>
                  </a:cubicBezTo>
                  <a:cubicBezTo>
                    <a:pt x="1538" y="59273"/>
                    <a:pt x="1923" y="58692"/>
                    <a:pt x="1923" y="58692"/>
                  </a:cubicBezTo>
                  <a:cubicBezTo>
                    <a:pt x="2692" y="58692"/>
                    <a:pt x="2692" y="58692"/>
                    <a:pt x="2692" y="58692"/>
                  </a:cubicBezTo>
                  <a:cubicBezTo>
                    <a:pt x="2692" y="58692"/>
                    <a:pt x="4230" y="58692"/>
                    <a:pt x="4230" y="58692"/>
                  </a:cubicBezTo>
                  <a:cubicBezTo>
                    <a:pt x="4615" y="58401"/>
                    <a:pt x="3846" y="57820"/>
                    <a:pt x="3846" y="57820"/>
                  </a:cubicBezTo>
                  <a:cubicBezTo>
                    <a:pt x="3846" y="57820"/>
                    <a:pt x="3076" y="58401"/>
                    <a:pt x="3076" y="58401"/>
                  </a:cubicBezTo>
                  <a:cubicBezTo>
                    <a:pt x="2692" y="58401"/>
                    <a:pt x="2692" y="57530"/>
                    <a:pt x="2692" y="57530"/>
                  </a:cubicBezTo>
                  <a:cubicBezTo>
                    <a:pt x="2692" y="56949"/>
                    <a:pt x="2692" y="56949"/>
                    <a:pt x="2692" y="56949"/>
                  </a:cubicBezTo>
                  <a:cubicBezTo>
                    <a:pt x="3461" y="56658"/>
                    <a:pt x="3461" y="56658"/>
                    <a:pt x="3461" y="56658"/>
                  </a:cubicBezTo>
                  <a:cubicBezTo>
                    <a:pt x="3846" y="56077"/>
                    <a:pt x="3846" y="56077"/>
                    <a:pt x="3846" y="56077"/>
                  </a:cubicBezTo>
                  <a:cubicBezTo>
                    <a:pt x="3846" y="56077"/>
                    <a:pt x="4615" y="55496"/>
                    <a:pt x="4615" y="55496"/>
                  </a:cubicBezTo>
                  <a:cubicBezTo>
                    <a:pt x="5000" y="55205"/>
                    <a:pt x="4615" y="54624"/>
                    <a:pt x="4615" y="54624"/>
                  </a:cubicBezTo>
                  <a:cubicBezTo>
                    <a:pt x="5000" y="53753"/>
                    <a:pt x="5000" y="53753"/>
                    <a:pt x="5000" y="53753"/>
                  </a:cubicBezTo>
                  <a:cubicBezTo>
                    <a:pt x="4230" y="52881"/>
                    <a:pt x="4230" y="52881"/>
                    <a:pt x="4230" y="52881"/>
                  </a:cubicBezTo>
                  <a:cubicBezTo>
                    <a:pt x="4230" y="52009"/>
                    <a:pt x="4230" y="52009"/>
                    <a:pt x="4230" y="52009"/>
                  </a:cubicBezTo>
                  <a:cubicBezTo>
                    <a:pt x="3461" y="51138"/>
                    <a:pt x="3461" y="51138"/>
                    <a:pt x="3461" y="51138"/>
                  </a:cubicBezTo>
                  <a:cubicBezTo>
                    <a:pt x="3461" y="50847"/>
                    <a:pt x="3461" y="50847"/>
                    <a:pt x="3461" y="50847"/>
                  </a:cubicBezTo>
                  <a:cubicBezTo>
                    <a:pt x="3076" y="50266"/>
                    <a:pt x="3076" y="50266"/>
                    <a:pt x="3076" y="50266"/>
                  </a:cubicBezTo>
                  <a:cubicBezTo>
                    <a:pt x="3076" y="49685"/>
                    <a:pt x="3076" y="49685"/>
                    <a:pt x="3076" y="49685"/>
                  </a:cubicBezTo>
                  <a:cubicBezTo>
                    <a:pt x="3076" y="49685"/>
                    <a:pt x="2307" y="49104"/>
                    <a:pt x="1923" y="49104"/>
                  </a:cubicBezTo>
                  <a:cubicBezTo>
                    <a:pt x="1538" y="49104"/>
                    <a:pt x="1923" y="48813"/>
                    <a:pt x="1923" y="48813"/>
                  </a:cubicBezTo>
                  <a:cubicBezTo>
                    <a:pt x="1923" y="48232"/>
                    <a:pt x="1923" y="48232"/>
                    <a:pt x="1923" y="48232"/>
                  </a:cubicBezTo>
                  <a:cubicBezTo>
                    <a:pt x="1923" y="47360"/>
                    <a:pt x="1923" y="47360"/>
                    <a:pt x="1923" y="47360"/>
                  </a:cubicBezTo>
                  <a:cubicBezTo>
                    <a:pt x="3846" y="47651"/>
                    <a:pt x="3846" y="47651"/>
                    <a:pt x="3846" y="47651"/>
                  </a:cubicBezTo>
                  <a:cubicBezTo>
                    <a:pt x="4615" y="47651"/>
                    <a:pt x="4615" y="47651"/>
                    <a:pt x="4615" y="47651"/>
                  </a:cubicBezTo>
                  <a:cubicBezTo>
                    <a:pt x="3461" y="47070"/>
                    <a:pt x="3461" y="47070"/>
                    <a:pt x="3461" y="47070"/>
                  </a:cubicBezTo>
                  <a:cubicBezTo>
                    <a:pt x="4615" y="46779"/>
                    <a:pt x="4615" y="46779"/>
                    <a:pt x="4615" y="46779"/>
                  </a:cubicBezTo>
                  <a:cubicBezTo>
                    <a:pt x="5384" y="47360"/>
                    <a:pt x="5384" y="47360"/>
                    <a:pt x="5384" y="47360"/>
                  </a:cubicBezTo>
                  <a:cubicBezTo>
                    <a:pt x="6538" y="47651"/>
                    <a:pt x="6538" y="47651"/>
                    <a:pt x="6538" y="47651"/>
                  </a:cubicBezTo>
                  <a:cubicBezTo>
                    <a:pt x="6923" y="48232"/>
                    <a:pt x="6923" y="48232"/>
                    <a:pt x="6923" y="48232"/>
                  </a:cubicBezTo>
                  <a:cubicBezTo>
                    <a:pt x="7307" y="47651"/>
                    <a:pt x="7307" y="47651"/>
                    <a:pt x="7307" y="47651"/>
                  </a:cubicBezTo>
                  <a:cubicBezTo>
                    <a:pt x="8461" y="47651"/>
                    <a:pt x="8461" y="47651"/>
                    <a:pt x="8461" y="47651"/>
                  </a:cubicBezTo>
                  <a:cubicBezTo>
                    <a:pt x="8846" y="47651"/>
                    <a:pt x="8846" y="47651"/>
                    <a:pt x="8846" y="47651"/>
                  </a:cubicBezTo>
                  <a:cubicBezTo>
                    <a:pt x="10000" y="47360"/>
                    <a:pt x="10000" y="47360"/>
                    <a:pt x="10000" y="47360"/>
                  </a:cubicBezTo>
                  <a:cubicBezTo>
                    <a:pt x="11153" y="47360"/>
                    <a:pt x="11153" y="47360"/>
                    <a:pt x="11153" y="47360"/>
                  </a:cubicBezTo>
                  <a:cubicBezTo>
                    <a:pt x="11538" y="46779"/>
                    <a:pt x="11538" y="46779"/>
                    <a:pt x="11538" y="46779"/>
                  </a:cubicBezTo>
                  <a:cubicBezTo>
                    <a:pt x="12307" y="46489"/>
                    <a:pt x="12307" y="46489"/>
                    <a:pt x="12307" y="46489"/>
                  </a:cubicBezTo>
                  <a:cubicBezTo>
                    <a:pt x="12692" y="46198"/>
                    <a:pt x="12692" y="46198"/>
                    <a:pt x="12692" y="46198"/>
                  </a:cubicBezTo>
                  <a:cubicBezTo>
                    <a:pt x="11538" y="45617"/>
                    <a:pt x="11538" y="45617"/>
                    <a:pt x="11538" y="45617"/>
                  </a:cubicBezTo>
                  <a:cubicBezTo>
                    <a:pt x="10769" y="44745"/>
                    <a:pt x="10769" y="44745"/>
                    <a:pt x="10769" y="44745"/>
                  </a:cubicBezTo>
                  <a:cubicBezTo>
                    <a:pt x="11538" y="44745"/>
                    <a:pt x="11538" y="44745"/>
                    <a:pt x="11538" y="44745"/>
                  </a:cubicBezTo>
                  <a:cubicBezTo>
                    <a:pt x="11538" y="43874"/>
                    <a:pt x="11538" y="43874"/>
                    <a:pt x="11538" y="43874"/>
                  </a:cubicBezTo>
                  <a:cubicBezTo>
                    <a:pt x="11538" y="43874"/>
                    <a:pt x="13076" y="44164"/>
                    <a:pt x="13076" y="44164"/>
                  </a:cubicBezTo>
                  <a:cubicBezTo>
                    <a:pt x="13076" y="43874"/>
                    <a:pt x="13076" y="43874"/>
                    <a:pt x="13461" y="43583"/>
                  </a:cubicBezTo>
                  <a:cubicBezTo>
                    <a:pt x="13846" y="43583"/>
                    <a:pt x="14615" y="43292"/>
                    <a:pt x="14615" y="43292"/>
                  </a:cubicBezTo>
                  <a:cubicBezTo>
                    <a:pt x="15000" y="42711"/>
                    <a:pt x="15000" y="42711"/>
                    <a:pt x="15000" y="42711"/>
                  </a:cubicBezTo>
                  <a:cubicBezTo>
                    <a:pt x="15000" y="42711"/>
                    <a:pt x="15769" y="42421"/>
                    <a:pt x="15769" y="42421"/>
                  </a:cubicBezTo>
                  <a:cubicBezTo>
                    <a:pt x="16153" y="42421"/>
                    <a:pt x="15769" y="42130"/>
                    <a:pt x="15769" y="41840"/>
                  </a:cubicBezTo>
                  <a:cubicBezTo>
                    <a:pt x="15769" y="41549"/>
                    <a:pt x="15769" y="40968"/>
                    <a:pt x="15769" y="40968"/>
                  </a:cubicBezTo>
                  <a:cubicBezTo>
                    <a:pt x="16153" y="40387"/>
                    <a:pt x="16153" y="40387"/>
                    <a:pt x="16153" y="40387"/>
                  </a:cubicBezTo>
                  <a:cubicBezTo>
                    <a:pt x="15384" y="39225"/>
                    <a:pt x="15384" y="39225"/>
                    <a:pt x="15384" y="39225"/>
                  </a:cubicBezTo>
                  <a:cubicBezTo>
                    <a:pt x="14230" y="39515"/>
                    <a:pt x="14230" y="39515"/>
                    <a:pt x="14230" y="39515"/>
                  </a:cubicBezTo>
                  <a:cubicBezTo>
                    <a:pt x="13461" y="38934"/>
                    <a:pt x="13461" y="38934"/>
                    <a:pt x="13461" y="38934"/>
                  </a:cubicBezTo>
                  <a:cubicBezTo>
                    <a:pt x="13461" y="38934"/>
                    <a:pt x="12307" y="38934"/>
                    <a:pt x="12307" y="38644"/>
                  </a:cubicBezTo>
                  <a:cubicBezTo>
                    <a:pt x="11923" y="38353"/>
                    <a:pt x="11538" y="37772"/>
                    <a:pt x="11538" y="37772"/>
                  </a:cubicBezTo>
                  <a:cubicBezTo>
                    <a:pt x="11538" y="37191"/>
                    <a:pt x="11538" y="37191"/>
                    <a:pt x="11538" y="37191"/>
                  </a:cubicBezTo>
                  <a:cubicBezTo>
                    <a:pt x="12692" y="37191"/>
                    <a:pt x="12692" y="37191"/>
                    <a:pt x="12692" y="37191"/>
                  </a:cubicBezTo>
                  <a:cubicBezTo>
                    <a:pt x="11923" y="36900"/>
                    <a:pt x="11923" y="36900"/>
                    <a:pt x="11923" y="36900"/>
                  </a:cubicBezTo>
                  <a:cubicBezTo>
                    <a:pt x="11923" y="36029"/>
                    <a:pt x="11923" y="36029"/>
                    <a:pt x="11923" y="36029"/>
                  </a:cubicBezTo>
                  <a:cubicBezTo>
                    <a:pt x="13461" y="35738"/>
                    <a:pt x="13461" y="35738"/>
                    <a:pt x="13461" y="35738"/>
                  </a:cubicBezTo>
                  <a:cubicBezTo>
                    <a:pt x="13461" y="35738"/>
                    <a:pt x="15384" y="36319"/>
                    <a:pt x="15769" y="36319"/>
                  </a:cubicBezTo>
                  <a:cubicBezTo>
                    <a:pt x="16153" y="36610"/>
                    <a:pt x="16153" y="35447"/>
                    <a:pt x="16153" y="35447"/>
                  </a:cubicBezTo>
                  <a:cubicBezTo>
                    <a:pt x="16538" y="33995"/>
                    <a:pt x="16538" y="33995"/>
                    <a:pt x="16538" y="33995"/>
                  </a:cubicBezTo>
                  <a:cubicBezTo>
                    <a:pt x="16538" y="33995"/>
                    <a:pt x="16153" y="32832"/>
                    <a:pt x="16538" y="32542"/>
                  </a:cubicBezTo>
                  <a:cubicBezTo>
                    <a:pt x="16923" y="32542"/>
                    <a:pt x="18076" y="30799"/>
                    <a:pt x="18076" y="30799"/>
                  </a:cubicBezTo>
                  <a:cubicBezTo>
                    <a:pt x="18076" y="30799"/>
                    <a:pt x="18076" y="29055"/>
                    <a:pt x="18076" y="28765"/>
                  </a:cubicBezTo>
                  <a:cubicBezTo>
                    <a:pt x="18076" y="28474"/>
                    <a:pt x="18076" y="27312"/>
                    <a:pt x="18076" y="27312"/>
                  </a:cubicBezTo>
                  <a:cubicBezTo>
                    <a:pt x="18076" y="27021"/>
                    <a:pt x="18076" y="27021"/>
                    <a:pt x="18076" y="27021"/>
                  </a:cubicBezTo>
                  <a:cubicBezTo>
                    <a:pt x="18076" y="27021"/>
                    <a:pt x="16923" y="26731"/>
                    <a:pt x="16538" y="26731"/>
                  </a:cubicBezTo>
                  <a:cubicBezTo>
                    <a:pt x="16538" y="26440"/>
                    <a:pt x="16923" y="25859"/>
                    <a:pt x="16923" y="25859"/>
                  </a:cubicBezTo>
                  <a:cubicBezTo>
                    <a:pt x="15000" y="25569"/>
                    <a:pt x="15000" y="25569"/>
                    <a:pt x="15000" y="25569"/>
                  </a:cubicBezTo>
                  <a:cubicBezTo>
                    <a:pt x="15384" y="24697"/>
                    <a:pt x="15769" y="23244"/>
                    <a:pt x="16153" y="23244"/>
                  </a:cubicBezTo>
                  <a:cubicBezTo>
                    <a:pt x="16538" y="22953"/>
                    <a:pt x="17307" y="22372"/>
                    <a:pt x="17307" y="22372"/>
                  </a:cubicBezTo>
                  <a:cubicBezTo>
                    <a:pt x="17307" y="21210"/>
                    <a:pt x="17307" y="21210"/>
                    <a:pt x="17307" y="21210"/>
                  </a:cubicBezTo>
                  <a:cubicBezTo>
                    <a:pt x="16538" y="20338"/>
                    <a:pt x="16538" y="20338"/>
                    <a:pt x="16538" y="20338"/>
                  </a:cubicBezTo>
                  <a:cubicBezTo>
                    <a:pt x="17307" y="19467"/>
                    <a:pt x="17307" y="19467"/>
                    <a:pt x="17307" y="19467"/>
                  </a:cubicBezTo>
                  <a:cubicBezTo>
                    <a:pt x="17307" y="19467"/>
                    <a:pt x="18846" y="18886"/>
                    <a:pt x="18846" y="18886"/>
                  </a:cubicBezTo>
                  <a:cubicBezTo>
                    <a:pt x="19230" y="18886"/>
                    <a:pt x="21538" y="18886"/>
                    <a:pt x="21538" y="18886"/>
                  </a:cubicBezTo>
                  <a:cubicBezTo>
                    <a:pt x="23076" y="18305"/>
                    <a:pt x="23076" y="18305"/>
                    <a:pt x="23076" y="18305"/>
                  </a:cubicBezTo>
                  <a:cubicBezTo>
                    <a:pt x="25384" y="18305"/>
                    <a:pt x="25384" y="18305"/>
                    <a:pt x="25384" y="18305"/>
                  </a:cubicBezTo>
                  <a:cubicBezTo>
                    <a:pt x="26923" y="18014"/>
                    <a:pt x="26923" y="18014"/>
                    <a:pt x="26923" y="18014"/>
                  </a:cubicBezTo>
                  <a:cubicBezTo>
                    <a:pt x="28076" y="18595"/>
                    <a:pt x="28076" y="18595"/>
                    <a:pt x="28076" y="18595"/>
                  </a:cubicBezTo>
                  <a:cubicBezTo>
                    <a:pt x="28076" y="18595"/>
                    <a:pt x="28846" y="19176"/>
                    <a:pt x="28846" y="19467"/>
                  </a:cubicBezTo>
                  <a:cubicBezTo>
                    <a:pt x="28846" y="19467"/>
                    <a:pt x="29615" y="20048"/>
                    <a:pt x="29615" y="20338"/>
                  </a:cubicBezTo>
                  <a:cubicBezTo>
                    <a:pt x="29230" y="20338"/>
                    <a:pt x="30000" y="21210"/>
                    <a:pt x="30000" y="21210"/>
                  </a:cubicBezTo>
                  <a:cubicBezTo>
                    <a:pt x="30000" y="21210"/>
                    <a:pt x="29615" y="21791"/>
                    <a:pt x="29615" y="22082"/>
                  </a:cubicBezTo>
                  <a:cubicBezTo>
                    <a:pt x="29615" y="22082"/>
                    <a:pt x="30000" y="23244"/>
                    <a:pt x="30000" y="23244"/>
                  </a:cubicBezTo>
                  <a:cubicBezTo>
                    <a:pt x="30000" y="23535"/>
                    <a:pt x="30769" y="23825"/>
                    <a:pt x="30769" y="23825"/>
                  </a:cubicBezTo>
                  <a:cubicBezTo>
                    <a:pt x="31538" y="23535"/>
                    <a:pt x="31538" y="23535"/>
                    <a:pt x="31538" y="23535"/>
                  </a:cubicBezTo>
                  <a:cubicBezTo>
                    <a:pt x="31923" y="22953"/>
                    <a:pt x="31923" y="22953"/>
                    <a:pt x="31923" y="22953"/>
                  </a:cubicBezTo>
                  <a:cubicBezTo>
                    <a:pt x="31153" y="22082"/>
                    <a:pt x="31153" y="22082"/>
                    <a:pt x="31153" y="22082"/>
                  </a:cubicBezTo>
                  <a:cubicBezTo>
                    <a:pt x="30769" y="22082"/>
                    <a:pt x="30769" y="22082"/>
                    <a:pt x="30769" y="22082"/>
                  </a:cubicBezTo>
                  <a:cubicBezTo>
                    <a:pt x="31153" y="20920"/>
                    <a:pt x="31153" y="20920"/>
                    <a:pt x="31153" y="20920"/>
                  </a:cubicBezTo>
                  <a:cubicBezTo>
                    <a:pt x="31153" y="20920"/>
                    <a:pt x="31923" y="20629"/>
                    <a:pt x="32307" y="20920"/>
                  </a:cubicBezTo>
                  <a:cubicBezTo>
                    <a:pt x="32692" y="20920"/>
                    <a:pt x="33846" y="21791"/>
                    <a:pt x="33846" y="21791"/>
                  </a:cubicBezTo>
                  <a:cubicBezTo>
                    <a:pt x="34615" y="22082"/>
                    <a:pt x="34615" y="22082"/>
                    <a:pt x="34615" y="22082"/>
                  </a:cubicBezTo>
                  <a:cubicBezTo>
                    <a:pt x="34615" y="22082"/>
                    <a:pt x="35769" y="21501"/>
                    <a:pt x="35769" y="21501"/>
                  </a:cubicBezTo>
                  <a:cubicBezTo>
                    <a:pt x="35769" y="21501"/>
                    <a:pt x="34615" y="20338"/>
                    <a:pt x="34615" y="20338"/>
                  </a:cubicBezTo>
                  <a:cubicBezTo>
                    <a:pt x="35000" y="18886"/>
                    <a:pt x="35000" y="18886"/>
                    <a:pt x="35000" y="18886"/>
                  </a:cubicBezTo>
                  <a:cubicBezTo>
                    <a:pt x="35384" y="17723"/>
                    <a:pt x="35384" y="17723"/>
                    <a:pt x="35384" y="17723"/>
                  </a:cubicBezTo>
                  <a:cubicBezTo>
                    <a:pt x="36923" y="16852"/>
                    <a:pt x="36923" y="16852"/>
                    <a:pt x="36923" y="16852"/>
                  </a:cubicBezTo>
                  <a:cubicBezTo>
                    <a:pt x="38076" y="17433"/>
                    <a:pt x="38076" y="17433"/>
                    <a:pt x="38076" y="17433"/>
                  </a:cubicBezTo>
                  <a:cubicBezTo>
                    <a:pt x="40000" y="17433"/>
                    <a:pt x="40000" y="17433"/>
                    <a:pt x="40000" y="17433"/>
                  </a:cubicBezTo>
                  <a:cubicBezTo>
                    <a:pt x="41923" y="17433"/>
                    <a:pt x="41923" y="17433"/>
                    <a:pt x="41923" y="17433"/>
                  </a:cubicBezTo>
                  <a:cubicBezTo>
                    <a:pt x="43076" y="17142"/>
                    <a:pt x="43076" y="17142"/>
                    <a:pt x="43076" y="17142"/>
                  </a:cubicBezTo>
                  <a:cubicBezTo>
                    <a:pt x="44615" y="17142"/>
                    <a:pt x="44615" y="17142"/>
                    <a:pt x="44615" y="17142"/>
                  </a:cubicBezTo>
                  <a:cubicBezTo>
                    <a:pt x="44615" y="17142"/>
                    <a:pt x="43846" y="16561"/>
                    <a:pt x="43846" y="16561"/>
                  </a:cubicBezTo>
                  <a:cubicBezTo>
                    <a:pt x="43461" y="16561"/>
                    <a:pt x="42692" y="15980"/>
                    <a:pt x="42692" y="15980"/>
                  </a:cubicBezTo>
                  <a:cubicBezTo>
                    <a:pt x="42692" y="15980"/>
                    <a:pt x="42307" y="16561"/>
                    <a:pt x="42307" y="16561"/>
                  </a:cubicBezTo>
                  <a:cubicBezTo>
                    <a:pt x="41923" y="16852"/>
                    <a:pt x="40769" y="16852"/>
                    <a:pt x="40769" y="16561"/>
                  </a:cubicBezTo>
                  <a:cubicBezTo>
                    <a:pt x="40384" y="16561"/>
                    <a:pt x="40000" y="15690"/>
                    <a:pt x="40000" y="15690"/>
                  </a:cubicBezTo>
                  <a:cubicBezTo>
                    <a:pt x="40000" y="14818"/>
                    <a:pt x="40000" y="14818"/>
                    <a:pt x="40000" y="14818"/>
                  </a:cubicBezTo>
                  <a:cubicBezTo>
                    <a:pt x="40769" y="14527"/>
                    <a:pt x="40769" y="14527"/>
                    <a:pt x="40769" y="14527"/>
                  </a:cubicBezTo>
                  <a:cubicBezTo>
                    <a:pt x="39615" y="13656"/>
                    <a:pt x="39615" y="13656"/>
                    <a:pt x="39615" y="13656"/>
                  </a:cubicBezTo>
                  <a:cubicBezTo>
                    <a:pt x="39615" y="13656"/>
                    <a:pt x="39615" y="12784"/>
                    <a:pt x="40000" y="12493"/>
                  </a:cubicBezTo>
                  <a:cubicBezTo>
                    <a:pt x="40384" y="12493"/>
                    <a:pt x="40384" y="11912"/>
                    <a:pt x="40384" y="11912"/>
                  </a:cubicBezTo>
                  <a:cubicBezTo>
                    <a:pt x="39230" y="11912"/>
                    <a:pt x="39230" y="11912"/>
                    <a:pt x="39230" y="11912"/>
                  </a:cubicBezTo>
                  <a:cubicBezTo>
                    <a:pt x="39230" y="11912"/>
                    <a:pt x="38846" y="11912"/>
                    <a:pt x="38846" y="11331"/>
                  </a:cubicBezTo>
                  <a:cubicBezTo>
                    <a:pt x="39230" y="10750"/>
                    <a:pt x="39230" y="10460"/>
                    <a:pt x="39230" y="10460"/>
                  </a:cubicBezTo>
                  <a:cubicBezTo>
                    <a:pt x="37692" y="10460"/>
                    <a:pt x="37692" y="10460"/>
                    <a:pt x="37692" y="10460"/>
                  </a:cubicBezTo>
                  <a:cubicBezTo>
                    <a:pt x="36923" y="10460"/>
                    <a:pt x="36923" y="10460"/>
                    <a:pt x="36923" y="10460"/>
                  </a:cubicBezTo>
                  <a:cubicBezTo>
                    <a:pt x="35769" y="9588"/>
                    <a:pt x="35769" y="9588"/>
                    <a:pt x="35769" y="9588"/>
                  </a:cubicBezTo>
                  <a:cubicBezTo>
                    <a:pt x="36153" y="8716"/>
                    <a:pt x="36153" y="8716"/>
                    <a:pt x="36153" y="8716"/>
                  </a:cubicBezTo>
                  <a:cubicBezTo>
                    <a:pt x="38461" y="8426"/>
                    <a:pt x="38461" y="8426"/>
                    <a:pt x="38461" y="8426"/>
                  </a:cubicBezTo>
                  <a:cubicBezTo>
                    <a:pt x="41153" y="7554"/>
                    <a:pt x="41153" y="7554"/>
                    <a:pt x="41153" y="7554"/>
                  </a:cubicBezTo>
                  <a:cubicBezTo>
                    <a:pt x="40769" y="6973"/>
                    <a:pt x="40769" y="6973"/>
                    <a:pt x="40769" y="6973"/>
                  </a:cubicBezTo>
                  <a:cubicBezTo>
                    <a:pt x="40000" y="7263"/>
                    <a:pt x="40000" y="7263"/>
                    <a:pt x="40000" y="7263"/>
                  </a:cubicBezTo>
                  <a:cubicBezTo>
                    <a:pt x="40000" y="7263"/>
                    <a:pt x="39615" y="7554"/>
                    <a:pt x="39615" y="7554"/>
                  </a:cubicBezTo>
                  <a:cubicBezTo>
                    <a:pt x="39230" y="7554"/>
                    <a:pt x="38461" y="7554"/>
                    <a:pt x="38461" y="7554"/>
                  </a:cubicBezTo>
                  <a:cubicBezTo>
                    <a:pt x="38461" y="6973"/>
                    <a:pt x="38461" y="6973"/>
                    <a:pt x="38461" y="6973"/>
                  </a:cubicBezTo>
                  <a:cubicBezTo>
                    <a:pt x="39615" y="6973"/>
                    <a:pt x="39615" y="6973"/>
                    <a:pt x="39615" y="6973"/>
                  </a:cubicBezTo>
                  <a:cubicBezTo>
                    <a:pt x="40384" y="6682"/>
                    <a:pt x="40384" y="6682"/>
                    <a:pt x="40384" y="6682"/>
                  </a:cubicBezTo>
                  <a:cubicBezTo>
                    <a:pt x="39615" y="6392"/>
                    <a:pt x="39615" y="6392"/>
                    <a:pt x="39615" y="6392"/>
                  </a:cubicBezTo>
                  <a:cubicBezTo>
                    <a:pt x="38461" y="5230"/>
                    <a:pt x="38461" y="5230"/>
                    <a:pt x="38461" y="5230"/>
                  </a:cubicBezTo>
                  <a:cubicBezTo>
                    <a:pt x="38076" y="4358"/>
                    <a:pt x="38076" y="4358"/>
                    <a:pt x="38076" y="4358"/>
                  </a:cubicBezTo>
                  <a:cubicBezTo>
                    <a:pt x="37307" y="4067"/>
                    <a:pt x="37307" y="4067"/>
                    <a:pt x="37307" y="4067"/>
                  </a:cubicBezTo>
                  <a:cubicBezTo>
                    <a:pt x="36538" y="3486"/>
                    <a:pt x="36538" y="3486"/>
                    <a:pt x="36538" y="3486"/>
                  </a:cubicBezTo>
                  <a:cubicBezTo>
                    <a:pt x="36538" y="2615"/>
                    <a:pt x="36538" y="2615"/>
                    <a:pt x="36538" y="2615"/>
                  </a:cubicBezTo>
                  <a:cubicBezTo>
                    <a:pt x="36153" y="290"/>
                    <a:pt x="36153" y="290"/>
                    <a:pt x="36153" y="290"/>
                  </a:cubicBezTo>
                  <a:cubicBezTo>
                    <a:pt x="37307" y="290"/>
                    <a:pt x="37307" y="290"/>
                    <a:pt x="37307" y="290"/>
                  </a:cubicBezTo>
                  <a:cubicBezTo>
                    <a:pt x="38076" y="0"/>
                    <a:pt x="38076" y="0"/>
                    <a:pt x="38076" y="0"/>
                  </a:cubicBezTo>
                  <a:cubicBezTo>
                    <a:pt x="38076" y="0"/>
                    <a:pt x="40000" y="581"/>
                    <a:pt x="40384" y="581"/>
                  </a:cubicBezTo>
                  <a:cubicBezTo>
                    <a:pt x="40769" y="581"/>
                    <a:pt x="41538" y="871"/>
                    <a:pt x="41538" y="871"/>
                  </a:cubicBezTo>
                  <a:cubicBezTo>
                    <a:pt x="43076" y="1452"/>
                    <a:pt x="43076" y="1452"/>
                    <a:pt x="43076" y="1452"/>
                  </a:cubicBezTo>
                  <a:cubicBezTo>
                    <a:pt x="44230" y="1743"/>
                    <a:pt x="44230" y="1743"/>
                    <a:pt x="44230" y="1743"/>
                  </a:cubicBezTo>
                  <a:cubicBezTo>
                    <a:pt x="44230" y="1743"/>
                    <a:pt x="44615" y="1743"/>
                    <a:pt x="44615" y="1743"/>
                  </a:cubicBezTo>
                  <a:cubicBezTo>
                    <a:pt x="45000" y="1743"/>
                    <a:pt x="45769" y="1452"/>
                    <a:pt x="45769" y="1452"/>
                  </a:cubicBezTo>
                  <a:cubicBezTo>
                    <a:pt x="45769" y="1452"/>
                    <a:pt x="46923" y="871"/>
                    <a:pt x="47307" y="871"/>
                  </a:cubicBezTo>
                  <a:cubicBezTo>
                    <a:pt x="47307" y="581"/>
                    <a:pt x="47692" y="581"/>
                    <a:pt x="47692" y="581"/>
                  </a:cubicBezTo>
                  <a:cubicBezTo>
                    <a:pt x="48461" y="1743"/>
                    <a:pt x="48461" y="1743"/>
                    <a:pt x="48461" y="1743"/>
                  </a:cubicBezTo>
                  <a:cubicBezTo>
                    <a:pt x="49230" y="1162"/>
                    <a:pt x="49230" y="1162"/>
                    <a:pt x="49230" y="1162"/>
                  </a:cubicBezTo>
                  <a:cubicBezTo>
                    <a:pt x="49615" y="581"/>
                    <a:pt x="49615" y="581"/>
                    <a:pt x="49615" y="581"/>
                  </a:cubicBezTo>
                  <a:cubicBezTo>
                    <a:pt x="52692" y="3196"/>
                    <a:pt x="52692" y="3196"/>
                    <a:pt x="52692" y="3196"/>
                  </a:cubicBezTo>
                  <a:cubicBezTo>
                    <a:pt x="53076" y="4358"/>
                    <a:pt x="53076" y="4358"/>
                    <a:pt x="53076" y="4358"/>
                  </a:cubicBezTo>
                  <a:cubicBezTo>
                    <a:pt x="53076" y="4358"/>
                    <a:pt x="53076" y="5230"/>
                    <a:pt x="53076" y="5230"/>
                  </a:cubicBezTo>
                  <a:cubicBezTo>
                    <a:pt x="52692" y="5230"/>
                    <a:pt x="52307" y="6392"/>
                    <a:pt x="52307" y="6392"/>
                  </a:cubicBezTo>
                  <a:cubicBezTo>
                    <a:pt x="52307" y="7263"/>
                    <a:pt x="52307" y="7263"/>
                    <a:pt x="52307" y="7263"/>
                  </a:cubicBezTo>
                  <a:cubicBezTo>
                    <a:pt x="53076" y="7554"/>
                    <a:pt x="53076" y="7554"/>
                    <a:pt x="53076" y="7554"/>
                  </a:cubicBezTo>
                  <a:cubicBezTo>
                    <a:pt x="54230" y="7554"/>
                    <a:pt x="54230" y="7554"/>
                    <a:pt x="54230" y="7554"/>
                  </a:cubicBezTo>
                  <a:cubicBezTo>
                    <a:pt x="55000" y="8135"/>
                    <a:pt x="55000" y="8135"/>
                    <a:pt x="55000" y="8135"/>
                  </a:cubicBezTo>
                  <a:cubicBezTo>
                    <a:pt x="55384" y="8426"/>
                    <a:pt x="55384" y="8426"/>
                    <a:pt x="55384" y="8426"/>
                  </a:cubicBezTo>
                  <a:cubicBezTo>
                    <a:pt x="56538" y="8426"/>
                    <a:pt x="56538" y="8426"/>
                    <a:pt x="56538" y="8426"/>
                  </a:cubicBezTo>
                  <a:cubicBezTo>
                    <a:pt x="56923" y="8135"/>
                    <a:pt x="56923" y="8135"/>
                    <a:pt x="56923" y="8135"/>
                  </a:cubicBezTo>
                  <a:cubicBezTo>
                    <a:pt x="58461" y="8426"/>
                    <a:pt x="58461" y="8426"/>
                    <a:pt x="58461" y="8426"/>
                  </a:cubicBezTo>
                  <a:cubicBezTo>
                    <a:pt x="59615" y="9007"/>
                    <a:pt x="59615" y="9007"/>
                    <a:pt x="59615" y="9007"/>
                  </a:cubicBezTo>
                  <a:cubicBezTo>
                    <a:pt x="60769" y="9588"/>
                    <a:pt x="60769" y="9588"/>
                    <a:pt x="60769" y="9588"/>
                  </a:cubicBezTo>
                  <a:cubicBezTo>
                    <a:pt x="62692" y="10169"/>
                    <a:pt x="62692" y="10169"/>
                    <a:pt x="62692" y="10169"/>
                  </a:cubicBezTo>
                  <a:cubicBezTo>
                    <a:pt x="63076" y="9297"/>
                    <a:pt x="63076" y="9297"/>
                    <a:pt x="63076" y="9297"/>
                  </a:cubicBezTo>
                  <a:cubicBezTo>
                    <a:pt x="63461" y="9007"/>
                    <a:pt x="63461" y="9007"/>
                    <a:pt x="63461" y="9007"/>
                  </a:cubicBezTo>
                  <a:cubicBezTo>
                    <a:pt x="64615" y="9007"/>
                    <a:pt x="64615" y="9007"/>
                    <a:pt x="64615" y="9007"/>
                  </a:cubicBezTo>
                  <a:cubicBezTo>
                    <a:pt x="65384" y="8716"/>
                    <a:pt x="65384" y="8716"/>
                    <a:pt x="65384" y="8716"/>
                  </a:cubicBezTo>
                  <a:cubicBezTo>
                    <a:pt x="65769" y="8426"/>
                    <a:pt x="65769" y="8426"/>
                    <a:pt x="65769" y="8426"/>
                  </a:cubicBezTo>
                  <a:cubicBezTo>
                    <a:pt x="64615" y="7554"/>
                    <a:pt x="64615" y="7554"/>
                    <a:pt x="64615" y="7554"/>
                  </a:cubicBezTo>
                  <a:cubicBezTo>
                    <a:pt x="64615" y="6682"/>
                    <a:pt x="64615" y="6682"/>
                    <a:pt x="64615" y="6682"/>
                  </a:cubicBezTo>
                  <a:cubicBezTo>
                    <a:pt x="64615" y="6682"/>
                    <a:pt x="65384" y="6101"/>
                    <a:pt x="65384" y="6101"/>
                  </a:cubicBezTo>
                  <a:cubicBezTo>
                    <a:pt x="65769" y="6101"/>
                    <a:pt x="67307" y="6392"/>
                    <a:pt x="67307" y="6392"/>
                  </a:cubicBezTo>
                  <a:cubicBezTo>
                    <a:pt x="67692" y="7263"/>
                    <a:pt x="67692" y="7263"/>
                    <a:pt x="67692" y="7263"/>
                  </a:cubicBezTo>
                  <a:cubicBezTo>
                    <a:pt x="68076" y="8135"/>
                    <a:pt x="68076" y="8135"/>
                    <a:pt x="68076" y="8135"/>
                  </a:cubicBezTo>
                  <a:cubicBezTo>
                    <a:pt x="66538" y="8426"/>
                    <a:pt x="66538" y="8426"/>
                    <a:pt x="66538" y="8426"/>
                  </a:cubicBezTo>
                  <a:cubicBezTo>
                    <a:pt x="66153" y="9007"/>
                    <a:pt x="66153" y="9007"/>
                    <a:pt x="66153" y="9007"/>
                  </a:cubicBezTo>
                  <a:cubicBezTo>
                    <a:pt x="66153" y="10169"/>
                    <a:pt x="66153" y="10169"/>
                    <a:pt x="66153" y="10169"/>
                  </a:cubicBezTo>
                  <a:cubicBezTo>
                    <a:pt x="66153" y="11331"/>
                    <a:pt x="66153" y="11331"/>
                    <a:pt x="66153" y="11331"/>
                  </a:cubicBezTo>
                  <a:cubicBezTo>
                    <a:pt x="66153" y="11331"/>
                    <a:pt x="66153" y="11912"/>
                    <a:pt x="65769" y="11912"/>
                  </a:cubicBezTo>
                  <a:cubicBezTo>
                    <a:pt x="65384" y="12203"/>
                    <a:pt x="64615" y="12203"/>
                    <a:pt x="64615" y="12203"/>
                  </a:cubicBezTo>
                  <a:cubicBezTo>
                    <a:pt x="64615" y="12784"/>
                    <a:pt x="64615" y="12784"/>
                    <a:pt x="64615" y="12784"/>
                  </a:cubicBezTo>
                  <a:cubicBezTo>
                    <a:pt x="63461" y="13365"/>
                    <a:pt x="63461" y="13365"/>
                    <a:pt x="63461" y="13365"/>
                  </a:cubicBezTo>
                  <a:cubicBezTo>
                    <a:pt x="62307" y="13365"/>
                    <a:pt x="62307" y="13365"/>
                    <a:pt x="62307" y="13365"/>
                  </a:cubicBezTo>
                  <a:cubicBezTo>
                    <a:pt x="61923" y="13656"/>
                    <a:pt x="61923" y="13656"/>
                    <a:pt x="61923" y="13656"/>
                  </a:cubicBezTo>
                  <a:cubicBezTo>
                    <a:pt x="62307" y="14527"/>
                    <a:pt x="62307" y="14527"/>
                    <a:pt x="62307" y="14527"/>
                  </a:cubicBezTo>
                  <a:cubicBezTo>
                    <a:pt x="63076" y="15108"/>
                    <a:pt x="63076" y="15108"/>
                    <a:pt x="63076" y="15108"/>
                  </a:cubicBezTo>
                  <a:cubicBezTo>
                    <a:pt x="64230" y="15399"/>
                    <a:pt x="64230" y="15399"/>
                    <a:pt x="64230" y="15399"/>
                  </a:cubicBezTo>
                  <a:cubicBezTo>
                    <a:pt x="65000" y="15108"/>
                    <a:pt x="65000" y="15108"/>
                    <a:pt x="65000" y="15108"/>
                  </a:cubicBezTo>
                  <a:cubicBezTo>
                    <a:pt x="65384" y="14527"/>
                    <a:pt x="65384" y="14527"/>
                    <a:pt x="65384" y="14527"/>
                  </a:cubicBezTo>
                  <a:cubicBezTo>
                    <a:pt x="66538" y="14237"/>
                    <a:pt x="66538" y="14237"/>
                    <a:pt x="66538" y="14237"/>
                  </a:cubicBezTo>
                  <a:cubicBezTo>
                    <a:pt x="68076" y="14818"/>
                    <a:pt x="68076" y="14818"/>
                    <a:pt x="68076" y="14818"/>
                  </a:cubicBezTo>
                  <a:cubicBezTo>
                    <a:pt x="68461" y="15399"/>
                    <a:pt x="68461" y="15399"/>
                    <a:pt x="68461" y="15399"/>
                  </a:cubicBezTo>
                  <a:cubicBezTo>
                    <a:pt x="68461" y="15399"/>
                    <a:pt x="70000" y="15399"/>
                    <a:pt x="70000" y="15399"/>
                  </a:cubicBezTo>
                  <a:cubicBezTo>
                    <a:pt x="70000" y="15399"/>
                    <a:pt x="70384" y="14527"/>
                    <a:pt x="70384" y="14527"/>
                  </a:cubicBezTo>
                  <a:cubicBezTo>
                    <a:pt x="70384" y="14527"/>
                    <a:pt x="70769" y="13946"/>
                    <a:pt x="71153" y="13946"/>
                  </a:cubicBezTo>
                  <a:cubicBezTo>
                    <a:pt x="71538" y="13946"/>
                    <a:pt x="71923" y="13365"/>
                    <a:pt x="72307" y="13365"/>
                  </a:cubicBezTo>
                  <a:cubicBezTo>
                    <a:pt x="72307" y="13075"/>
                    <a:pt x="72692" y="12493"/>
                    <a:pt x="72692" y="12493"/>
                  </a:cubicBezTo>
                  <a:cubicBezTo>
                    <a:pt x="72692" y="12493"/>
                    <a:pt x="73461" y="12203"/>
                    <a:pt x="73846" y="12203"/>
                  </a:cubicBezTo>
                  <a:cubicBezTo>
                    <a:pt x="74230" y="12203"/>
                    <a:pt x="76538" y="11912"/>
                    <a:pt x="76538" y="11912"/>
                  </a:cubicBezTo>
                  <a:cubicBezTo>
                    <a:pt x="76538" y="11912"/>
                    <a:pt x="78076" y="11622"/>
                    <a:pt x="78461" y="11331"/>
                  </a:cubicBezTo>
                  <a:cubicBezTo>
                    <a:pt x="78461" y="11331"/>
                    <a:pt x="80000" y="10460"/>
                    <a:pt x="80000" y="10460"/>
                  </a:cubicBezTo>
                  <a:cubicBezTo>
                    <a:pt x="80384" y="9588"/>
                    <a:pt x="80384" y="9588"/>
                    <a:pt x="80384" y="9588"/>
                  </a:cubicBezTo>
                  <a:cubicBezTo>
                    <a:pt x="81538" y="8716"/>
                    <a:pt x="81538" y="8716"/>
                    <a:pt x="81538" y="8716"/>
                  </a:cubicBezTo>
                  <a:cubicBezTo>
                    <a:pt x="81538" y="8716"/>
                    <a:pt x="81923" y="8716"/>
                    <a:pt x="81923" y="8426"/>
                  </a:cubicBezTo>
                  <a:cubicBezTo>
                    <a:pt x="81923" y="8135"/>
                    <a:pt x="82307" y="7263"/>
                    <a:pt x="82307" y="7263"/>
                  </a:cubicBezTo>
                  <a:cubicBezTo>
                    <a:pt x="83076" y="6973"/>
                    <a:pt x="83076" y="6973"/>
                    <a:pt x="83076" y="6973"/>
                  </a:cubicBezTo>
                  <a:cubicBezTo>
                    <a:pt x="83076" y="6973"/>
                    <a:pt x="83846" y="7263"/>
                    <a:pt x="83846" y="7554"/>
                  </a:cubicBezTo>
                  <a:cubicBezTo>
                    <a:pt x="83846" y="7554"/>
                    <a:pt x="83461" y="8135"/>
                    <a:pt x="83461" y="8135"/>
                  </a:cubicBezTo>
                  <a:cubicBezTo>
                    <a:pt x="83461" y="8135"/>
                    <a:pt x="82692" y="8426"/>
                    <a:pt x="82307" y="8716"/>
                  </a:cubicBezTo>
                  <a:cubicBezTo>
                    <a:pt x="82307" y="8716"/>
                    <a:pt x="82307" y="9297"/>
                    <a:pt x="82307" y="9297"/>
                  </a:cubicBezTo>
                  <a:cubicBezTo>
                    <a:pt x="83076" y="8716"/>
                    <a:pt x="83076" y="8716"/>
                    <a:pt x="83076" y="8716"/>
                  </a:cubicBezTo>
                  <a:cubicBezTo>
                    <a:pt x="83076" y="8716"/>
                    <a:pt x="83461" y="8426"/>
                    <a:pt x="83461" y="8426"/>
                  </a:cubicBezTo>
                  <a:cubicBezTo>
                    <a:pt x="83461" y="8426"/>
                    <a:pt x="85000" y="8135"/>
                    <a:pt x="85000" y="8135"/>
                  </a:cubicBezTo>
                  <a:cubicBezTo>
                    <a:pt x="85000" y="8135"/>
                    <a:pt x="85769" y="8426"/>
                    <a:pt x="85769" y="8426"/>
                  </a:cubicBezTo>
                  <a:cubicBezTo>
                    <a:pt x="85769" y="8426"/>
                    <a:pt x="86538" y="8716"/>
                    <a:pt x="86538" y="8716"/>
                  </a:cubicBezTo>
                  <a:cubicBezTo>
                    <a:pt x="88076" y="8426"/>
                    <a:pt x="88076" y="8426"/>
                    <a:pt x="88076" y="8426"/>
                  </a:cubicBezTo>
                  <a:cubicBezTo>
                    <a:pt x="88076" y="7845"/>
                    <a:pt x="88076" y="7845"/>
                    <a:pt x="88076" y="7845"/>
                  </a:cubicBezTo>
                  <a:cubicBezTo>
                    <a:pt x="88076" y="7845"/>
                    <a:pt x="88076" y="7554"/>
                    <a:pt x="88461" y="7554"/>
                  </a:cubicBezTo>
                  <a:cubicBezTo>
                    <a:pt x="88846" y="7263"/>
                    <a:pt x="89615" y="6973"/>
                    <a:pt x="89615" y="6973"/>
                  </a:cubicBezTo>
                  <a:cubicBezTo>
                    <a:pt x="89615" y="6973"/>
                    <a:pt x="89615" y="6392"/>
                    <a:pt x="89615" y="6101"/>
                  </a:cubicBezTo>
                  <a:cubicBezTo>
                    <a:pt x="89615" y="6101"/>
                    <a:pt x="90000" y="5520"/>
                    <a:pt x="90000" y="5520"/>
                  </a:cubicBezTo>
                  <a:cubicBezTo>
                    <a:pt x="90000" y="5520"/>
                    <a:pt x="90000" y="5520"/>
                    <a:pt x="90000" y="5520"/>
                  </a:cubicBezTo>
                  <a:cubicBezTo>
                    <a:pt x="90000" y="5520"/>
                    <a:pt x="90769" y="5230"/>
                    <a:pt x="90769" y="5230"/>
                  </a:cubicBezTo>
                  <a:cubicBezTo>
                    <a:pt x="90769" y="5230"/>
                    <a:pt x="91153" y="4358"/>
                    <a:pt x="91153" y="4358"/>
                  </a:cubicBezTo>
                  <a:cubicBezTo>
                    <a:pt x="91153" y="4358"/>
                    <a:pt x="91153" y="4067"/>
                    <a:pt x="91538" y="4067"/>
                  </a:cubicBezTo>
                  <a:cubicBezTo>
                    <a:pt x="91538" y="4067"/>
                    <a:pt x="92307" y="3486"/>
                    <a:pt x="92307" y="3486"/>
                  </a:cubicBezTo>
                  <a:cubicBezTo>
                    <a:pt x="92692" y="3196"/>
                    <a:pt x="92692" y="3196"/>
                    <a:pt x="93076" y="3196"/>
                  </a:cubicBezTo>
                  <a:cubicBezTo>
                    <a:pt x="93076" y="3196"/>
                    <a:pt x="93461" y="3777"/>
                    <a:pt x="93461" y="3777"/>
                  </a:cubicBezTo>
                  <a:cubicBezTo>
                    <a:pt x="93461" y="3777"/>
                    <a:pt x="93461" y="4067"/>
                    <a:pt x="93076" y="4358"/>
                  </a:cubicBezTo>
                  <a:cubicBezTo>
                    <a:pt x="92692" y="4358"/>
                    <a:pt x="92307" y="4648"/>
                    <a:pt x="92307" y="4648"/>
                  </a:cubicBezTo>
                  <a:cubicBezTo>
                    <a:pt x="92307" y="4648"/>
                    <a:pt x="93076" y="5230"/>
                    <a:pt x="93076" y="5230"/>
                  </a:cubicBezTo>
                  <a:cubicBezTo>
                    <a:pt x="93076" y="5230"/>
                    <a:pt x="93461" y="5520"/>
                    <a:pt x="93461" y="5520"/>
                  </a:cubicBezTo>
                  <a:cubicBezTo>
                    <a:pt x="93461" y="5811"/>
                    <a:pt x="93076" y="6101"/>
                    <a:pt x="93076" y="6101"/>
                  </a:cubicBezTo>
                  <a:cubicBezTo>
                    <a:pt x="93461" y="6101"/>
                    <a:pt x="94615" y="5811"/>
                    <a:pt x="94615" y="5811"/>
                  </a:cubicBezTo>
                  <a:cubicBezTo>
                    <a:pt x="94615" y="5811"/>
                    <a:pt x="94615" y="5230"/>
                    <a:pt x="94615" y="5230"/>
                  </a:cubicBezTo>
                  <a:cubicBezTo>
                    <a:pt x="94615" y="5230"/>
                    <a:pt x="95384" y="4648"/>
                    <a:pt x="95384" y="4648"/>
                  </a:cubicBezTo>
                  <a:cubicBezTo>
                    <a:pt x="95769" y="4648"/>
                    <a:pt x="96538" y="4939"/>
                    <a:pt x="96538" y="4939"/>
                  </a:cubicBezTo>
                  <a:cubicBezTo>
                    <a:pt x="96538" y="4939"/>
                    <a:pt x="96538" y="5230"/>
                    <a:pt x="96538" y="5520"/>
                  </a:cubicBezTo>
                  <a:cubicBezTo>
                    <a:pt x="96153" y="5520"/>
                    <a:pt x="95384" y="6101"/>
                    <a:pt x="95384" y="6101"/>
                  </a:cubicBezTo>
                  <a:cubicBezTo>
                    <a:pt x="95384" y="6392"/>
                    <a:pt x="95000" y="6392"/>
                    <a:pt x="95384" y="6392"/>
                  </a:cubicBezTo>
                  <a:cubicBezTo>
                    <a:pt x="95384" y="6682"/>
                    <a:pt x="96153" y="7263"/>
                    <a:pt x="96153" y="7263"/>
                  </a:cubicBezTo>
                  <a:cubicBezTo>
                    <a:pt x="97307" y="7845"/>
                    <a:pt x="97307" y="7845"/>
                    <a:pt x="97307" y="7845"/>
                  </a:cubicBezTo>
                  <a:cubicBezTo>
                    <a:pt x="97307" y="7845"/>
                    <a:pt x="97307" y="8135"/>
                    <a:pt x="97307" y="8426"/>
                  </a:cubicBezTo>
                  <a:cubicBezTo>
                    <a:pt x="97307" y="8426"/>
                    <a:pt x="95384" y="8426"/>
                    <a:pt x="95384" y="8426"/>
                  </a:cubicBezTo>
                  <a:cubicBezTo>
                    <a:pt x="95384" y="8426"/>
                    <a:pt x="95384" y="8426"/>
                    <a:pt x="95000" y="8716"/>
                  </a:cubicBezTo>
                  <a:cubicBezTo>
                    <a:pt x="95000" y="8716"/>
                    <a:pt x="94615" y="9007"/>
                    <a:pt x="93846" y="9297"/>
                  </a:cubicBezTo>
                  <a:cubicBezTo>
                    <a:pt x="93076" y="9297"/>
                    <a:pt x="93076" y="9297"/>
                    <a:pt x="93076" y="9588"/>
                  </a:cubicBezTo>
                  <a:cubicBezTo>
                    <a:pt x="93076" y="9878"/>
                    <a:pt x="92692" y="10169"/>
                    <a:pt x="93076" y="10460"/>
                  </a:cubicBezTo>
                  <a:cubicBezTo>
                    <a:pt x="93461" y="10750"/>
                    <a:pt x="94230" y="11041"/>
                    <a:pt x="94230" y="11041"/>
                  </a:cubicBezTo>
                  <a:cubicBezTo>
                    <a:pt x="94230" y="11041"/>
                    <a:pt x="96153" y="11622"/>
                    <a:pt x="96153" y="11331"/>
                  </a:cubicBezTo>
                  <a:cubicBezTo>
                    <a:pt x="96153" y="11331"/>
                    <a:pt x="98846" y="11331"/>
                    <a:pt x="98846" y="11331"/>
                  </a:cubicBezTo>
                  <a:cubicBezTo>
                    <a:pt x="100000" y="11331"/>
                    <a:pt x="100000" y="11331"/>
                    <a:pt x="100000" y="11331"/>
                  </a:cubicBezTo>
                  <a:cubicBezTo>
                    <a:pt x="100000" y="11331"/>
                    <a:pt x="100384" y="11912"/>
                    <a:pt x="100769" y="12203"/>
                  </a:cubicBezTo>
                  <a:cubicBezTo>
                    <a:pt x="100769" y="12203"/>
                    <a:pt x="102307" y="13075"/>
                    <a:pt x="102307" y="13075"/>
                  </a:cubicBezTo>
                  <a:cubicBezTo>
                    <a:pt x="103076" y="13075"/>
                    <a:pt x="103076" y="13075"/>
                    <a:pt x="103076" y="13075"/>
                  </a:cubicBezTo>
                  <a:cubicBezTo>
                    <a:pt x="103461" y="14237"/>
                    <a:pt x="103461" y="14237"/>
                    <a:pt x="103461" y="14237"/>
                  </a:cubicBezTo>
                  <a:cubicBezTo>
                    <a:pt x="103076" y="15108"/>
                    <a:pt x="103076" y="15108"/>
                    <a:pt x="103076" y="15108"/>
                  </a:cubicBezTo>
                  <a:cubicBezTo>
                    <a:pt x="101923" y="15399"/>
                    <a:pt x="101923" y="15399"/>
                    <a:pt x="101923" y="15399"/>
                  </a:cubicBezTo>
                  <a:cubicBezTo>
                    <a:pt x="100384" y="16271"/>
                    <a:pt x="100384" y="16271"/>
                    <a:pt x="100384" y="16271"/>
                  </a:cubicBezTo>
                  <a:cubicBezTo>
                    <a:pt x="99615" y="15980"/>
                    <a:pt x="99615" y="15980"/>
                    <a:pt x="99615" y="15980"/>
                  </a:cubicBezTo>
                  <a:cubicBezTo>
                    <a:pt x="99615" y="15980"/>
                    <a:pt x="100384" y="16561"/>
                    <a:pt x="100769" y="16561"/>
                  </a:cubicBezTo>
                  <a:cubicBezTo>
                    <a:pt x="101153" y="16561"/>
                    <a:pt x="101538" y="16852"/>
                    <a:pt x="101538" y="16852"/>
                  </a:cubicBezTo>
                  <a:cubicBezTo>
                    <a:pt x="101923" y="16852"/>
                    <a:pt x="103461" y="16852"/>
                    <a:pt x="105000" y="16852"/>
                  </a:cubicBezTo>
                  <a:cubicBezTo>
                    <a:pt x="105000" y="17142"/>
                    <a:pt x="105000" y="17142"/>
                    <a:pt x="105000" y="17433"/>
                  </a:cubicBezTo>
                  <a:cubicBezTo>
                    <a:pt x="105384" y="17723"/>
                    <a:pt x="105769" y="18886"/>
                    <a:pt x="105769" y="19176"/>
                  </a:cubicBezTo>
                  <a:cubicBezTo>
                    <a:pt x="105769" y="19176"/>
                    <a:pt x="106153" y="20338"/>
                    <a:pt x="106923" y="21210"/>
                  </a:cubicBezTo>
                  <a:cubicBezTo>
                    <a:pt x="108076" y="22372"/>
                    <a:pt x="107692" y="22663"/>
                    <a:pt x="107692" y="22663"/>
                  </a:cubicBezTo>
                  <a:cubicBezTo>
                    <a:pt x="107692" y="25278"/>
                    <a:pt x="107692" y="25278"/>
                    <a:pt x="107692" y="25278"/>
                  </a:cubicBezTo>
                  <a:cubicBezTo>
                    <a:pt x="107692" y="27602"/>
                    <a:pt x="107692" y="27602"/>
                    <a:pt x="107692" y="27602"/>
                  </a:cubicBezTo>
                  <a:cubicBezTo>
                    <a:pt x="105769" y="28765"/>
                    <a:pt x="105769" y="28765"/>
                    <a:pt x="105769" y="28765"/>
                  </a:cubicBezTo>
                  <a:cubicBezTo>
                    <a:pt x="105000" y="31380"/>
                    <a:pt x="105000" y="31380"/>
                    <a:pt x="105000" y="31380"/>
                  </a:cubicBezTo>
                  <a:cubicBezTo>
                    <a:pt x="105000" y="31380"/>
                    <a:pt x="105384" y="31670"/>
                    <a:pt x="105769" y="31670"/>
                  </a:cubicBezTo>
                  <a:cubicBezTo>
                    <a:pt x="106153" y="31961"/>
                    <a:pt x="107307" y="32832"/>
                    <a:pt x="107307" y="32832"/>
                  </a:cubicBezTo>
                  <a:cubicBezTo>
                    <a:pt x="107692" y="33123"/>
                    <a:pt x="110000" y="33995"/>
                    <a:pt x="111153" y="34285"/>
                  </a:cubicBezTo>
                  <a:cubicBezTo>
                    <a:pt x="112307" y="34866"/>
                    <a:pt x="111923" y="36319"/>
                    <a:pt x="111923" y="36319"/>
                  </a:cubicBezTo>
                  <a:cubicBezTo>
                    <a:pt x="111153" y="38353"/>
                    <a:pt x="111153" y="38353"/>
                    <a:pt x="111153" y="38353"/>
                  </a:cubicBezTo>
                  <a:cubicBezTo>
                    <a:pt x="111153" y="38353"/>
                    <a:pt x="111538" y="39515"/>
                    <a:pt x="112307" y="39515"/>
                  </a:cubicBezTo>
                  <a:cubicBezTo>
                    <a:pt x="112692" y="39225"/>
                    <a:pt x="113076" y="40968"/>
                    <a:pt x="113076" y="40968"/>
                  </a:cubicBezTo>
                  <a:cubicBezTo>
                    <a:pt x="113076" y="40968"/>
                    <a:pt x="113461" y="42711"/>
                    <a:pt x="113461" y="43002"/>
                  </a:cubicBezTo>
                  <a:cubicBezTo>
                    <a:pt x="113076" y="43292"/>
                    <a:pt x="113461" y="43583"/>
                    <a:pt x="113461" y="43583"/>
                  </a:cubicBezTo>
                  <a:cubicBezTo>
                    <a:pt x="114230" y="44745"/>
                    <a:pt x="114230" y="44745"/>
                    <a:pt x="114230" y="44745"/>
                  </a:cubicBezTo>
                  <a:cubicBezTo>
                    <a:pt x="114230" y="44745"/>
                    <a:pt x="113846" y="45617"/>
                    <a:pt x="113461" y="45907"/>
                  </a:cubicBezTo>
                  <a:cubicBezTo>
                    <a:pt x="113461" y="46489"/>
                    <a:pt x="113076" y="47070"/>
                    <a:pt x="113076" y="47070"/>
                  </a:cubicBezTo>
                  <a:cubicBezTo>
                    <a:pt x="113461" y="47941"/>
                    <a:pt x="113461" y="47941"/>
                    <a:pt x="113461" y="47941"/>
                  </a:cubicBezTo>
                  <a:cubicBezTo>
                    <a:pt x="115000" y="49394"/>
                    <a:pt x="115000" y="49394"/>
                    <a:pt x="115000" y="49394"/>
                  </a:cubicBezTo>
                  <a:cubicBezTo>
                    <a:pt x="115000" y="50847"/>
                    <a:pt x="115000" y="50847"/>
                    <a:pt x="115000" y="50847"/>
                  </a:cubicBezTo>
                  <a:cubicBezTo>
                    <a:pt x="115000" y="51719"/>
                    <a:pt x="115000" y="51719"/>
                    <a:pt x="115000" y="51719"/>
                  </a:cubicBezTo>
                  <a:cubicBezTo>
                    <a:pt x="115000" y="51719"/>
                    <a:pt x="116153" y="52009"/>
                    <a:pt x="116538" y="52009"/>
                  </a:cubicBezTo>
                  <a:cubicBezTo>
                    <a:pt x="116923" y="52009"/>
                    <a:pt x="117692" y="52590"/>
                    <a:pt x="117692" y="52590"/>
                  </a:cubicBezTo>
                  <a:cubicBezTo>
                    <a:pt x="117692" y="52590"/>
                    <a:pt x="117692" y="53171"/>
                    <a:pt x="117692" y="53462"/>
                  </a:cubicBezTo>
                  <a:cubicBezTo>
                    <a:pt x="117692" y="53462"/>
                    <a:pt x="118846" y="54624"/>
                    <a:pt x="118846" y="54624"/>
                  </a:cubicBezTo>
                  <a:cubicBezTo>
                    <a:pt x="119230" y="54915"/>
                    <a:pt x="120000" y="55786"/>
                    <a:pt x="120000" y="55786"/>
                  </a:cubicBezTo>
                  <a:cubicBezTo>
                    <a:pt x="120000" y="55786"/>
                    <a:pt x="120000" y="56368"/>
                    <a:pt x="118846" y="57239"/>
                  </a:cubicBezTo>
                  <a:cubicBezTo>
                    <a:pt x="118076" y="58111"/>
                    <a:pt x="118461" y="58111"/>
                    <a:pt x="118461" y="58401"/>
                  </a:cubicBezTo>
                  <a:cubicBezTo>
                    <a:pt x="118461" y="58692"/>
                    <a:pt x="118846" y="59273"/>
                    <a:pt x="118846" y="59273"/>
                  </a:cubicBezTo>
                  <a:cubicBezTo>
                    <a:pt x="118846" y="59273"/>
                    <a:pt x="118461" y="59564"/>
                    <a:pt x="118076" y="59854"/>
                  </a:cubicBezTo>
                  <a:cubicBezTo>
                    <a:pt x="118076" y="59854"/>
                    <a:pt x="117692" y="60435"/>
                    <a:pt x="117692" y="61016"/>
                  </a:cubicBezTo>
                  <a:cubicBezTo>
                    <a:pt x="116153" y="61888"/>
                    <a:pt x="116153" y="61888"/>
                    <a:pt x="116153" y="61888"/>
                  </a:cubicBezTo>
                  <a:cubicBezTo>
                    <a:pt x="116153" y="61888"/>
                    <a:pt x="116153" y="61888"/>
                    <a:pt x="115769" y="62179"/>
                  </a:cubicBezTo>
                  <a:cubicBezTo>
                    <a:pt x="115769" y="61888"/>
                    <a:pt x="115384" y="61888"/>
                    <a:pt x="115000" y="61888"/>
                  </a:cubicBezTo>
                  <a:cubicBezTo>
                    <a:pt x="114615" y="61598"/>
                    <a:pt x="114230" y="61307"/>
                    <a:pt x="114230" y="61307"/>
                  </a:cubicBezTo>
                  <a:cubicBezTo>
                    <a:pt x="114230" y="61307"/>
                    <a:pt x="114230" y="60726"/>
                    <a:pt x="114230" y="60145"/>
                  </a:cubicBezTo>
                  <a:cubicBezTo>
                    <a:pt x="114230" y="59564"/>
                    <a:pt x="114230" y="59854"/>
                    <a:pt x="114230" y="59564"/>
                  </a:cubicBezTo>
                  <a:cubicBezTo>
                    <a:pt x="113846" y="59273"/>
                    <a:pt x="113076" y="58983"/>
                    <a:pt x="112307" y="58692"/>
                  </a:cubicBezTo>
                  <a:cubicBezTo>
                    <a:pt x="111538" y="58692"/>
                    <a:pt x="110000" y="58692"/>
                    <a:pt x="109615" y="58983"/>
                  </a:cubicBezTo>
                  <a:cubicBezTo>
                    <a:pt x="109615" y="58983"/>
                    <a:pt x="109615" y="60145"/>
                    <a:pt x="109615" y="60145"/>
                  </a:cubicBezTo>
                  <a:cubicBezTo>
                    <a:pt x="110384" y="61016"/>
                    <a:pt x="110384" y="61016"/>
                    <a:pt x="110384" y="61016"/>
                  </a:cubicBezTo>
                  <a:cubicBezTo>
                    <a:pt x="110000" y="61598"/>
                    <a:pt x="110000" y="61598"/>
                    <a:pt x="110000" y="61598"/>
                  </a:cubicBezTo>
                  <a:cubicBezTo>
                    <a:pt x="110000" y="61598"/>
                    <a:pt x="106538" y="62179"/>
                    <a:pt x="105384" y="62179"/>
                  </a:cubicBezTo>
                  <a:cubicBezTo>
                    <a:pt x="104230" y="62179"/>
                    <a:pt x="104615" y="62760"/>
                    <a:pt x="104615" y="62760"/>
                  </a:cubicBezTo>
                  <a:cubicBezTo>
                    <a:pt x="103846" y="63922"/>
                    <a:pt x="103846" y="63922"/>
                    <a:pt x="103846" y="63922"/>
                  </a:cubicBezTo>
                  <a:cubicBezTo>
                    <a:pt x="103076" y="64503"/>
                    <a:pt x="103076" y="64503"/>
                    <a:pt x="103076" y="64503"/>
                  </a:cubicBezTo>
                  <a:cubicBezTo>
                    <a:pt x="100769" y="65084"/>
                    <a:pt x="100769" y="65084"/>
                    <a:pt x="100769" y="65084"/>
                  </a:cubicBezTo>
                  <a:cubicBezTo>
                    <a:pt x="100769" y="65084"/>
                    <a:pt x="98461" y="66537"/>
                    <a:pt x="98076" y="66537"/>
                  </a:cubicBezTo>
                  <a:cubicBezTo>
                    <a:pt x="96538" y="67409"/>
                    <a:pt x="96538" y="67409"/>
                    <a:pt x="96538" y="67409"/>
                  </a:cubicBezTo>
                  <a:cubicBezTo>
                    <a:pt x="96538" y="67409"/>
                    <a:pt x="96153" y="67409"/>
                    <a:pt x="95000" y="67990"/>
                  </a:cubicBezTo>
                  <a:cubicBezTo>
                    <a:pt x="93461" y="68280"/>
                    <a:pt x="94230" y="68861"/>
                    <a:pt x="93846" y="69152"/>
                  </a:cubicBezTo>
                  <a:cubicBezTo>
                    <a:pt x="93846" y="69733"/>
                    <a:pt x="93461" y="69733"/>
                    <a:pt x="92692" y="70024"/>
                  </a:cubicBezTo>
                  <a:cubicBezTo>
                    <a:pt x="92307" y="70024"/>
                    <a:pt x="91153" y="69733"/>
                    <a:pt x="90384" y="69733"/>
                  </a:cubicBezTo>
                  <a:cubicBezTo>
                    <a:pt x="90000" y="69733"/>
                    <a:pt x="88846" y="70314"/>
                    <a:pt x="88076" y="70314"/>
                  </a:cubicBezTo>
                  <a:cubicBezTo>
                    <a:pt x="86923" y="70314"/>
                    <a:pt x="86923" y="70314"/>
                    <a:pt x="86923" y="70314"/>
                  </a:cubicBezTo>
                  <a:cubicBezTo>
                    <a:pt x="85384" y="71767"/>
                    <a:pt x="85384" y="71767"/>
                    <a:pt x="85384" y="71767"/>
                  </a:cubicBezTo>
                  <a:cubicBezTo>
                    <a:pt x="84230" y="73510"/>
                    <a:pt x="84230" y="73510"/>
                    <a:pt x="84230" y="73510"/>
                  </a:cubicBezTo>
                  <a:cubicBezTo>
                    <a:pt x="83846" y="72639"/>
                    <a:pt x="83846" y="72639"/>
                    <a:pt x="83846" y="72639"/>
                  </a:cubicBezTo>
                  <a:cubicBezTo>
                    <a:pt x="83461" y="71476"/>
                    <a:pt x="83461" y="71476"/>
                    <a:pt x="83461" y="71476"/>
                  </a:cubicBezTo>
                  <a:cubicBezTo>
                    <a:pt x="81538" y="71476"/>
                    <a:pt x="81538" y="71476"/>
                    <a:pt x="81538" y="71476"/>
                  </a:cubicBezTo>
                  <a:cubicBezTo>
                    <a:pt x="81923" y="72348"/>
                    <a:pt x="81923" y="72348"/>
                    <a:pt x="81923" y="72348"/>
                  </a:cubicBezTo>
                  <a:cubicBezTo>
                    <a:pt x="81923" y="72348"/>
                    <a:pt x="82692" y="74382"/>
                    <a:pt x="83076" y="74673"/>
                  </a:cubicBezTo>
                  <a:cubicBezTo>
                    <a:pt x="83461" y="74963"/>
                    <a:pt x="83846" y="74963"/>
                    <a:pt x="84615" y="75254"/>
                  </a:cubicBezTo>
                  <a:cubicBezTo>
                    <a:pt x="85769" y="75835"/>
                    <a:pt x="85769" y="75835"/>
                    <a:pt x="86923" y="76416"/>
                  </a:cubicBezTo>
                  <a:cubicBezTo>
                    <a:pt x="88076" y="76997"/>
                    <a:pt x="87692" y="77578"/>
                    <a:pt x="87692" y="77869"/>
                  </a:cubicBezTo>
                  <a:cubicBezTo>
                    <a:pt x="87692" y="78450"/>
                    <a:pt x="87692" y="78450"/>
                    <a:pt x="86923" y="79031"/>
                  </a:cubicBezTo>
                  <a:cubicBezTo>
                    <a:pt x="86153" y="79903"/>
                    <a:pt x="86923" y="80484"/>
                    <a:pt x="86923" y="80484"/>
                  </a:cubicBezTo>
                  <a:cubicBezTo>
                    <a:pt x="86923" y="80484"/>
                    <a:pt x="87307" y="81065"/>
                    <a:pt x="88076" y="81646"/>
                  </a:cubicBezTo>
                  <a:cubicBezTo>
                    <a:pt x="88846" y="82227"/>
                    <a:pt x="88461" y="82518"/>
                    <a:pt x="88846" y="83389"/>
                  </a:cubicBezTo>
                  <a:cubicBezTo>
                    <a:pt x="88846" y="84261"/>
                    <a:pt x="88846" y="83970"/>
                    <a:pt x="89615" y="84842"/>
                  </a:cubicBezTo>
                  <a:cubicBezTo>
                    <a:pt x="90384" y="85423"/>
                    <a:pt x="90000" y="85133"/>
                    <a:pt x="90769" y="85714"/>
                  </a:cubicBezTo>
                  <a:cubicBezTo>
                    <a:pt x="91538" y="86295"/>
                    <a:pt x="91538" y="86585"/>
                    <a:pt x="91538" y="86585"/>
                  </a:cubicBezTo>
                  <a:cubicBezTo>
                    <a:pt x="91538" y="86585"/>
                    <a:pt x="93846" y="86004"/>
                    <a:pt x="94615" y="86585"/>
                  </a:cubicBezTo>
                  <a:cubicBezTo>
                    <a:pt x="95384" y="87167"/>
                    <a:pt x="95000" y="86876"/>
                    <a:pt x="96538" y="87748"/>
                  </a:cubicBezTo>
                  <a:cubicBezTo>
                    <a:pt x="97692" y="88910"/>
                    <a:pt x="96538" y="88329"/>
                    <a:pt x="96923" y="89200"/>
                  </a:cubicBezTo>
                  <a:cubicBezTo>
                    <a:pt x="97307" y="89782"/>
                    <a:pt x="97692" y="89491"/>
                    <a:pt x="97692" y="89491"/>
                  </a:cubicBezTo>
                  <a:cubicBezTo>
                    <a:pt x="97692" y="89491"/>
                    <a:pt x="98076" y="89782"/>
                    <a:pt x="98846" y="89782"/>
                  </a:cubicBezTo>
                  <a:cubicBezTo>
                    <a:pt x="99615" y="89782"/>
                    <a:pt x="99615" y="90363"/>
                    <a:pt x="99615" y="90944"/>
                  </a:cubicBezTo>
                  <a:cubicBezTo>
                    <a:pt x="100000" y="91525"/>
                    <a:pt x="100000" y="91525"/>
                    <a:pt x="100769" y="92106"/>
                  </a:cubicBezTo>
                  <a:cubicBezTo>
                    <a:pt x="101153" y="92397"/>
                    <a:pt x="101538" y="92106"/>
                    <a:pt x="102692" y="91815"/>
                  </a:cubicBezTo>
                  <a:cubicBezTo>
                    <a:pt x="103461" y="91815"/>
                    <a:pt x="103076" y="92397"/>
                    <a:pt x="103076" y="92687"/>
                  </a:cubicBezTo>
                  <a:cubicBezTo>
                    <a:pt x="103076" y="92978"/>
                    <a:pt x="103846" y="92978"/>
                    <a:pt x="104615" y="93268"/>
                  </a:cubicBezTo>
                  <a:cubicBezTo>
                    <a:pt x="105384" y="93559"/>
                    <a:pt x="105000" y="93559"/>
                    <a:pt x="105769" y="94140"/>
                  </a:cubicBezTo>
                  <a:cubicBezTo>
                    <a:pt x="105769" y="94140"/>
                    <a:pt x="105769" y="94140"/>
                    <a:pt x="105769" y="94430"/>
                  </a:cubicBezTo>
                  <a:close/>
                  <a:moveTo>
                    <a:pt x="21153" y="114479"/>
                  </a:moveTo>
                  <a:cubicBezTo>
                    <a:pt x="21153" y="114479"/>
                    <a:pt x="21153" y="114479"/>
                    <a:pt x="21153" y="114479"/>
                  </a:cubicBezTo>
                  <a:cubicBezTo>
                    <a:pt x="21153" y="114479"/>
                    <a:pt x="21153" y="114479"/>
                    <a:pt x="21153" y="114479"/>
                  </a:cubicBezTo>
                  <a:cubicBezTo>
                    <a:pt x="21153" y="114479"/>
                    <a:pt x="21153" y="114479"/>
                    <a:pt x="21153" y="114479"/>
                  </a:cubicBezTo>
                  <a:close/>
                  <a:moveTo>
                    <a:pt x="49230" y="116222"/>
                  </a:move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lose/>
                  <a:moveTo>
                    <a:pt x="120000" y="59273"/>
                  </a:moveTo>
                  <a:cubicBezTo>
                    <a:pt x="120000" y="59273"/>
                    <a:pt x="120000" y="59273"/>
                    <a:pt x="120000" y="59273"/>
                  </a:cubicBezTo>
                  <a:cubicBezTo>
                    <a:pt x="120000" y="59273"/>
                    <a:pt x="120000" y="59273"/>
                    <a:pt x="120000" y="59273"/>
                  </a:cubicBezTo>
                  <a:cubicBezTo>
                    <a:pt x="120000" y="59273"/>
                    <a:pt x="120000" y="59273"/>
                    <a:pt x="120000" y="5927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6" name="Shape 2047"/>
            <p:cNvSpPr/>
            <p:nvPr/>
          </p:nvSpPr>
          <p:spPr>
            <a:xfrm>
              <a:off x="4736816" y="3211660"/>
              <a:ext cx="1121418" cy="124014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707" y="101818"/>
                  </a:moveTo>
                  <a:cubicBezTo>
                    <a:pt x="91951" y="103315"/>
                    <a:pt x="91951" y="103315"/>
                    <a:pt x="91951" y="103315"/>
                  </a:cubicBezTo>
                  <a:cubicBezTo>
                    <a:pt x="91951" y="103315"/>
                    <a:pt x="90487" y="105454"/>
                    <a:pt x="90487" y="105668"/>
                  </a:cubicBezTo>
                  <a:cubicBezTo>
                    <a:pt x="90487" y="105882"/>
                    <a:pt x="90000" y="106737"/>
                    <a:pt x="89512" y="107379"/>
                  </a:cubicBezTo>
                  <a:cubicBezTo>
                    <a:pt x="89268" y="107807"/>
                    <a:pt x="87804" y="109518"/>
                    <a:pt x="87804" y="109518"/>
                  </a:cubicBezTo>
                  <a:cubicBezTo>
                    <a:pt x="87804" y="109518"/>
                    <a:pt x="87804" y="110160"/>
                    <a:pt x="88292" y="110588"/>
                  </a:cubicBezTo>
                  <a:cubicBezTo>
                    <a:pt x="88536" y="111016"/>
                    <a:pt x="89268" y="111657"/>
                    <a:pt x="89268" y="112299"/>
                  </a:cubicBezTo>
                  <a:cubicBezTo>
                    <a:pt x="89268" y="112727"/>
                    <a:pt x="90487" y="113368"/>
                    <a:pt x="90487" y="113368"/>
                  </a:cubicBezTo>
                  <a:cubicBezTo>
                    <a:pt x="90731" y="114652"/>
                    <a:pt x="90731" y="114652"/>
                    <a:pt x="90731" y="114652"/>
                  </a:cubicBezTo>
                  <a:cubicBezTo>
                    <a:pt x="90731" y="114652"/>
                    <a:pt x="91463" y="115294"/>
                    <a:pt x="91463" y="115508"/>
                  </a:cubicBezTo>
                  <a:cubicBezTo>
                    <a:pt x="91219" y="115721"/>
                    <a:pt x="90000" y="116791"/>
                    <a:pt x="90000" y="116791"/>
                  </a:cubicBezTo>
                  <a:cubicBezTo>
                    <a:pt x="89756" y="118074"/>
                    <a:pt x="89756" y="118074"/>
                    <a:pt x="89756" y="118074"/>
                  </a:cubicBezTo>
                  <a:cubicBezTo>
                    <a:pt x="89756" y="118716"/>
                    <a:pt x="89756" y="118716"/>
                    <a:pt x="89756" y="118716"/>
                  </a:cubicBezTo>
                  <a:cubicBezTo>
                    <a:pt x="89756" y="118716"/>
                    <a:pt x="90000" y="118716"/>
                    <a:pt x="89756" y="119358"/>
                  </a:cubicBezTo>
                  <a:cubicBezTo>
                    <a:pt x="89512" y="119786"/>
                    <a:pt x="89512" y="119786"/>
                    <a:pt x="89268" y="119786"/>
                  </a:cubicBezTo>
                  <a:cubicBezTo>
                    <a:pt x="89024" y="120000"/>
                    <a:pt x="86585" y="119786"/>
                    <a:pt x="86585" y="119786"/>
                  </a:cubicBezTo>
                  <a:cubicBezTo>
                    <a:pt x="84146" y="119358"/>
                    <a:pt x="84146" y="119358"/>
                    <a:pt x="84146" y="119358"/>
                  </a:cubicBezTo>
                  <a:cubicBezTo>
                    <a:pt x="84146" y="119358"/>
                    <a:pt x="82926" y="119144"/>
                    <a:pt x="82439" y="118930"/>
                  </a:cubicBezTo>
                  <a:cubicBezTo>
                    <a:pt x="82195" y="118716"/>
                    <a:pt x="81707" y="118502"/>
                    <a:pt x="81707" y="118502"/>
                  </a:cubicBezTo>
                  <a:cubicBezTo>
                    <a:pt x="80975" y="116577"/>
                    <a:pt x="80975" y="116577"/>
                    <a:pt x="80975" y="116577"/>
                  </a:cubicBezTo>
                  <a:cubicBezTo>
                    <a:pt x="79024" y="116363"/>
                    <a:pt x="79024" y="116363"/>
                    <a:pt x="79024" y="116363"/>
                  </a:cubicBezTo>
                  <a:cubicBezTo>
                    <a:pt x="74146" y="115721"/>
                    <a:pt x="74146" y="115721"/>
                    <a:pt x="74146" y="115721"/>
                  </a:cubicBezTo>
                  <a:cubicBezTo>
                    <a:pt x="74146" y="115721"/>
                    <a:pt x="72439" y="114438"/>
                    <a:pt x="72195" y="114224"/>
                  </a:cubicBezTo>
                  <a:cubicBezTo>
                    <a:pt x="71707" y="114010"/>
                    <a:pt x="71219" y="113368"/>
                    <a:pt x="71219" y="113368"/>
                  </a:cubicBezTo>
                  <a:cubicBezTo>
                    <a:pt x="70243" y="113155"/>
                    <a:pt x="70243" y="113155"/>
                    <a:pt x="70243" y="113155"/>
                  </a:cubicBezTo>
                  <a:cubicBezTo>
                    <a:pt x="68292" y="111443"/>
                    <a:pt x="68292" y="111443"/>
                    <a:pt x="68292" y="111443"/>
                  </a:cubicBezTo>
                  <a:cubicBezTo>
                    <a:pt x="66341" y="111443"/>
                    <a:pt x="66341" y="111443"/>
                    <a:pt x="66341" y="111443"/>
                  </a:cubicBezTo>
                  <a:cubicBezTo>
                    <a:pt x="64878" y="110588"/>
                    <a:pt x="64878" y="110588"/>
                    <a:pt x="64878" y="110588"/>
                  </a:cubicBezTo>
                  <a:cubicBezTo>
                    <a:pt x="63170" y="110588"/>
                    <a:pt x="63170" y="110588"/>
                    <a:pt x="63170" y="110588"/>
                  </a:cubicBezTo>
                  <a:cubicBezTo>
                    <a:pt x="63170" y="110588"/>
                    <a:pt x="61951" y="110374"/>
                    <a:pt x="61951" y="110160"/>
                  </a:cubicBezTo>
                  <a:cubicBezTo>
                    <a:pt x="61707" y="109732"/>
                    <a:pt x="60243" y="109090"/>
                    <a:pt x="60243" y="109090"/>
                  </a:cubicBezTo>
                  <a:cubicBezTo>
                    <a:pt x="60243" y="109090"/>
                    <a:pt x="60243" y="107807"/>
                    <a:pt x="60243" y="107593"/>
                  </a:cubicBezTo>
                  <a:cubicBezTo>
                    <a:pt x="60243" y="107379"/>
                    <a:pt x="60487" y="105240"/>
                    <a:pt x="60487" y="105240"/>
                  </a:cubicBezTo>
                  <a:cubicBezTo>
                    <a:pt x="61463" y="104171"/>
                    <a:pt x="61463" y="104171"/>
                    <a:pt x="61463" y="104171"/>
                  </a:cubicBezTo>
                  <a:cubicBezTo>
                    <a:pt x="62926" y="103743"/>
                    <a:pt x="62926" y="103743"/>
                    <a:pt x="62926" y="103743"/>
                  </a:cubicBezTo>
                  <a:cubicBezTo>
                    <a:pt x="63414" y="104598"/>
                    <a:pt x="63414" y="104598"/>
                    <a:pt x="63414" y="104598"/>
                  </a:cubicBezTo>
                  <a:cubicBezTo>
                    <a:pt x="65121" y="105240"/>
                    <a:pt x="65121" y="105240"/>
                    <a:pt x="65121" y="105240"/>
                  </a:cubicBezTo>
                  <a:cubicBezTo>
                    <a:pt x="66097" y="104598"/>
                    <a:pt x="66097" y="104598"/>
                    <a:pt x="66097" y="104598"/>
                  </a:cubicBezTo>
                  <a:cubicBezTo>
                    <a:pt x="66585" y="103315"/>
                    <a:pt x="66585" y="103315"/>
                    <a:pt x="66585" y="103315"/>
                  </a:cubicBezTo>
                  <a:cubicBezTo>
                    <a:pt x="68048" y="102887"/>
                    <a:pt x="68048" y="102887"/>
                    <a:pt x="68048" y="102887"/>
                  </a:cubicBezTo>
                  <a:cubicBezTo>
                    <a:pt x="69756" y="103529"/>
                    <a:pt x="69756" y="103529"/>
                    <a:pt x="69756" y="103529"/>
                  </a:cubicBezTo>
                  <a:cubicBezTo>
                    <a:pt x="70975" y="104598"/>
                    <a:pt x="70975" y="104598"/>
                    <a:pt x="70975" y="104598"/>
                  </a:cubicBezTo>
                  <a:cubicBezTo>
                    <a:pt x="73414" y="105240"/>
                    <a:pt x="73414" y="105240"/>
                    <a:pt x="73414" y="105240"/>
                  </a:cubicBezTo>
                  <a:cubicBezTo>
                    <a:pt x="75609" y="104812"/>
                    <a:pt x="75609" y="104812"/>
                    <a:pt x="75609" y="104812"/>
                  </a:cubicBezTo>
                  <a:cubicBezTo>
                    <a:pt x="77560" y="104598"/>
                    <a:pt x="77560" y="104598"/>
                    <a:pt x="77560" y="104598"/>
                  </a:cubicBezTo>
                  <a:cubicBezTo>
                    <a:pt x="77560" y="104598"/>
                    <a:pt x="78536" y="104598"/>
                    <a:pt x="79024" y="104598"/>
                  </a:cubicBezTo>
                  <a:cubicBezTo>
                    <a:pt x="79268" y="104385"/>
                    <a:pt x="80731" y="103957"/>
                    <a:pt x="80731" y="103957"/>
                  </a:cubicBezTo>
                  <a:cubicBezTo>
                    <a:pt x="83170" y="103315"/>
                    <a:pt x="83170" y="103315"/>
                    <a:pt x="83170" y="103315"/>
                  </a:cubicBezTo>
                  <a:cubicBezTo>
                    <a:pt x="84634" y="101604"/>
                    <a:pt x="84634" y="101604"/>
                    <a:pt x="84634" y="101604"/>
                  </a:cubicBezTo>
                  <a:cubicBezTo>
                    <a:pt x="86585" y="102245"/>
                    <a:pt x="86585" y="102245"/>
                    <a:pt x="86585" y="102245"/>
                  </a:cubicBezTo>
                  <a:cubicBezTo>
                    <a:pt x="88292" y="102459"/>
                    <a:pt x="88292" y="102459"/>
                    <a:pt x="88292" y="102459"/>
                  </a:cubicBezTo>
                  <a:cubicBezTo>
                    <a:pt x="89024" y="101390"/>
                    <a:pt x="89024" y="101390"/>
                    <a:pt x="89024" y="101390"/>
                  </a:cubicBezTo>
                  <a:cubicBezTo>
                    <a:pt x="90731" y="100534"/>
                    <a:pt x="90731" y="100534"/>
                    <a:pt x="90731" y="100534"/>
                  </a:cubicBezTo>
                  <a:cubicBezTo>
                    <a:pt x="91707" y="101818"/>
                    <a:pt x="91707" y="101818"/>
                    <a:pt x="91707" y="101818"/>
                  </a:cubicBezTo>
                  <a:close/>
                  <a:moveTo>
                    <a:pt x="94634" y="100320"/>
                  </a:moveTo>
                  <a:cubicBezTo>
                    <a:pt x="94634" y="100320"/>
                    <a:pt x="94634" y="100320"/>
                    <a:pt x="94634" y="100320"/>
                  </a:cubicBezTo>
                  <a:cubicBezTo>
                    <a:pt x="93658" y="101176"/>
                    <a:pt x="93658" y="101176"/>
                    <a:pt x="93658" y="101176"/>
                  </a:cubicBezTo>
                  <a:cubicBezTo>
                    <a:pt x="92682" y="101818"/>
                    <a:pt x="92682" y="101818"/>
                    <a:pt x="92682" y="101818"/>
                  </a:cubicBezTo>
                  <a:cubicBezTo>
                    <a:pt x="92682" y="101818"/>
                    <a:pt x="92926" y="102673"/>
                    <a:pt x="92926" y="103101"/>
                  </a:cubicBezTo>
                  <a:cubicBezTo>
                    <a:pt x="93170" y="103529"/>
                    <a:pt x="93902" y="104598"/>
                    <a:pt x="93902" y="104598"/>
                  </a:cubicBezTo>
                  <a:cubicBezTo>
                    <a:pt x="96341" y="104598"/>
                    <a:pt x="96341" y="104598"/>
                    <a:pt x="96341" y="104598"/>
                  </a:cubicBezTo>
                  <a:cubicBezTo>
                    <a:pt x="98048" y="103743"/>
                    <a:pt x="98048" y="103743"/>
                    <a:pt x="98048" y="103743"/>
                  </a:cubicBezTo>
                  <a:cubicBezTo>
                    <a:pt x="98292" y="102245"/>
                    <a:pt x="98292" y="102245"/>
                    <a:pt x="98292" y="102245"/>
                  </a:cubicBezTo>
                  <a:cubicBezTo>
                    <a:pt x="99024" y="100748"/>
                    <a:pt x="99024" y="100748"/>
                    <a:pt x="99024" y="100748"/>
                  </a:cubicBezTo>
                  <a:cubicBezTo>
                    <a:pt x="100487" y="99893"/>
                    <a:pt x="100487" y="99893"/>
                    <a:pt x="100487" y="99893"/>
                  </a:cubicBezTo>
                  <a:cubicBezTo>
                    <a:pt x="101707" y="98823"/>
                    <a:pt x="101707" y="98823"/>
                    <a:pt x="101707" y="98823"/>
                  </a:cubicBezTo>
                  <a:cubicBezTo>
                    <a:pt x="102439" y="97754"/>
                    <a:pt x="102439" y="97754"/>
                    <a:pt x="102439" y="97754"/>
                  </a:cubicBezTo>
                  <a:cubicBezTo>
                    <a:pt x="102682" y="94973"/>
                    <a:pt x="102682" y="94973"/>
                    <a:pt x="102682" y="94973"/>
                  </a:cubicBezTo>
                  <a:cubicBezTo>
                    <a:pt x="103414" y="92834"/>
                    <a:pt x="103414" y="92834"/>
                    <a:pt x="103414" y="92834"/>
                  </a:cubicBezTo>
                  <a:cubicBezTo>
                    <a:pt x="107317" y="91550"/>
                    <a:pt x="107317" y="91550"/>
                    <a:pt x="107317" y="91550"/>
                  </a:cubicBezTo>
                  <a:cubicBezTo>
                    <a:pt x="108048" y="91122"/>
                    <a:pt x="108048" y="91122"/>
                    <a:pt x="108048" y="91122"/>
                  </a:cubicBezTo>
                  <a:cubicBezTo>
                    <a:pt x="108048" y="91122"/>
                    <a:pt x="108048" y="90695"/>
                    <a:pt x="107804" y="90267"/>
                  </a:cubicBezTo>
                  <a:cubicBezTo>
                    <a:pt x="107804" y="90053"/>
                    <a:pt x="107073" y="89411"/>
                    <a:pt x="107073" y="89411"/>
                  </a:cubicBezTo>
                  <a:cubicBezTo>
                    <a:pt x="107073" y="89411"/>
                    <a:pt x="107317" y="88770"/>
                    <a:pt x="107317" y="88556"/>
                  </a:cubicBezTo>
                  <a:cubicBezTo>
                    <a:pt x="107317" y="88342"/>
                    <a:pt x="107073" y="86844"/>
                    <a:pt x="107073" y="86844"/>
                  </a:cubicBezTo>
                  <a:cubicBezTo>
                    <a:pt x="106585" y="85347"/>
                    <a:pt x="106585" y="85347"/>
                    <a:pt x="106585" y="85347"/>
                  </a:cubicBezTo>
                  <a:cubicBezTo>
                    <a:pt x="106585" y="85347"/>
                    <a:pt x="106097" y="85347"/>
                    <a:pt x="105365" y="84919"/>
                  </a:cubicBezTo>
                  <a:cubicBezTo>
                    <a:pt x="104634" y="84705"/>
                    <a:pt x="103414" y="84064"/>
                    <a:pt x="103414" y="84064"/>
                  </a:cubicBezTo>
                  <a:cubicBezTo>
                    <a:pt x="102195" y="83636"/>
                    <a:pt x="102195" y="83636"/>
                    <a:pt x="102195" y="83636"/>
                  </a:cubicBezTo>
                  <a:cubicBezTo>
                    <a:pt x="100731" y="83422"/>
                    <a:pt x="100731" y="83422"/>
                    <a:pt x="100731" y="83422"/>
                  </a:cubicBezTo>
                  <a:cubicBezTo>
                    <a:pt x="100243" y="82352"/>
                    <a:pt x="100243" y="82352"/>
                    <a:pt x="100243" y="82352"/>
                  </a:cubicBezTo>
                  <a:cubicBezTo>
                    <a:pt x="101219" y="79358"/>
                    <a:pt x="101219" y="79358"/>
                    <a:pt x="101219" y="79358"/>
                  </a:cubicBezTo>
                  <a:cubicBezTo>
                    <a:pt x="100487" y="77860"/>
                    <a:pt x="100487" y="77860"/>
                    <a:pt x="100487" y="77860"/>
                  </a:cubicBezTo>
                  <a:cubicBezTo>
                    <a:pt x="102682" y="75721"/>
                    <a:pt x="102682" y="75721"/>
                    <a:pt x="102682" y="75721"/>
                  </a:cubicBezTo>
                  <a:cubicBezTo>
                    <a:pt x="103658" y="74224"/>
                    <a:pt x="103658" y="74224"/>
                    <a:pt x="103658" y="74224"/>
                  </a:cubicBezTo>
                  <a:cubicBezTo>
                    <a:pt x="104878" y="73368"/>
                    <a:pt x="104878" y="73368"/>
                    <a:pt x="104878" y="73368"/>
                  </a:cubicBezTo>
                  <a:cubicBezTo>
                    <a:pt x="106829" y="73796"/>
                    <a:pt x="106829" y="73796"/>
                    <a:pt x="106829" y="73796"/>
                  </a:cubicBezTo>
                  <a:cubicBezTo>
                    <a:pt x="107560" y="74652"/>
                    <a:pt x="107560" y="74652"/>
                    <a:pt x="107560" y="74652"/>
                  </a:cubicBezTo>
                  <a:cubicBezTo>
                    <a:pt x="108780" y="74866"/>
                    <a:pt x="108780" y="74866"/>
                    <a:pt x="108780" y="74866"/>
                  </a:cubicBezTo>
                  <a:cubicBezTo>
                    <a:pt x="110975" y="74866"/>
                    <a:pt x="110975" y="74866"/>
                    <a:pt x="110975" y="74866"/>
                  </a:cubicBezTo>
                  <a:cubicBezTo>
                    <a:pt x="113414" y="75294"/>
                    <a:pt x="113414" y="75294"/>
                    <a:pt x="113414" y="75294"/>
                  </a:cubicBezTo>
                  <a:cubicBezTo>
                    <a:pt x="114390" y="76577"/>
                    <a:pt x="114390" y="76577"/>
                    <a:pt x="114390" y="76577"/>
                  </a:cubicBezTo>
                  <a:cubicBezTo>
                    <a:pt x="115365" y="78074"/>
                    <a:pt x="115365" y="78074"/>
                    <a:pt x="115365" y="78074"/>
                  </a:cubicBezTo>
                  <a:cubicBezTo>
                    <a:pt x="115365" y="78074"/>
                    <a:pt x="115853" y="78716"/>
                    <a:pt x="116097" y="78930"/>
                  </a:cubicBezTo>
                  <a:cubicBezTo>
                    <a:pt x="116097" y="78930"/>
                    <a:pt x="117073" y="79572"/>
                    <a:pt x="117317" y="79572"/>
                  </a:cubicBezTo>
                  <a:cubicBezTo>
                    <a:pt x="117560" y="79786"/>
                    <a:pt x="119024" y="80000"/>
                    <a:pt x="119024" y="80000"/>
                  </a:cubicBezTo>
                  <a:cubicBezTo>
                    <a:pt x="119024" y="80000"/>
                    <a:pt x="119024" y="78502"/>
                    <a:pt x="119268" y="78074"/>
                  </a:cubicBezTo>
                  <a:cubicBezTo>
                    <a:pt x="119512" y="77860"/>
                    <a:pt x="120000" y="77005"/>
                    <a:pt x="120000" y="76791"/>
                  </a:cubicBezTo>
                  <a:cubicBezTo>
                    <a:pt x="120000" y="76577"/>
                    <a:pt x="119512" y="75080"/>
                    <a:pt x="119512" y="75080"/>
                  </a:cubicBezTo>
                  <a:cubicBezTo>
                    <a:pt x="117804" y="73368"/>
                    <a:pt x="117804" y="73368"/>
                    <a:pt x="117804" y="73368"/>
                  </a:cubicBezTo>
                  <a:cubicBezTo>
                    <a:pt x="116097" y="72299"/>
                    <a:pt x="116097" y="72299"/>
                    <a:pt x="116097" y="72299"/>
                  </a:cubicBezTo>
                  <a:cubicBezTo>
                    <a:pt x="111951" y="69946"/>
                    <a:pt x="111951" y="69946"/>
                    <a:pt x="111951" y="69946"/>
                  </a:cubicBezTo>
                  <a:cubicBezTo>
                    <a:pt x="106097" y="68235"/>
                    <a:pt x="106097" y="68235"/>
                    <a:pt x="106097" y="68235"/>
                  </a:cubicBezTo>
                  <a:cubicBezTo>
                    <a:pt x="102195" y="66096"/>
                    <a:pt x="102195" y="66096"/>
                    <a:pt x="102195" y="66096"/>
                  </a:cubicBezTo>
                  <a:cubicBezTo>
                    <a:pt x="99024" y="65454"/>
                    <a:pt x="99024" y="65454"/>
                    <a:pt x="99024" y="65454"/>
                  </a:cubicBezTo>
                  <a:cubicBezTo>
                    <a:pt x="99024" y="65454"/>
                    <a:pt x="95609" y="63957"/>
                    <a:pt x="95365" y="63957"/>
                  </a:cubicBezTo>
                  <a:cubicBezTo>
                    <a:pt x="95121" y="63957"/>
                    <a:pt x="94390" y="63743"/>
                    <a:pt x="94390" y="63743"/>
                  </a:cubicBezTo>
                  <a:cubicBezTo>
                    <a:pt x="94390" y="63743"/>
                    <a:pt x="92439" y="63315"/>
                    <a:pt x="92439" y="63101"/>
                  </a:cubicBezTo>
                  <a:cubicBezTo>
                    <a:pt x="92195" y="62887"/>
                    <a:pt x="91951" y="62245"/>
                    <a:pt x="91707" y="62032"/>
                  </a:cubicBezTo>
                  <a:cubicBezTo>
                    <a:pt x="91707" y="61818"/>
                    <a:pt x="91951" y="61176"/>
                    <a:pt x="91951" y="61176"/>
                  </a:cubicBezTo>
                  <a:cubicBezTo>
                    <a:pt x="92926" y="60320"/>
                    <a:pt x="92926" y="60320"/>
                    <a:pt x="92926" y="60320"/>
                  </a:cubicBezTo>
                  <a:cubicBezTo>
                    <a:pt x="92926" y="60320"/>
                    <a:pt x="93902" y="59465"/>
                    <a:pt x="93902" y="59251"/>
                  </a:cubicBezTo>
                  <a:cubicBezTo>
                    <a:pt x="93902" y="59037"/>
                    <a:pt x="94146" y="57754"/>
                    <a:pt x="94146" y="57754"/>
                  </a:cubicBezTo>
                  <a:cubicBezTo>
                    <a:pt x="92926" y="57326"/>
                    <a:pt x="92926" y="57326"/>
                    <a:pt x="92926" y="57326"/>
                  </a:cubicBezTo>
                  <a:cubicBezTo>
                    <a:pt x="90000" y="57540"/>
                    <a:pt x="90000" y="57540"/>
                    <a:pt x="90000" y="57540"/>
                  </a:cubicBezTo>
                  <a:cubicBezTo>
                    <a:pt x="85365" y="57967"/>
                    <a:pt x="85365" y="57967"/>
                    <a:pt x="85365" y="57967"/>
                  </a:cubicBezTo>
                  <a:cubicBezTo>
                    <a:pt x="82926" y="57967"/>
                    <a:pt x="82926" y="57967"/>
                    <a:pt x="82926" y="57967"/>
                  </a:cubicBezTo>
                  <a:cubicBezTo>
                    <a:pt x="79756" y="56256"/>
                    <a:pt x="79756" y="56256"/>
                    <a:pt x="79756" y="56256"/>
                  </a:cubicBezTo>
                  <a:cubicBezTo>
                    <a:pt x="77073" y="54331"/>
                    <a:pt x="77073" y="54331"/>
                    <a:pt x="77073" y="54331"/>
                  </a:cubicBezTo>
                  <a:cubicBezTo>
                    <a:pt x="75365" y="53475"/>
                    <a:pt x="75365" y="53475"/>
                    <a:pt x="75365" y="53475"/>
                  </a:cubicBezTo>
                  <a:cubicBezTo>
                    <a:pt x="72926" y="51122"/>
                    <a:pt x="72926" y="51122"/>
                    <a:pt x="72926" y="51122"/>
                  </a:cubicBezTo>
                  <a:cubicBezTo>
                    <a:pt x="71707" y="49625"/>
                    <a:pt x="71707" y="49625"/>
                    <a:pt x="71707" y="49625"/>
                  </a:cubicBezTo>
                  <a:cubicBezTo>
                    <a:pt x="71707" y="49625"/>
                    <a:pt x="70975" y="47486"/>
                    <a:pt x="70731" y="46631"/>
                  </a:cubicBezTo>
                  <a:cubicBezTo>
                    <a:pt x="70487" y="45989"/>
                    <a:pt x="68536" y="43636"/>
                    <a:pt x="68536" y="43636"/>
                  </a:cubicBezTo>
                  <a:cubicBezTo>
                    <a:pt x="68536" y="43636"/>
                    <a:pt x="67560" y="41711"/>
                    <a:pt x="67560" y="41497"/>
                  </a:cubicBezTo>
                  <a:cubicBezTo>
                    <a:pt x="67560" y="41283"/>
                    <a:pt x="67073" y="39786"/>
                    <a:pt x="67073" y="39786"/>
                  </a:cubicBezTo>
                  <a:cubicBezTo>
                    <a:pt x="63902" y="38502"/>
                    <a:pt x="63902" y="38502"/>
                    <a:pt x="63902" y="38502"/>
                  </a:cubicBezTo>
                  <a:cubicBezTo>
                    <a:pt x="59756" y="36363"/>
                    <a:pt x="59756" y="36363"/>
                    <a:pt x="59756" y="36363"/>
                  </a:cubicBezTo>
                  <a:cubicBezTo>
                    <a:pt x="56341" y="34438"/>
                    <a:pt x="56341" y="34438"/>
                    <a:pt x="56341" y="34438"/>
                  </a:cubicBezTo>
                  <a:cubicBezTo>
                    <a:pt x="54634" y="32299"/>
                    <a:pt x="54634" y="32299"/>
                    <a:pt x="54634" y="32299"/>
                  </a:cubicBezTo>
                  <a:cubicBezTo>
                    <a:pt x="53170" y="28877"/>
                    <a:pt x="53170" y="28877"/>
                    <a:pt x="53170" y="28877"/>
                  </a:cubicBezTo>
                  <a:cubicBezTo>
                    <a:pt x="52926" y="26096"/>
                    <a:pt x="52926" y="26096"/>
                    <a:pt x="52926" y="26096"/>
                  </a:cubicBezTo>
                  <a:cubicBezTo>
                    <a:pt x="54634" y="25454"/>
                    <a:pt x="54634" y="25454"/>
                    <a:pt x="54634" y="25454"/>
                  </a:cubicBezTo>
                  <a:cubicBezTo>
                    <a:pt x="54634" y="24171"/>
                    <a:pt x="54634" y="24171"/>
                    <a:pt x="54634" y="24171"/>
                  </a:cubicBezTo>
                  <a:cubicBezTo>
                    <a:pt x="53170" y="23315"/>
                    <a:pt x="53170" y="23315"/>
                    <a:pt x="53170" y="23315"/>
                  </a:cubicBezTo>
                  <a:cubicBezTo>
                    <a:pt x="53170" y="22032"/>
                    <a:pt x="53170" y="22032"/>
                    <a:pt x="53170" y="22032"/>
                  </a:cubicBezTo>
                  <a:cubicBezTo>
                    <a:pt x="52439" y="21604"/>
                    <a:pt x="52439" y="21604"/>
                    <a:pt x="52439" y="21604"/>
                  </a:cubicBezTo>
                  <a:cubicBezTo>
                    <a:pt x="51463" y="20534"/>
                    <a:pt x="51463" y="20534"/>
                    <a:pt x="51463" y="20534"/>
                  </a:cubicBezTo>
                  <a:cubicBezTo>
                    <a:pt x="53414" y="19679"/>
                    <a:pt x="53414" y="19679"/>
                    <a:pt x="53414" y="19679"/>
                  </a:cubicBezTo>
                  <a:cubicBezTo>
                    <a:pt x="53414" y="19679"/>
                    <a:pt x="54146" y="18823"/>
                    <a:pt x="55121" y="18823"/>
                  </a:cubicBezTo>
                  <a:cubicBezTo>
                    <a:pt x="56097" y="18823"/>
                    <a:pt x="56829" y="17967"/>
                    <a:pt x="56829" y="17967"/>
                  </a:cubicBezTo>
                  <a:cubicBezTo>
                    <a:pt x="56829" y="17967"/>
                    <a:pt x="57560" y="17326"/>
                    <a:pt x="57804" y="17326"/>
                  </a:cubicBezTo>
                  <a:cubicBezTo>
                    <a:pt x="58292" y="17326"/>
                    <a:pt x="58780" y="17112"/>
                    <a:pt x="59268" y="16898"/>
                  </a:cubicBezTo>
                  <a:cubicBezTo>
                    <a:pt x="59512" y="16898"/>
                    <a:pt x="60243" y="16684"/>
                    <a:pt x="60243" y="16684"/>
                  </a:cubicBezTo>
                  <a:cubicBezTo>
                    <a:pt x="60243" y="16470"/>
                    <a:pt x="60487" y="14973"/>
                    <a:pt x="60731" y="14973"/>
                  </a:cubicBezTo>
                  <a:cubicBezTo>
                    <a:pt x="60975" y="14973"/>
                    <a:pt x="61463" y="15828"/>
                    <a:pt x="62195" y="15828"/>
                  </a:cubicBezTo>
                  <a:cubicBezTo>
                    <a:pt x="62439" y="15828"/>
                    <a:pt x="62926" y="16256"/>
                    <a:pt x="63170" y="16042"/>
                  </a:cubicBezTo>
                  <a:cubicBezTo>
                    <a:pt x="63658" y="15828"/>
                    <a:pt x="63902" y="15187"/>
                    <a:pt x="63902" y="15187"/>
                  </a:cubicBezTo>
                  <a:cubicBezTo>
                    <a:pt x="64146" y="14973"/>
                    <a:pt x="64390" y="14759"/>
                    <a:pt x="65121" y="14545"/>
                  </a:cubicBezTo>
                  <a:cubicBezTo>
                    <a:pt x="65121" y="14545"/>
                    <a:pt x="65121" y="14545"/>
                    <a:pt x="65121" y="14545"/>
                  </a:cubicBezTo>
                  <a:cubicBezTo>
                    <a:pt x="65121" y="14545"/>
                    <a:pt x="64634" y="14331"/>
                    <a:pt x="64634" y="14331"/>
                  </a:cubicBezTo>
                  <a:cubicBezTo>
                    <a:pt x="64634" y="14117"/>
                    <a:pt x="64634" y="14117"/>
                    <a:pt x="64878" y="13903"/>
                  </a:cubicBezTo>
                  <a:cubicBezTo>
                    <a:pt x="64878" y="13689"/>
                    <a:pt x="64878" y="13689"/>
                    <a:pt x="65121" y="13475"/>
                  </a:cubicBezTo>
                  <a:cubicBezTo>
                    <a:pt x="65121" y="13475"/>
                    <a:pt x="65121" y="13048"/>
                    <a:pt x="65121" y="13048"/>
                  </a:cubicBezTo>
                  <a:cubicBezTo>
                    <a:pt x="65121" y="13048"/>
                    <a:pt x="65365" y="12834"/>
                    <a:pt x="65121" y="12834"/>
                  </a:cubicBezTo>
                  <a:cubicBezTo>
                    <a:pt x="65121" y="12620"/>
                    <a:pt x="64878" y="12406"/>
                    <a:pt x="64878" y="12406"/>
                  </a:cubicBezTo>
                  <a:cubicBezTo>
                    <a:pt x="64878" y="12406"/>
                    <a:pt x="64878" y="12406"/>
                    <a:pt x="64634" y="12406"/>
                  </a:cubicBezTo>
                  <a:cubicBezTo>
                    <a:pt x="64634" y="12620"/>
                    <a:pt x="64634" y="12620"/>
                    <a:pt x="64634" y="12620"/>
                  </a:cubicBezTo>
                  <a:cubicBezTo>
                    <a:pt x="64146" y="12834"/>
                    <a:pt x="64146" y="12834"/>
                    <a:pt x="64146" y="12834"/>
                  </a:cubicBezTo>
                  <a:cubicBezTo>
                    <a:pt x="64146" y="12834"/>
                    <a:pt x="63902" y="12406"/>
                    <a:pt x="63902" y="12406"/>
                  </a:cubicBezTo>
                  <a:cubicBezTo>
                    <a:pt x="63658" y="12406"/>
                    <a:pt x="63658" y="12406"/>
                    <a:pt x="63658" y="12192"/>
                  </a:cubicBezTo>
                  <a:cubicBezTo>
                    <a:pt x="63658" y="12192"/>
                    <a:pt x="63902" y="11978"/>
                    <a:pt x="63902" y="11978"/>
                  </a:cubicBezTo>
                  <a:cubicBezTo>
                    <a:pt x="63902" y="11978"/>
                    <a:pt x="63658" y="11764"/>
                    <a:pt x="63658" y="11764"/>
                  </a:cubicBezTo>
                  <a:cubicBezTo>
                    <a:pt x="63658" y="11764"/>
                    <a:pt x="63902" y="11336"/>
                    <a:pt x="64146" y="11336"/>
                  </a:cubicBezTo>
                  <a:cubicBezTo>
                    <a:pt x="64390" y="11122"/>
                    <a:pt x="64878" y="10695"/>
                    <a:pt x="64878" y="10695"/>
                  </a:cubicBezTo>
                  <a:cubicBezTo>
                    <a:pt x="65121" y="10267"/>
                    <a:pt x="65121" y="10267"/>
                    <a:pt x="65121" y="10267"/>
                  </a:cubicBezTo>
                  <a:cubicBezTo>
                    <a:pt x="64878" y="10053"/>
                    <a:pt x="64878" y="10053"/>
                    <a:pt x="64878" y="10053"/>
                  </a:cubicBezTo>
                  <a:cubicBezTo>
                    <a:pt x="64878" y="10053"/>
                    <a:pt x="64634" y="10267"/>
                    <a:pt x="64634" y="10267"/>
                  </a:cubicBezTo>
                  <a:cubicBezTo>
                    <a:pt x="64146" y="10053"/>
                    <a:pt x="64146" y="10053"/>
                    <a:pt x="64146" y="10053"/>
                  </a:cubicBezTo>
                  <a:cubicBezTo>
                    <a:pt x="63658" y="9839"/>
                    <a:pt x="63658" y="9839"/>
                    <a:pt x="63658" y="9839"/>
                  </a:cubicBezTo>
                  <a:cubicBezTo>
                    <a:pt x="62926" y="9839"/>
                    <a:pt x="62926" y="9839"/>
                    <a:pt x="62926" y="9839"/>
                  </a:cubicBezTo>
                  <a:cubicBezTo>
                    <a:pt x="62439" y="9411"/>
                    <a:pt x="62439" y="9411"/>
                    <a:pt x="62439" y="9411"/>
                  </a:cubicBezTo>
                  <a:cubicBezTo>
                    <a:pt x="62682" y="8983"/>
                    <a:pt x="62682" y="8983"/>
                    <a:pt x="62682" y="8983"/>
                  </a:cubicBezTo>
                  <a:cubicBezTo>
                    <a:pt x="62682" y="8556"/>
                    <a:pt x="62682" y="8556"/>
                    <a:pt x="62682" y="8556"/>
                  </a:cubicBezTo>
                  <a:cubicBezTo>
                    <a:pt x="62682" y="8556"/>
                    <a:pt x="63170" y="8128"/>
                    <a:pt x="63170" y="8128"/>
                  </a:cubicBezTo>
                  <a:cubicBezTo>
                    <a:pt x="63414" y="7914"/>
                    <a:pt x="63902" y="7700"/>
                    <a:pt x="63902" y="7700"/>
                  </a:cubicBezTo>
                  <a:cubicBezTo>
                    <a:pt x="64146" y="7272"/>
                    <a:pt x="64146" y="7272"/>
                    <a:pt x="64146" y="7272"/>
                  </a:cubicBezTo>
                  <a:cubicBezTo>
                    <a:pt x="64146" y="7272"/>
                    <a:pt x="64390" y="7058"/>
                    <a:pt x="64634" y="7058"/>
                  </a:cubicBezTo>
                  <a:cubicBezTo>
                    <a:pt x="64878" y="7058"/>
                    <a:pt x="64878" y="7272"/>
                    <a:pt x="64878" y="7058"/>
                  </a:cubicBezTo>
                  <a:cubicBezTo>
                    <a:pt x="65121" y="7058"/>
                    <a:pt x="65121" y="6631"/>
                    <a:pt x="65121" y="6417"/>
                  </a:cubicBezTo>
                  <a:cubicBezTo>
                    <a:pt x="65121" y="5775"/>
                    <a:pt x="65121" y="5775"/>
                    <a:pt x="65121" y="5775"/>
                  </a:cubicBezTo>
                  <a:cubicBezTo>
                    <a:pt x="63902" y="5989"/>
                    <a:pt x="63902" y="5989"/>
                    <a:pt x="63902" y="5989"/>
                  </a:cubicBezTo>
                  <a:cubicBezTo>
                    <a:pt x="63902" y="5989"/>
                    <a:pt x="62682" y="5775"/>
                    <a:pt x="61951" y="5775"/>
                  </a:cubicBezTo>
                  <a:cubicBezTo>
                    <a:pt x="60975" y="5775"/>
                    <a:pt x="59024" y="5347"/>
                    <a:pt x="59024" y="5347"/>
                  </a:cubicBezTo>
                  <a:cubicBezTo>
                    <a:pt x="56585" y="4705"/>
                    <a:pt x="56585" y="4705"/>
                    <a:pt x="56585" y="4705"/>
                  </a:cubicBezTo>
                  <a:cubicBezTo>
                    <a:pt x="55121" y="4705"/>
                    <a:pt x="55121" y="4705"/>
                    <a:pt x="55121" y="4705"/>
                  </a:cubicBezTo>
                  <a:cubicBezTo>
                    <a:pt x="52926" y="4491"/>
                    <a:pt x="52926" y="4491"/>
                    <a:pt x="52926" y="4491"/>
                  </a:cubicBezTo>
                  <a:cubicBezTo>
                    <a:pt x="52926" y="4491"/>
                    <a:pt x="52682" y="4064"/>
                    <a:pt x="52439" y="3850"/>
                  </a:cubicBezTo>
                  <a:cubicBezTo>
                    <a:pt x="52439" y="3636"/>
                    <a:pt x="51707" y="3208"/>
                    <a:pt x="51707" y="3208"/>
                  </a:cubicBezTo>
                  <a:cubicBezTo>
                    <a:pt x="51707" y="2780"/>
                    <a:pt x="51707" y="2780"/>
                    <a:pt x="51707" y="2780"/>
                  </a:cubicBezTo>
                  <a:cubicBezTo>
                    <a:pt x="51219" y="1711"/>
                    <a:pt x="51219" y="1711"/>
                    <a:pt x="51219" y="1711"/>
                  </a:cubicBezTo>
                  <a:cubicBezTo>
                    <a:pt x="50731" y="855"/>
                    <a:pt x="50731" y="855"/>
                    <a:pt x="50731" y="855"/>
                  </a:cubicBezTo>
                  <a:cubicBezTo>
                    <a:pt x="51219" y="213"/>
                    <a:pt x="51219" y="213"/>
                    <a:pt x="51219" y="213"/>
                  </a:cubicBezTo>
                  <a:cubicBezTo>
                    <a:pt x="50731" y="0"/>
                    <a:pt x="50731" y="0"/>
                    <a:pt x="50731" y="0"/>
                  </a:cubicBezTo>
                  <a:cubicBezTo>
                    <a:pt x="50731" y="0"/>
                    <a:pt x="49756" y="213"/>
                    <a:pt x="49268" y="213"/>
                  </a:cubicBezTo>
                  <a:cubicBezTo>
                    <a:pt x="49024" y="427"/>
                    <a:pt x="47560" y="641"/>
                    <a:pt x="47560" y="641"/>
                  </a:cubicBezTo>
                  <a:cubicBezTo>
                    <a:pt x="47073" y="855"/>
                    <a:pt x="47073" y="855"/>
                    <a:pt x="47073" y="855"/>
                  </a:cubicBezTo>
                  <a:cubicBezTo>
                    <a:pt x="45121" y="855"/>
                    <a:pt x="45121" y="855"/>
                    <a:pt x="45121" y="855"/>
                  </a:cubicBezTo>
                  <a:cubicBezTo>
                    <a:pt x="43170" y="1069"/>
                    <a:pt x="43170" y="1069"/>
                    <a:pt x="43170" y="1069"/>
                  </a:cubicBezTo>
                  <a:cubicBezTo>
                    <a:pt x="42439" y="1497"/>
                    <a:pt x="42439" y="1497"/>
                    <a:pt x="42439" y="1497"/>
                  </a:cubicBezTo>
                  <a:cubicBezTo>
                    <a:pt x="40975" y="2139"/>
                    <a:pt x="40975" y="2139"/>
                    <a:pt x="40975" y="2139"/>
                  </a:cubicBezTo>
                  <a:cubicBezTo>
                    <a:pt x="40975" y="2994"/>
                    <a:pt x="40975" y="2994"/>
                    <a:pt x="40975" y="2994"/>
                  </a:cubicBezTo>
                  <a:cubicBezTo>
                    <a:pt x="40243" y="3850"/>
                    <a:pt x="40243" y="3850"/>
                    <a:pt x="40243" y="3850"/>
                  </a:cubicBezTo>
                  <a:cubicBezTo>
                    <a:pt x="39024" y="3850"/>
                    <a:pt x="39024" y="3850"/>
                    <a:pt x="39024" y="3850"/>
                  </a:cubicBezTo>
                  <a:cubicBezTo>
                    <a:pt x="37804" y="2994"/>
                    <a:pt x="37804" y="2994"/>
                    <a:pt x="37804" y="2994"/>
                  </a:cubicBezTo>
                  <a:cubicBezTo>
                    <a:pt x="37317" y="3422"/>
                    <a:pt x="37317" y="3422"/>
                    <a:pt x="37317" y="3422"/>
                  </a:cubicBezTo>
                  <a:cubicBezTo>
                    <a:pt x="36097" y="3208"/>
                    <a:pt x="36097" y="3208"/>
                    <a:pt x="36097" y="3208"/>
                  </a:cubicBezTo>
                  <a:cubicBezTo>
                    <a:pt x="35853" y="3208"/>
                    <a:pt x="35853" y="3208"/>
                    <a:pt x="35853" y="3208"/>
                  </a:cubicBezTo>
                  <a:cubicBezTo>
                    <a:pt x="35609" y="3208"/>
                    <a:pt x="35609" y="3208"/>
                    <a:pt x="35609" y="3208"/>
                  </a:cubicBezTo>
                  <a:cubicBezTo>
                    <a:pt x="35609" y="3208"/>
                    <a:pt x="35365" y="3422"/>
                    <a:pt x="35365" y="3422"/>
                  </a:cubicBezTo>
                  <a:cubicBezTo>
                    <a:pt x="35609" y="3850"/>
                    <a:pt x="35609" y="3850"/>
                    <a:pt x="35609" y="3850"/>
                  </a:cubicBezTo>
                  <a:cubicBezTo>
                    <a:pt x="35365" y="4064"/>
                    <a:pt x="35365" y="4064"/>
                    <a:pt x="35365" y="4064"/>
                  </a:cubicBezTo>
                  <a:cubicBezTo>
                    <a:pt x="35609" y="4491"/>
                    <a:pt x="35609" y="4491"/>
                    <a:pt x="35609" y="4491"/>
                  </a:cubicBezTo>
                  <a:cubicBezTo>
                    <a:pt x="35609" y="4491"/>
                    <a:pt x="35365" y="4705"/>
                    <a:pt x="35121" y="4919"/>
                  </a:cubicBezTo>
                  <a:cubicBezTo>
                    <a:pt x="34878" y="4919"/>
                    <a:pt x="35365" y="5347"/>
                    <a:pt x="35365" y="5347"/>
                  </a:cubicBezTo>
                  <a:cubicBezTo>
                    <a:pt x="35365" y="5347"/>
                    <a:pt x="35609" y="5347"/>
                    <a:pt x="36097" y="5561"/>
                  </a:cubicBezTo>
                  <a:cubicBezTo>
                    <a:pt x="36341" y="5775"/>
                    <a:pt x="36097" y="5775"/>
                    <a:pt x="36097" y="5775"/>
                  </a:cubicBezTo>
                  <a:cubicBezTo>
                    <a:pt x="36097" y="5989"/>
                    <a:pt x="36097" y="6203"/>
                    <a:pt x="35853" y="6203"/>
                  </a:cubicBezTo>
                  <a:cubicBezTo>
                    <a:pt x="35853" y="6417"/>
                    <a:pt x="35853" y="6417"/>
                    <a:pt x="35853" y="6417"/>
                  </a:cubicBezTo>
                  <a:cubicBezTo>
                    <a:pt x="35609" y="6417"/>
                    <a:pt x="35609" y="6417"/>
                    <a:pt x="35609" y="6417"/>
                  </a:cubicBezTo>
                  <a:cubicBezTo>
                    <a:pt x="35609" y="6417"/>
                    <a:pt x="34878" y="6631"/>
                    <a:pt x="34878" y="6417"/>
                  </a:cubicBezTo>
                  <a:cubicBezTo>
                    <a:pt x="34634" y="6417"/>
                    <a:pt x="34878" y="6417"/>
                    <a:pt x="34878" y="6417"/>
                  </a:cubicBezTo>
                  <a:cubicBezTo>
                    <a:pt x="34634" y="6417"/>
                    <a:pt x="34634" y="6417"/>
                    <a:pt x="34634" y="6417"/>
                  </a:cubicBezTo>
                  <a:cubicBezTo>
                    <a:pt x="34634" y="6417"/>
                    <a:pt x="33902" y="5989"/>
                    <a:pt x="33902" y="5989"/>
                  </a:cubicBezTo>
                  <a:cubicBezTo>
                    <a:pt x="33902" y="5775"/>
                    <a:pt x="33902" y="5775"/>
                    <a:pt x="33902" y="5775"/>
                  </a:cubicBezTo>
                  <a:cubicBezTo>
                    <a:pt x="33902" y="5775"/>
                    <a:pt x="33658" y="5561"/>
                    <a:pt x="33658" y="5561"/>
                  </a:cubicBezTo>
                  <a:cubicBezTo>
                    <a:pt x="33414" y="5561"/>
                    <a:pt x="33414" y="5775"/>
                    <a:pt x="33414" y="5775"/>
                  </a:cubicBezTo>
                  <a:cubicBezTo>
                    <a:pt x="33170" y="5775"/>
                    <a:pt x="32926" y="5775"/>
                    <a:pt x="32682" y="5775"/>
                  </a:cubicBezTo>
                  <a:cubicBezTo>
                    <a:pt x="32682" y="5775"/>
                    <a:pt x="32682" y="5989"/>
                    <a:pt x="32439" y="5989"/>
                  </a:cubicBezTo>
                  <a:cubicBezTo>
                    <a:pt x="32439" y="6203"/>
                    <a:pt x="32439" y="6203"/>
                    <a:pt x="32439" y="6417"/>
                  </a:cubicBezTo>
                  <a:cubicBezTo>
                    <a:pt x="32195" y="6417"/>
                    <a:pt x="32195" y="6631"/>
                    <a:pt x="32195" y="6631"/>
                  </a:cubicBezTo>
                  <a:cubicBezTo>
                    <a:pt x="32195" y="6844"/>
                    <a:pt x="32195" y="6844"/>
                    <a:pt x="32195" y="6844"/>
                  </a:cubicBezTo>
                  <a:cubicBezTo>
                    <a:pt x="31951" y="7272"/>
                    <a:pt x="31951" y="7272"/>
                    <a:pt x="31951" y="7272"/>
                  </a:cubicBezTo>
                  <a:cubicBezTo>
                    <a:pt x="32195" y="7272"/>
                    <a:pt x="32195" y="7272"/>
                    <a:pt x="32195" y="7272"/>
                  </a:cubicBezTo>
                  <a:cubicBezTo>
                    <a:pt x="32195" y="7272"/>
                    <a:pt x="32195" y="7700"/>
                    <a:pt x="32195" y="7700"/>
                  </a:cubicBezTo>
                  <a:cubicBezTo>
                    <a:pt x="32195" y="7914"/>
                    <a:pt x="32195" y="7914"/>
                    <a:pt x="32195" y="7914"/>
                  </a:cubicBezTo>
                  <a:cubicBezTo>
                    <a:pt x="32439" y="8128"/>
                    <a:pt x="32682" y="7914"/>
                    <a:pt x="32682" y="7914"/>
                  </a:cubicBezTo>
                  <a:cubicBezTo>
                    <a:pt x="32682" y="7914"/>
                    <a:pt x="32926" y="8128"/>
                    <a:pt x="32926" y="8342"/>
                  </a:cubicBezTo>
                  <a:cubicBezTo>
                    <a:pt x="33170" y="8342"/>
                    <a:pt x="32926" y="8556"/>
                    <a:pt x="32926" y="8556"/>
                  </a:cubicBezTo>
                  <a:cubicBezTo>
                    <a:pt x="32926" y="8556"/>
                    <a:pt x="32682" y="8770"/>
                    <a:pt x="32682" y="8770"/>
                  </a:cubicBezTo>
                  <a:cubicBezTo>
                    <a:pt x="32439" y="8770"/>
                    <a:pt x="32439" y="8770"/>
                    <a:pt x="32682" y="8983"/>
                  </a:cubicBezTo>
                  <a:cubicBezTo>
                    <a:pt x="32682" y="9197"/>
                    <a:pt x="32926" y="9197"/>
                    <a:pt x="32926" y="9197"/>
                  </a:cubicBezTo>
                  <a:cubicBezTo>
                    <a:pt x="33170" y="9197"/>
                    <a:pt x="33170" y="9839"/>
                    <a:pt x="33170" y="9839"/>
                  </a:cubicBezTo>
                  <a:cubicBezTo>
                    <a:pt x="33170" y="10053"/>
                    <a:pt x="32926" y="10267"/>
                    <a:pt x="32926" y="10267"/>
                  </a:cubicBezTo>
                  <a:cubicBezTo>
                    <a:pt x="32926" y="10267"/>
                    <a:pt x="32926" y="10267"/>
                    <a:pt x="32926" y="10267"/>
                  </a:cubicBezTo>
                  <a:cubicBezTo>
                    <a:pt x="32682" y="10267"/>
                    <a:pt x="32682" y="10267"/>
                    <a:pt x="32682" y="10481"/>
                  </a:cubicBezTo>
                  <a:cubicBezTo>
                    <a:pt x="32682" y="10481"/>
                    <a:pt x="32195" y="10481"/>
                    <a:pt x="32195" y="10481"/>
                  </a:cubicBezTo>
                  <a:cubicBezTo>
                    <a:pt x="32195" y="10481"/>
                    <a:pt x="32439" y="10053"/>
                    <a:pt x="32195" y="10053"/>
                  </a:cubicBezTo>
                  <a:cubicBezTo>
                    <a:pt x="32195" y="9839"/>
                    <a:pt x="31951" y="9839"/>
                    <a:pt x="31707" y="9625"/>
                  </a:cubicBezTo>
                  <a:cubicBezTo>
                    <a:pt x="31463" y="9197"/>
                    <a:pt x="31707" y="9197"/>
                    <a:pt x="31707" y="9197"/>
                  </a:cubicBezTo>
                  <a:cubicBezTo>
                    <a:pt x="31707" y="9197"/>
                    <a:pt x="31707" y="9197"/>
                    <a:pt x="31463" y="8983"/>
                  </a:cubicBezTo>
                  <a:cubicBezTo>
                    <a:pt x="31463" y="8770"/>
                    <a:pt x="31463" y="8556"/>
                    <a:pt x="31463" y="8556"/>
                  </a:cubicBezTo>
                  <a:cubicBezTo>
                    <a:pt x="31463" y="8556"/>
                    <a:pt x="30975" y="8556"/>
                    <a:pt x="30731" y="8556"/>
                  </a:cubicBezTo>
                  <a:cubicBezTo>
                    <a:pt x="30243" y="8556"/>
                    <a:pt x="30487" y="8770"/>
                    <a:pt x="30487" y="8770"/>
                  </a:cubicBezTo>
                  <a:cubicBezTo>
                    <a:pt x="30000" y="8770"/>
                    <a:pt x="30000" y="8770"/>
                    <a:pt x="30000" y="8770"/>
                  </a:cubicBezTo>
                  <a:cubicBezTo>
                    <a:pt x="30000" y="8770"/>
                    <a:pt x="29756" y="8983"/>
                    <a:pt x="29756" y="8983"/>
                  </a:cubicBezTo>
                  <a:cubicBezTo>
                    <a:pt x="29512" y="9197"/>
                    <a:pt x="29512" y="8983"/>
                    <a:pt x="29268" y="8983"/>
                  </a:cubicBezTo>
                  <a:cubicBezTo>
                    <a:pt x="29268" y="8983"/>
                    <a:pt x="29024" y="8983"/>
                    <a:pt x="29024" y="8983"/>
                  </a:cubicBezTo>
                  <a:cubicBezTo>
                    <a:pt x="29024" y="8983"/>
                    <a:pt x="28780" y="9197"/>
                    <a:pt x="29024" y="9411"/>
                  </a:cubicBezTo>
                  <a:cubicBezTo>
                    <a:pt x="29024" y="9625"/>
                    <a:pt x="29024" y="9625"/>
                    <a:pt x="28780" y="9625"/>
                  </a:cubicBezTo>
                  <a:cubicBezTo>
                    <a:pt x="28780" y="9839"/>
                    <a:pt x="28292" y="9625"/>
                    <a:pt x="27804" y="9625"/>
                  </a:cubicBezTo>
                  <a:cubicBezTo>
                    <a:pt x="27073" y="9625"/>
                    <a:pt x="27560" y="9411"/>
                    <a:pt x="27317" y="9411"/>
                  </a:cubicBezTo>
                  <a:cubicBezTo>
                    <a:pt x="27317" y="9197"/>
                    <a:pt x="26829" y="9197"/>
                    <a:pt x="26829" y="8983"/>
                  </a:cubicBezTo>
                  <a:cubicBezTo>
                    <a:pt x="26829" y="8556"/>
                    <a:pt x="26829" y="8556"/>
                    <a:pt x="26829" y="8342"/>
                  </a:cubicBezTo>
                  <a:cubicBezTo>
                    <a:pt x="26829" y="8128"/>
                    <a:pt x="26585" y="7914"/>
                    <a:pt x="26585" y="7914"/>
                  </a:cubicBezTo>
                  <a:cubicBezTo>
                    <a:pt x="26341" y="7700"/>
                    <a:pt x="26585" y="7486"/>
                    <a:pt x="26829" y="7486"/>
                  </a:cubicBezTo>
                  <a:cubicBezTo>
                    <a:pt x="26829" y="7272"/>
                    <a:pt x="26585" y="7272"/>
                    <a:pt x="26585" y="7272"/>
                  </a:cubicBezTo>
                  <a:cubicBezTo>
                    <a:pt x="26097" y="7486"/>
                    <a:pt x="26097" y="7486"/>
                    <a:pt x="26097" y="7486"/>
                  </a:cubicBezTo>
                  <a:cubicBezTo>
                    <a:pt x="25853" y="7486"/>
                    <a:pt x="25853" y="7486"/>
                    <a:pt x="25853" y="7486"/>
                  </a:cubicBezTo>
                  <a:cubicBezTo>
                    <a:pt x="25853" y="7486"/>
                    <a:pt x="25609" y="7272"/>
                    <a:pt x="25365" y="7272"/>
                  </a:cubicBezTo>
                  <a:cubicBezTo>
                    <a:pt x="25365" y="7058"/>
                    <a:pt x="25121" y="7272"/>
                    <a:pt x="25121" y="7272"/>
                  </a:cubicBezTo>
                  <a:cubicBezTo>
                    <a:pt x="24634" y="7700"/>
                    <a:pt x="24634" y="7700"/>
                    <a:pt x="24634" y="7700"/>
                  </a:cubicBezTo>
                  <a:cubicBezTo>
                    <a:pt x="24634" y="7914"/>
                    <a:pt x="24634" y="7914"/>
                    <a:pt x="24634" y="7914"/>
                  </a:cubicBezTo>
                  <a:cubicBezTo>
                    <a:pt x="24878" y="8342"/>
                    <a:pt x="24878" y="8342"/>
                    <a:pt x="24878" y="8342"/>
                  </a:cubicBezTo>
                  <a:cubicBezTo>
                    <a:pt x="24878" y="8770"/>
                    <a:pt x="24878" y="8770"/>
                    <a:pt x="24878" y="8770"/>
                  </a:cubicBezTo>
                  <a:cubicBezTo>
                    <a:pt x="24878" y="8770"/>
                    <a:pt x="24878" y="8983"/>
                    <a:pt x="24878" y="9197"/>
                  </a:cubicBezTo>
                  <a:cubicBezTo>
                    <a:pt x="24878" y="9197"/>
                    <a:pt x="24878" y="9411"/>
                    <a:pt x="24878" y="9411"/>
                  </a:cubicBezTo>
                  <a:cubicBezTo>
                    <a:pt x="24878" y="9625"/>
                    <a:pt x="24878" y="9625"/>
                    <a:pt x="24878" y="9625"/>
                  </a:cubicBezTo>
                  <a:cubicBezTo>
                    <a:pt x="24878" y="9625"/>
                    <a:pt x="24634" y="9839"/>
                    <a:pt x="24634" y="10053"/>
                  </a:cubicBezTo>
                  <a:cubicBezTo>
                    <a:pt x="24634" y="10053"/>
                    <a:pt x="24634" y="10267"/>
                    <a:pt x="24634" y="10481"/>
                  </a:cubicBezTo>
                  <a:cubicBezTo>
                    <a:pt x="24390" y="10695"/>
                    <a:pt x="24390" y="10695"/>
                    <a:pt x="24390" y="10695"/>
                  </a:cubicBezTo>
                  <a:cubicBezTo>
                    <a:pt x="24390" y="10695"/>
                    <a:pt x="24146" y="10909"/>
                    <a:pt x="24146" y="11122"/>
                  </a:cubicBezTo>
                  <a:cubicBezTo>
                    <a:pt x="24146" y="11122"/>
                    <a:pt x="23658" y="11122"/>
                    <a:pt x="23658" y="11122"/>
                  </a:cubicBezTo>
                  <a:cubicBezTo>
                    <a:pt x="23658" y="11122"/>
                    <a:pt x="23414" y="11550"/>
                    <a:pt x="23170" y="11550"/>
                  </a:cubicBezTo>
                  <a:cubicBezTo>
                    <a:pt x="23170" y="11550"/>
                    <a:pt x="23170" y="11978"/>
                    <a:pt x="23170" y="12192"/>
                  </a:cubicBezTo>
                  <a:cubicBezTo>
                    <a:pt x="23170" y="12192"/>
                    <a:pt x="23170" y="12406"/>
                    <a:pt x="23170" y="12406"/>
                  </a:cubicBezTo>
                  <a:cubicBezTo>
                    <a:pt x="22682" y="12620"/>
                    <a:pt x="22682" y="12620"/>
                    <a:pt x="22682" y="12620"/>
                  </a:cubicBezTo>
                  <a:cubicBezTo>
                    <a:pt x="22682" y="12620"/>
                    <a:pt x="22926" y="13048"/>
                    <a:pt x="22926" y="13048"/>
                  </a:cubicBezTo>
                  <a:cubicBezTo>
                    <a:pt x="22926" y="13262"/>
                    <a:pt x="22682" y="13262"/>
                    <a:pt x="22682" y="13262"/>
                  </a:cubicBezTo>
                  <a:cubicBezTo>
                    <a:pt x="22439" y="13475"/>
                    <a:pt x="22682" y="13475"/>
                    <a:pt x="22682" y="13689"/>
                  </a:cubicBezTo>
                  <a:cubicBezTo>
                    <a:pt x="22439" y="13903"/>
                    <a:pt x="22682" y="13903"/>
                    <a:pt x="22682" y="13903"/>
                  </a:cubicBezTo>
                  <a:cubicBezTo>
                    <a:pt x="22682" y="14117"/>
                    <a:pt x="23414" y="14331"/>
                    <a:pt x="23414" y="14331"/>
                  </a:cubicBezTo>
                  <a:cubicBezTo>
                    <a:pt x="23414" y="14331"/>
                    <a:pt x="23414" y="14331"/>
                    <a:pt x="23170" y="14545"/>
                  </a:cubicBezTo>
                  <a:cubicBezTo>
                    <a:pt x="22682" y="14759"/>
                    <a:pt x="22926" y="15187"/>
                    <a:pt x="22926" y="15187"/>
                  </a:cubicBezTo>
                  <a:cubicBezTo>
                    <a:pt x="22682" y="15401"/>
                    <a:pt x="22682" y="15401"/>
                    <a:pt x="22682" y="15401"/>
                  </a:cubicBezTo>
                  <a:cubicBezTo>
                    <a:pt x="22682" y="15401"/>
                    <a:pt x="22439" y="15187"/>
                    <a:pt x="22195" y="15187"/>
                  </a:cubicBezTo>
                  <a:cubicBezTo>
                    <a:pt x="22195" y="15187"/>
                    <a:pt x="22195" y="15187"/>
                    <a:pt x="21707" y="15187"/>
                  </a:cubicBezTo>
                  <a:cubicBezTo>
                    <a:pt x="21219" y="15187"/>
                    <a:pt x="21707" y="14973"/>
                    <a:pt x="21707" y="14973"/>
                  </a:cubicBezTo>
                  <a:cubicBezTo>
                    <a:pt x="21707" y="14973"/>
                    <a:pt x="21707" y="14545"/>
                    <a:pt x="21707" y="14331"/>
                  </a:cubicBezTo>
                  <a:cubicBezTo>
                    <a:pt x="21707" y="14331"/>
                    <a:pt x="21707" y="14331"/>
                    <a:pt x="21707" y="14331"/>
                  </a:cubicBezTo>
                  <a:cubicBezTo>
                    <a:pt x="21707" y="14331"/>
                    <a:pt x="21707" y="14117"/>
                    <a:pt x="21463" y="13903"/>
                  </a:cubicBezTo>
                  <a:cubicBezTo>
                    <a:pt x="21463" y="13689"/>
                    <a:pt x="21219" y="13689"/>
                    <a:pt x="21219" y="13689"/>
                  </a:cubicBezTo>
                  <a:cubicBezTo>
                    <a:pt x="20487" y="13262"/>
                    <a:pt x="20487" y="13262"/>
                    <a:pt x="20487" y="13262"/>
                  </a:cubicBezTo>
                  <a:cubicBezTo>
                    <a:pt x="20487" y="13262"/>
                    <a:pt x="20731" y="12834"/>
                    <a:pt x="20975" y="12620"/>
                  </a:cubicBezTo>
                  <a:cubicBezTo>
                    <a:pt x="20975" y="12620"/>
                    <a:pt x="20975" y="12620"/>
                    <a:pt x="20975" y="12620"/>
                  </a:cubicBezTo>
                  <a:cubicBezTo>
                    <a:pt x="20975" y="12620"/>
                    <a:pt x="20975" y="12620"/>
                    <a:pt x="21219" y="12406"/>
                  </a:cubicBezTo>
                  <a:cubicBezTo>
                    <a:pt x="21219" y="12192"/>
                    <a:pt x="20975" y="12192"/>
                    <a:pt x="20975" y="12192"/>
                  </a:cubicBezTo>
                  <a:cubicBezTo>
                    <a:pt x="20731" y="12192"/>
                    <a:pt x="20731" y="12192"/>
                    <a:pt x="20731" y="12192"/>
                  </a:cubicBezTo>
                  <a:cubicBezTo>
                    <a:pt x="20487" y="11978"/>
                    <a:pt x="20487" y="11978"/>
                    <a:pt x="20487" y="11978"/>
                  </a:cubicBezTo>
                  <a:cubicBezTo>
                    <a:pt x="20487" y="11978"/>
                    <a:pt x="20000" y="12192"/>
                    <a:pt x="20000" y="11978"/>
                  </a:cubicBezTo>
                  <a:cubicBezTo>
                    <a:pt x="19756" y="11978"/>
                    <a:pt x="19268" y="11978"/>
                    <a:pt x="19268" y="11764"/>
                  </a:cubicBezTo>
                  <a:cubicBezTo>
                    <a:pt x="19268" y="11764"/>
                    <a:pt x="19024" y="11764"/>
                    <a:pt x="18780" y="11764"/>
                  </a:cubicBezTo>
                  <a:cubicBezTo>
                    <a:pt x="18780" y="11764"/>
                    <a:pt x="18536" y="11764"/>
                    <a:pt x="18536" y="11764"/>
                  </a:cubicBezTo>
                  <a:cubicBezTo>
                    <a:pt x="18292" y="11550"/>
                    <a:pt x="18048" y="11336"/>
                    <a:pt x="18048" y="11336"/>
                  </a:cubicBezTo>
                  <a:cubicBezTo>
                    <a:pt x="18048" y="11122"/>
                    <a:pt x="17804" y="10909"/>
                    <a:pt x="17804" y="10909"/>
                  </a:cubicBezTo>
                  <a:cubicBezTo>
                    <a:pt x="17560" y="10909"/>
                    <a:pt x="17560" y="10909"/>
                    <a:pt x="17560" y="10909"/>
                  </a:cubicBezTo>
                  <a:cubicBezTo>
                    <a:pt x="17560" y="10909"/>
                    <a:pt x="17317" y="10481"/>
                    <a:pt x="17073" y="10481"/>
                  </a:cubicBezTo>
                  <a:cubicBezTo>
                    <a:pt x="17073" y="10481"/>
                    <a:pt x="17073" y="10267"/>
                    <a:pt x="17073" y="10267"/>
                  </a:cubicBezTo>
                  <a:cubicBezTo>
                    <a:pt x="16829" y="10053"/>
                    <a:pt x="16829" y="10053"/>
                    <a:pt x="16829" y="10053"/>
                  </a:cubicBezTo>
                  <a:cubicBezTo>
                    <a:pt x="16829" y="10053"/>
                    <a:pt x="16829" y="9839"/>
                    <a:pt x="16829" y="9625"/>
                  </a:cubicBezTo>
                  <a:cubicBezTo>
                    <a:pt x="16829" y="9625"/>
                    <a:pt x="17073" y="9197"/>
                    <a:pt x="17073" y="9197"/>
                  </a:cubicBezTo>
                  <a:cubicBezTo>
                    <a:pt x="17073" y="9197"/>
                    <a:pt x="16829" y="8770"/>
                    <a:pt x="16829" y="8556"/>
                  </a:cubicBezTo>
                  <a:cubicBezTo>
                    <a:pt x="16829" y="8342"/>
                    <a:pt x="17073" y="7914"/>
                    <a:pt x="17073" y="7914"/>
                  </a:cubicBezTo>
                  <a:cubicBezTo>
                    <a:pt x="17073" y="7914"/>
                    <a:pt x="16097" y="8128"/>
                    <a:pt x="15853" y="8342"/>
                  </a:cubicBezTo>
                  <a:cubicBezTo>
                    <a:pt x="15609" y="8342"/>
                    <a:pt x="15609" y="8556"/>
                    <a:pt x="15609" y="8556"/>
                  </a:cubicBezTo>
                  <a:cubicBezTo>
                    <a:pt x="15609" y="8556"/>
                    <a:pt x="15609" y="8770"/>
                    <a:pt x="15609" y="8983"/>
                  </a:cubicBezTo>
                  <a:cubicBezTo>
                    <a:pt x="15365" y="8983"/>
                    <a:pt x="15365" y="8983"/>
                    <a:pt x="15365" y="8983"/>
                  </a:cubicBezTo>
                  <a:cubicBezTo>
                    <a:pt x="15365" y="8983"/>
                    <a:pt x="14878" y="9411"/>
                    <a:pt x="14634" y="9411"/>
                  </a:cubicBezTo>
                  <a:cubicBezTo>
                    <a:pt x="14634" y="9625"/>
                    <a:pt x="14634" y="9625"/>
                    <a:pt x="14390" y="9625"/>
                  </a:cubicBezTo>
                  <a:cubicBezTo>
                    <a:pt x="14146" y="9625"/>
                    <a:pt x="13902" y="9839"/>
                    <a:pt x="13902" y="9839"/>
                  </a:cubicBezTo>
                  <a:cubicBezTo>
                    <a:pt x="13658" y="10053"/>
                    <a:pt x="13658" y="10053"/>
                    <a:pt x="13658" y="10053"/>
                  </a:cubicBezTo>
                  <a:cubicBezTo>
                    <a:pt x="13902" y="10267"/>
                    <a:pt x="13902" y="10267"/>
                    <a:pt x="13902" y="10267"/>
                  </a:cubicBezTo>
                  <a:cubicBezTo>
                    <a:pt x="14146" y="10909"/>
                    <a:pt x="14146" y="10909"/>
                    <a:pt x="14146" y="10909"/>
                  </a:cubicBezTo>
                  <a:cubicBezTo>
                    <a:pt x="13902" y="11336"/>
                    <a:pt x="13902" y="11336"/>
                    <a:pt x="13902" y="11336"/>
                  </a:cubicBezTo>
                  <a:cubicBezTo>
                    <a:pt x="13902" y="11336"/>
                    <a:pt x="13902" y="11336"/>
                    <a:pt x="13902" y="11550"/>
                  </a:cubicBezTo>
                  <a:cubicBezTo>
                    <a:pt x="13658" y="11978"/>
                    <a:pt x="13658" y="11978"/>
                    <a:pt x="13658" y="11978"/>
                  </a:cubicBezTo>
                  <a:cubicBezTo>
                    <a:pt x="13414" y="12192"/>
                    <a:pt x="13414" y="12192"/>
                    <a:pt x="13414" y="12192"/>
                  </a:cubicBezTo>
                  <a:cubicBezTo>
                    <a:pt x="13170" y="12406"/>
                    <a:pt x="13170" y="12406"/>
                    <a:pt x="13170" y="12406"/>
                  </a:cubicBezTo>
                  <a:cubicBezTo>
                    <a:pt x="13170" y="12406"/>
                    <a:pt x="13170" y="12620"/>
                    <a:pt x="13170" y="12834"/>
                  </a:cubicBezTo>
                  <a:cubicBezTo>
                    <a:pt x="13170" y="12834"/>
                    <a:pt x="13170" y="13048"/>
                    <a:pt x="12926" y="13262"/>
                  </a:cubicBezTo>
                  <a:cubicBezTo>
                    <a:pt x="12682" y="13475"/>
                    <a:pt x="12682" y="13475"/>
                    <a:pt x="12682" y="13475"/>
                  </a:cubicBezTo>
                  <a:cubicBezTo>
                    <a:pt x="12682" y="13475"/>
                    <a:pt x="12439" y="13475"/>
                    <a:pt x="12195" y="13475"/>
                  </a:cubicBezTo>
                  <a:cubicBezTo>
                    <a:pt x="11951" y="13475"/>
                    <a:pt x="11951" y="13689"/>
                    <a:pt x="11707" y="13689"/>
                  </a:cubicBezTo>
                  <a:cubicBezTo>
                    <a:pt x="11219" y="13689"/>
                    <a:pt x="11463" y="13903"/>
                    <a:pt x="11463" y="14117"/>
                  </a:cubicBezTo>
                  <a:cubicBezTo>
                    <a:pt x="11463" y="14117"/>
                    <a:pt x="11463" y="14117"/>
                    <a:pt x="11463" y="14331"/>
                  </a:cubicBezTo>
                  <a:cubicBezTo>
                    <a:pt x="11219" y="14331"/>
                    <a:pt x="10731" y="14331"/>
                    <a:pt x="10731" y="14117"/>
                  </a:cubicBezTo>
                  <a:cubicBezTo>
                    <a:pt x="10487" y="14117"/>
                    <a:pt x="10487" y="14117"/>
                    <a:pt x="10243" y="14117"/>
                  </a:cubicBezTo>
                  <a:cubicBezTo>
                    <a:pt x="10243" y="14331"/>
                    <a:pt x="10000" y="13903"/>
                    <a:pt x="10000" y="13903"/>
                  </a:cubicBezTo>
                  <a:cubicBezTo>
                    <a:pt x="10000" y="13903"/>
                    <a:pt x="9756" y="13689"/>
                    <a:pt x="9756" y="13689"/>
                  </a:cubicBezTo>
                  <a:cubicBezTo>
                    <a:pt x="9756" y="13475"/>
                    <a:pt x="9268" y="13689"/>
                    <a:pt x="9268" y="13689"/>
                  </a:cubicBezTo>
                  <a:cubicBezTo>
                    <a:pt x="9024" y="13475"/>
                    <a:pt x="8536" y="13475"/>
                    <a:pt x="8536" y="13475"/>
                  </a:cubicBezTo>
                  <a:cubicBezTo>
                    <a:pt x="8292" y="13475"/>
                    <a:pt x="8536" y="13689"/>
                    <a:pt x="8536" y="13689"/>
                  </a:cubicBezTo>
                  <a:cubicBezTo>
                    <a:pt x="8536" y="13689"/>
                    <a:pt x="8292" y="13689"/>
                    <a:pt x="8048" y="13689"/>
                  </a:cubicBezTo>
                  <a:cubicBezTo>
                    <a:pt x="7804" y="13689"/>
                    <a:pt x="7804" y="13903"/>
                    <a:pt x="7804" y="13903"/>
                  </a:cubicBezTo>
                  <a:cubicBezTo>
                    <a:pt x="7804" y="14331"/>
                    <a:pt x="7804" y="14331"/>
                    <a:pt x="7804" y="14331"/>
                  </a:cubicBezTo>
                  <a:cubicBezTo>
                    <a:pt x="7804" y="14331"/>
                    <a:pt x="7073" y="14331"/>
                    <a:pt x="6829" y="14331"/>
                  </a:cubicBezTo>
                  <a:cubicBezTo>
                    <a:pt x="6585" y="14331"/>
                    <a:pt x="6341" y="14117"/>
                    <a:pt x="6097" y="14117"/>
                  </a:cubicBezTo>
                  <a:cubicBezTo>
                    <a:pt x="5853" y="14117"/>
                    <a:pt x="5609" y="14331"/>
                    <a:pt x="5609" y="14331"/>
                  </a:cubicBezTo>
                  <a:cubicBezTo>
                    <a:pt x="5609" y="14331"/>
                    <a:pt x="5121" y="14545"/>
                    <a:pt x="5121" y="14545"/>
                  </a:cubicBezTo>
                  <a:cubicBezTo>
                    <a:pt x="5121" y="14545"/>
                    <a:pt x="4878" y="14759"/>
                    <a:pt x="4634" y="14759"/>
                  </a:cubicBezTo>
                  <a:cubicBezTo>
                    <a:pt x="4390" y="14759"/>
                    <a:pt x="4390" y="14545"/>
                    <a:pt x="4390" y="14545"/>
                  </a:cubicBezTo>
                  <a:cubicBezTo>
                    <a:pt x="4390" y="14545"/>
                    <a:pt x="3902" y="14117"/>
                    <a:pt x="3902" y="14117"/>
                  </a:cubicBezTo>
                  <a:cubicBezTo>
                    <a:pt x="3902" y="14117"/>
                    <a:pt x="3902" y="14117"/>
                    <a:pt x="3902" y="14117"/>
                  </a:cubicBezTo>
                  <a:cubicBezTo>
                    <a:pt x="2926" y="14545"/>
                    <a:pt x="2926" y="14545"/>
                    <a:pt x="2926" y="14545"/>
                  </a:cubicBezTo>
                  <a:cubicBezTo>
                    <a:pt x="1707" y="15401"/>
                    <a:pt x="1707" y="15401"/>
                    <a:pt x="1707" y="15401"/>
                  </a:cubicBezTo>
                  <a:cubicBezTo>
                    <a:pt x="1707" y="16470"/>
                    <a:pt x="1707" y="16470"/>
                    <a:pt x="1707" y="16470"/>
                  </a:cubicBezTo>
                  <a:cubicBezTo>
                    <a:pt x="2682" y="16898"/>
                    <a:pt x="2195" y="17326"/>
                    <a:pt x="4390" y="18181"/>
                  </a:cubicBezTo>
                  <a:cubicBezTo>
                    <a:pt x="4634" y="18181"/>
                    <a:pt x="5121" y="19251"/>
                    <a:pt x="5121" y="19251"/>
                  </a:cubicBezTo>
                  <a:cubicBezTo>
                    <a:pt x="5121" y="19465"/>
                    <a:pt x="4634" y="21176"/>
                    <a:pt x="4390" y="21390"/>
                  </a:cubicBezTo>
                  <a:cubicBezTo>
                    <a:pt x="3902" y="21604"/>
                    <a:pt x="3414" y="22459"/>
                    <a:pt x="3414" y="22459"/>
                  </a:cubicBezTo>
                  <a:cubicBezTo>
                    <a:pt x="3414" y="22459"/>
                    <a:pt x="2439" y="23315"/>
                    <a:pt x="2195" y="23315"/>
                  </a:cubicBezTo>
                  <a:cubicBezTo>
                    <a:pt x="1951" y="23315"/>
                    <a:pt x="1219" y="23529"/>
                    <a:pt x="975" y="23529"/>
                  </a:cubicBezTo>
                  <a:cubicBezTo>
                    <a:pt x="975" y="23529"/>
                    <a:pt x="0" y="23529"/>
                    <a:pt x="243" y="23743"/>
                  </a:cubicBezTo>
                  <a:cubicBezTo>
                    <a:pt x="243" y="23743"/>
                    <a:pt x="243" y="24171"/>
                    <a:pt x="243" y="24171"/>
                  </a:cubicBezTo>
                  <a:cubicBezTo>
                    <a:pt x="487" y="24385"/>
                    <a:pt x="1219" y="25240"/>
                    <a:pt x="1219" y="25240"/>
                  </a:cubicBezTo>
                  <a:cubicBezTo>
                    <a:pt x="2439" y="25882"/>
                    <a:pt x="2439" y="25882"/>
                    <a:pt x="2439" y="25882"/>
                  </a:cubicBezTo>
                  <a:cubicBezTo>
                    <a:pt x="3170" y="26524"/>
                    <a:pt x="3170" y="26524"/>
                    <a:pt x="3170" y="26524"/>
                  </a:cubicBezTo>
                  <a:cubicBezTo>
                    <a:pt x="3414" y="28663"/>
                    <a:pt x="3414" y="28663"/>
                    <a:pt x="3414" y="28663"/>
                  </a:cubicBezTo>
                  <a:cubicBezTo>
                    <a:pt x="2439" y="29946"/>
                    <a:pt x="2439" y="29946"/>
                    <a:pt x="2439" y="29946"/>
                  </a:cubicBezTo>
                  <a:cubicBezTo>
                    <a:pt x="1463" y="31016"/>
                    <a:pt x="1951" y="30374"/>
                    <a:pt x="2195" y="31871"/>
                  </a:cubicBezTo>
                  <a:cubicBezTo>
                    <a:pt x="2926" y="31871"/>
                    <a:pt x="2926" y="31871"/>
                    <a:pt x="2926" y="31871"/>
                  </a:cubicBezTo>
                  <a:cubicBezTo>
                    <a:pt x="4146" y="33582"/>
                    <a:pt x="4146" y="33582"/>
                    <a:pt x="4146" y="33582"/>
                  </a:cubicBezTo>
                  <a:cubicBezTo>
                    <a:pt x="6585" y="34438"/>
                    <a:pt x="6585" y="34438"/>
                    <a:pt x="6585" y="34438"/>
                  </a:cubicBezTo>
                  <a:cubicBezTo>
                    <a:pt x="8780" y="34438"/>
                    <a:pt x="8780" y="34438"/>
                    <a:pt x="8780" y="34438"/>
                  </a:cubicBezTo>
                  <a:cubicBezTo>
                    <a:pt x="9756" y="35080"/>
                    <a:pt x="9756" y="35080"/>
                    <a:pt x="9756" y="35080"/>
                  </a:cubicBezTo>
                  <a:cubicBezTo>
                    <a:pt x="9024" y="37433"/>
                    <a:pt x="9024" y="37433"/>
                    <a:pt x="9024" y="37433"/>
                  </a:cubicBezTo>
                  <a:cubicBezTo>
                    <a:pt x="7560" y="38502"/>
                    <a:pt x="7560" y="38502"/>
                    <a:pt x="7560" y="38502"/>
                  </a:cubicBezTo>
                  <a:cubicBezTo>
                    <a:pt x="7560" y="38502"/>
                    <a:pt x="7560" y="38502"/>
                    <a:pt x="7317" y="38502"/>
                  </a:cubicBezTo>
                  <a:cubicBezTo>
                    <a:pt x="7317" y="38502"/>
                    <a:pt x="7560" y="38716"/>
                    <a:pt x="8292" y="38930"/>
                  </a:cubicBezTo>
                  <a:cubicBezTo>
                    <a:pt x="8780" y="38930"/>
                    <a:pt x="8780" y="39358"/>
                    <a:pt x="9512" y="39144"/>
                  </a:cubicBezTo>
                  <a:cubicBezTo>
                    <a:pt x="10243" y="38930"/>
                    <a:pt x="11219" y="38716"/>
                    <a:pt x="11463" y="38502"/>
                  </a:cubicBezTo>
                  <a:cubicBezTo>
                    <a:pt x="11707" y="38074"/>
                    <a:pt x="12195" y="37860"/>
                    <a:pt x="12439" y="37647"/>
                  </a:cubicBezTo>
                  <a:cubicBezTo>
                    <a:pt x="12682" y="37219"/>
                    <a:pt x="14146" y="35721"/>
                    <a:pt x="14390" y="35721"/>
                  </a:cubicBezTo>
                  <a:cubicBezTo>
                    <a:pt x="14390" y="35721"/>
                    <a:pt x="15853" y="34010"/>
                    <a:pt x="16097" y="33796"/>
                  </a:cubicBezTo>
                  <a:cubicBezTo>
                    <a:pt x="16341" y="33582"/>
                    <a:pt x="18292" y="32299"/>
                    <a:pt x="18292" y="32299"/>
                  </a:cubicBezTo>
                  <a:cubicBezTo>
                    <a:pt x="20975" y="31443"/>
                    <a:pt x="20975" y="31443"/>
                    <a:pt x="20975" y="31443"/>
                  </a:cubicBezTo>
                  <a:cubicBezTo>
                    <a:pt x="20975" y="31443"/>
                    <a:pt x="22195" y="32513"/>
                    <a:pt x="22439" y="32727"/>
                  </a:cubicBezTo>
                  <a:cubicBezTo>
                    <a:pt x="22682" y="32727"/>
                    <a:pt x="25365" y="33796"/>
                    <a:pt x="25365" y="33796"/>
                  </a:cubicBezTo>
                  <a:cubicBezTo>
                    <a:pt x="25365" y="33796"/>
                    <a:pt x="27073" y="34438"/>
                    <a:pt x="27317" y="34652"/>
                  </a:cubicBezTo>
                  <a:cubicBezTo>
                    <a:pt x="27317" y="34866"/>
                    <a:pt x="28780" y="35935"/>
                    <a:pt x="28780" y="35935"/>
                  </a:cubicBezTo>
                  <a:cubicBezTo>
                    <a:pt x="29756" y="36363"/>
                    <a:pt x="29756" y="36363"/>
                    <a:pt x="29756" y="36363"/>
                  </a:cubicBezTo>
                  <a:cubicBezTo>
                    <a:pt x="30487" y="35721"/>
                    <a:pt x="30487" y="35721"/>
                    <a:pt x="30487" y="35721"/>
                  </a:cubicBezTo>
                  <a:cubicBezTo>
                    <a:pt x="31463" y="36149"/>
                    <a:pt x="31463" y="36149"/>
                    <a:pt x="31463" y="36149"/>
                  </a:cubicBezTo>
                  <a:cubicBezTo>
                    <a:pt x="33170" y="37005"/>
                    <a:pt x="33170" y="37005"/>
                    <a:pt x="33170" y="37005"/>
                  </a:cubicBezTo>
                  <a:cubicBezTo>
                    <a:pt x="33902" y="38288"/>
                    <a:pt x="33902" y="38288"/>
                    <a:pt x="33902" y="38288"/>
                  </a:cubicBezTo>
                  <a:cubicBezTo>
                    <a:pt x="33902" y="38288"/>
                    <a:pt x="34390" y="40000"/>
                    <a:pt x="34390" y="40641"/>
                  </a:cubicBezTo>
                  <a:cubicBezTo>
                    <a:pt x="34390" y="41283"/>
                    <a:pt x="34634" y="42352"/>
                    <a:pt x="34634" y="42352"/>
                  </a:cubicBezTo>
                  <a:cubicBezTo>
                    <a:pt x="36829" y="43208"/>
                    <a:pt x="36829" y="43208"/>
                    <a:pt x="36829" y="43208"/>
                  </a:cubicBezTo>
                  <a:cubicBezTo>
                    <a:pt x="36829" y="43208"/>
                    <a:pt x="36829" y="45133"/>
                    <a:pt x="36829" y="45347"/>
                  </a:cubicBezTo>
                  <a:cubicBezTo>
                    <a:pt x="36829" y="45775"/>
                    <a:pt x="37073" y="46417"/>
                    <a:pt x="37073" y="47058"/>
                  </a:cubicBezTo>
                  <a:cubicBezTo>
                    <a:pt x="37073" y="47700"/>
                    <a:pt x="37073" y="48342"/>
                    <a:pt x="37073" y="48342"/>
                  </a:cubicBezTo>
                  <a:cubicBezTo>
                    <a:pt x="38048" y="48983"/>
                    <a:pt x="38048" y="48983"/>
                    <a:pt x="38048" y="48983"/>
                  </a:cubicBezTo>
                  <a:cubicBezTo>
                    <a:pt x="39268" y="49625"/>
                    <a:pt x="39268" y="49625"/>
                    <a:pt x="39268" y="49625"/>
                  </a:cubicBezTo>
                  <a:cubicBezTo>
                    <a:pt x="39512" y="50695"/>
                    <a:pt x="39512" y="50695"/>
                    <a:pt x="39512" y="50695"/>
                  </a:cubicBezTo>
                  <a:cubicBezTo>
                    <a:pt x="41463" y="51336"/>
                    <a:pt x="41463" y="51336"/>
                    <a:pt x="41463" y="51336"/>
                  </a:cubicBezTo>
                  <a:cubicBezTo>
                    <a:pt x="41951" y="52620"/>
                    <a:pt x="41951" y="52620"/>
                    <a:pt x="41951" y="52620"/>
                  </a:cubicBezTo>
                  <a:cubicBezTo>
                    <a:pt x="43170" y="53689"/>
                    <a:pt x="43170" y="53689"/>
                    <a:pt x="43170" y="53689"/>
                  </a:cubicBezTo>
                  <a:cubicBezTo>
                    <a:pt x="43170" y="54545"/>
                    <a:pt x="43170" y="54545"/>
                    <a:pt x="43170" y="54545"/>
                  </a:cubicBezTo>
                  <a:cubicBezTo>
                    <a:pt x="43170" y="54545"/>
                    <a:pt x="43170" y="54973"/>
                    <a:pt x="43658" y="54973"/>
                  </a:cubicBezTo>
                  <a:cubicBezTo>
                    <a:pt x="44146" y="54973"/>
                    <a:pt x="45853" y="54759"/>
                    <a:pt x="45853" y="54759"/>
                  </a:cubicBezTo>
                  <a:cubicBezTo>
                    <a:pt x="47560" y="56042"/>
                    <a:pt x="47560" y="56042"/>
                    <a:pt x="47560" y="56042"/>
                  </a:cubicBezTo>
                  <a:cubicBezTo>
                    <a:pt x="49512" y="57540"/>
                    <a:pt x="49512" y="57540"/>
                    <a:pt x="49512" y="57540"/>
                  </a:cubicBezTo>
                  <a:cubicBezTo>
                    <a:pt x="50487" y="59037"/>
                    <a:pt x="50487" y="59037"/>
                    <a:pt x="50487" y="59037"/>
                  </a:cubicBezTo>
                  <a:cubicBezTo>
                    <a:pt x="51951" y="59465"/>
                    <a:pt x="51951" y="59465"/>
                    <a:pt x="51951" y="59465"/>
                  </a:cubicBezTo>
                  <a:cubicBezTo>
                    <a:pt x="53902" y="60534"/>
                    <a:pt x="53902" y="60534"/>
                    <a:pt x="53902" y="60534"/>
                  </a:cubicBezTo>
                  <a:cubicBezTo>
                    <a:pt x="54634" y="62032"/>
                    <a:pt x="54634" y="62032"/>
                    <a:pt x="54634" y="62032"/>
                  </a:cubicBezTo>
                  <a:cubicBezTo>
                    <a:pt x="56341" y="63529"/>
                    <a:pt x="56341" y="63529"/>
                    <a:pt x="56341" y="63529"/>
                  </a:cubicBezTo>
                  <a:cubicBezTo>
                    <a:pt x="57317" y="63957"/>
                    <a:pt x="57317" y="63957"/>
                    <a:pt x="57317" y="63957"/>
                  </a:cubicBezTo>
                  <a:cubicBezTo>
                    <a:pt x="57804" y="64812"/>
                    <a:pt x="57804" y="64812"/>
                    <a:pt x="57804" y="64812"/>
                  </a:cubicBezTo>
                  <a:cubicBezTo>
                    <a:pt x="58780" y="65240"/>
                    <a:pt x="58780" y="65240"/>
                    <a:pt x="58780" y="65240"/>
                  </a:cubicBezTo>
                  <a:cubicBezTo>
                    <a:pt x="59756" y="65454"/>
                    <a:pt x="59756" y="65454"/>
                    <a:pt x="59756" y="65454"/>
                  </a:cubicBezTo>
                  <a:cubicBezTo>
                    <a:pt x="61219" y="65668"/>
                    <a:pt x="61219" y="65668"/>
                    <a:pt x="61219" y="65668"/>
                  </a:cubicBezTo>
                  <a:cubicBezTo>
                    <a:pt x="62195" y="66524"/>
                    <a:pt x="62195" y="66524"/>
                    <a:pt x="62195" y="66524"/>
                  </a:cubicBezTo>
                  <a:cubicBezTo>
                    <a:pt x="62195" y="66524"/>
                    <a:pt x="62682" y="66951"/>
                    <a:pt x="62682" y="67165"/>
                  </a:cubicBezTo>
                  <a:cubicBezTo>
                    <a:pt x="62682" y="67593"/>
                    <a:pt x="62195" y="67807"/>
                    <a:pt x="62926" y="67807"/>
                  </a:cubicBezTo>
                  <a:cubicBezTo>
                    <a:pt x="63658" y="67807"/>
                    <a:pt x="64390" y="67593"/>
                    <a:pt x="64390" y="67593"/>
                  </a:cubicBezTo>
                  <a:cubicBezTo>
                    <a:pt x="65853" y="67379"/>
                    <a:pt x="65853" y="67379"/>
                    <a:pt x="65853" y="67379"/>
                  </a:cubicBezTo>
                  <a:cubicBezTo>
                    <a:pt x="66829" y="67379"/>
                    <a:pt x="66829" y="67379"/>
                    <a:pt x="66829" y="67379"/>
                  </a:cubicBezTo>
                  <a:cubicBezTo>
                    <a:pt x="67804" y="67379"/>
                    <a:pt x="67804" y="67379"/>
                    <a:pt x="67804" y="67379"/>
                  </a:cubicBezTo>
                  <a:cubicBezTo>
                    <a:pt x="69512" y="67165"/>
                    <a:pt x="69512" y="67165"/>
                    <a:pt x="69512" y="67165"/>
                  </a:cubicBezTo>
                  <a:cubicBezTo>
                    <a:pt x="70487" y="67807"/>
                    <a:pt x="70487" y="67807"/>
                    <a:pt x="70487" y="67807"/>
                  </a:cubicBezTo>
                  <a:cubicBezTo>
                    <a:pt x="73170" y="70588"/>
                    <a:pt x="73170" y="70588"/>
                    <a:pt x="73170" y="70588"/>
                  </a:cubicBezTo>
                  <a:cubicBezTo>
                    <a:pt x="73170" y="70588"/>
                    <a:pt x="73902" y="71657"/>
                    <a:pt x="73902" y="72085"/>
                  </a:cubicBezTo>
                  <a:cubicBezTo>
                    <a:pt x="73902" y="72299"/>
                    <a:pt x="74878" y="72085"/>
                    <a:pt x="75121" y="72085"/>
                  </a:cubicBezTo>
                  <a:cubicBezTo>
                    <a:pt x="75365" y="72085"/>
                    <a:pt x="77317" y="72085"/>
                    <a:pt x="77317" y="72085"/>
                  </a:cubicBezTo>
                  <a:cubicBezTo>
                    <a:pt x="78780" y="72941"/>
                    <a:pt x="78780" y="72941"/>
                    <a:pt x="78780" y="72941"/>
                  </a:cubicBezTo>
                  <a:cubicBezTo>
                    <a:pt x="77804" y="74010"/>
                    <a:pt x="77804" y="74010"/>
                    <a:pt x="77804" y="74010"/>
                  </a:cubicBezTo>
                  <a:cubicBezTo>
                    <a:pt x="79268" y="74652"/>
                    <a:pt x="79268" y="74652"/>
                    <a:pt x="79268" y="74652"/>
                  </a:cubicBezTo>
                  <a:cubicBezTo>
                    <a:pt x="80000" y="73796"/>
                    <a:pt x="80000" y="73796"/>
                    <a:pt x="80000" y="73796"/>
                  </a:cubicBezTo>
                  <a:cubicBezTo>
                    <a:pt x="81463" y="74010"/>
                    <a:pt x="81463" y="74010"/>
                    <a:pt x="81463" y="74010"/>
                  </a:cubicBezTo>
                  <a:cubicBezTo>
                    <a:pt x="82682" y="74866"/>
                    <a:pt x="82682" y="74866"/>
                    <a:pt x="82682" y="74866"/>
                  </a:cubicBezTo>
                  <a:cubicBezTo>
                    <a:pt x="82926" y="75508"/>
                    <a:pt x="82926" y="75508"/>
                    <a:pt x="82926" y="75508"/>
                  </a:cubicBezTo>
                  <a:cubicBezTo>
                    <a:pt x="83658" y="75935"/>
                    <a:pt x="83658" y="75935"/>
                    <a:pt x="83658" y="75935"/>
                  </a:cubicBezTo>
                  <a:cubicBezTo>
                    <a:pt x="83414" y="77005"/>
                    <a:pt x="83414" y="77005"/>
                    <a:pt x="83414" y="77005"/>
                  </a:cubicBezTo>
                  <a:cubicBezTo>
                    <a:pt x="83414" y="77647"/>
                    <a:pt x="83414" y="77647"/>
                    <a:pt x="83414" y="77647"/>
                  </a:cubicBezTo>
                  <a:cubicBezTo>
                    <a:pt x="83902" y="78502"/>
                    <a:pt x="83902" y="78502"/>
                    <a:pt x="83902" y="78502"/>
                  </a:cubicBezTo>
                  <a:cubicBezTo>
                    <a:pt x="85121" y="78930"/>
                    <a:pt x="85121" y="78930"/>
                    <a:pt x="85121" y="78930"/>
                  </a:cubicBezTo>
                  <a:cubicBezTo>
                    <a:pt x="86341" y="79572"/>
                    <a:pt x="86341" y="79572"/>
                    <a:pt x="86341" y="79572"/>
                  </a:cubicBezTo>
                  <a:cubicBezTo>
                    <a:pt x="87073" y="80000"/>
                    <a:pt x="87073" y="80000"/>
                    <a:pt x="87073" y="80000"/>
                  </a:cubicBezTo>
                  <a:cubicBezTo>
                    <a:pt x="88048" y="80000"/>
                    <a:pt x="88048" y="80000"/>
                    <a:pt x="88048" y="80000"/>
                  </a:cubicBezTo>
                  <a:cubicBezTo>
                    <a:pt x="89512" y="79786"/>
                    <a:pt x="89512" y="79786"/>
                    <a:pt x="89512" y="79786"/>
                  </a:cubicBezTo>
                  <a:cubicBezTo>
                    <a:pt x="91219" y="80000"/>
                    <a:pt x="91219" y="80000"/>
                    <a:pt x="91219" y="80000"/>
                  </a:cubicBezTo>
                  <a:cubicBezTo>
                    <a:pt x="92682" y="82139"/>
                    <a:pt x="92682" y="82139"/>
                    <a:pt x="92682" y="82139"/>
                  </a:cubicBezTo>
                  <a:cubicBezTo>
                    <a:pt x="93414" y="84064"/>
                    <a:pt x="93414" y="84064"/>
                    <a:pt x="93414" y="84064"/>
                  </a:cubicBezTo>
                  <a:cubicBezTo>
                    <a:pt x="94390" y="85775"/>
                    <a:pt x="94390" y="85775"/>
                    <a:pt x="94390" y="85775"/>
                  </a:cubicBezTo>
                  <a:cubicBezTo>
                    <a:pt x="95121" y="86844"/>
                    <a:pt x="95121" y="86844"/>
                    <a:pt x="95121" y="86844"/>
                  </a:cubicBezTo>
                  <a:cubicBezTo>
                    <a:pt x="95609" y="88556"/>
                    <a:pt x="95609" y="88556"/>
                    <a:pt x="95609" y="88556"/>
                  </a:cubicBezTo>
                  <a:cubicBezTo>
                    <a:pt x="96341" y="89411"/>
                    <a:pt x="96341" y="89411"/>
                    <a:pt x="96341" y="89411"/>
                  </a:cubicBezTo>
                  <a:cubicBezTo>
                    <a:pt x="97560" y="91550"/>
                    <a:pt x="97560" y="91550"/>
                    <a:pt x="97560" y="91550"/>
                  </a:cubicBezTo>
                  <a:cubicBezTo>
                    <a:pt x="98048" y="92406"/>
                    <a:pt x="98048" y="92406"/>
                    <a:pt x="98048" y="92406"/>
                  </a:cubicBezTo>
                  <a:cubicBezTo>
                    <a:pt x="97560" y="93475"/>
                    <a:pt x="97560" y="93475"/>
                    <a:pt x="97560" y="93475"/>
                  </a:cubicBezTo>
                  <a:cubicBezTo>
                    <a:pt x="97560" y="93475"/>
                    <a:pt x="97073" y="94545"/>
                    <a:pt x="96829" y="94545"/>
                  </a:cubicBezTo>
                  <a:cubicBezTo>
                    <a:pt x="96829" y="94759"/>
                    <a:pt x="96097" y="94973"/>
                    <a:pt x="95853" y="94973"/>
                  </a:cubicBezTo>
                  <a:cubicBezTo>
                    <a:pt x="95609" y="95187"/>
                    <a:pt x="95365" y="95187"/>
                    <a:pt x="95121" y="95401"/>
                  </a:cubicBezTo>
                  <a:cubicBezTo>
                    <a:pt x="94878" y="95614"/>
                    <a:pt x="94634" y="96256"/>
                    <a:pt x="94634" y="96256"/>
                  </a:cubicBezTo>
                  <a:cubicBezTo>
                    <a:pt x="95365" y="97540"/>
                    <a:pt x="95365" y="97540"/>
                    <a:pt x="95365" y="97540"/>
                  </a:cubicBezTo>
                  <a:cubicBezTo>
                    <a:pt x="95121" y="99037"/>
                    <a:pt x="95121" y="99037"/>
                    <a:pt x="95121" y="99037"/>
                  </a:cubicBezTo>
                  <a:cubicBezTo>
                    <a:pt x="94634" y="100320"/>
                    <a:pt x="94634" y="100320"/>
                    <a:pt x="94634" y="100320"/>
                  </a:cubicBezTo>
                  <a:close/>
                  <a:moveTo>
                    <a:pt x="13902" y="73796"/>
                  </a:moveTo>
                  <a:cubicBezTo>
                    <a:pt x="13902" y="73796"/>
                    <a:pt x="13902" y="73796"/>
                    <a:pt x="13902" y="73796"/>
                  </a:cubicBezTo>
                  <a:cubicBezTo>
                    <a:pt x="14634" y="71657"/>
                    <a:pt x="14634" y="71657"/>
                    <a:pt x="14634" y="71657"/>
                  </a:cubicBezTo>
                  <a:cubicBezTo>
                    <a:pt x="15609" y="70802"/>
                    <a:pt x="15609" y="70802"/>
                    <a:pt x="15609" y="70802"/>
                  </a:cubicBezTo>
                  <a:cubicBezTo>
                    <a:pt x="15365" y="71871"/>
                    <a:pt x="15365" y="71871"/>
                    <a:pt x="15365" y="71871"/>
                  </a:cubicBezTo>
                  <a:cubicBezTo>
                    <a:pt x="15121" y="73155"/>
                    <a:pt x="15121" y="73155"/>
                    <a:pt x="15121" y="73155"/>
                  </a:cubicBezTo>
                  <a:cubicBezTo>
                    <a:pt x="15121" y="73155"/>
                    <a:pt x="17073" y="73796"/>
                    <a:pt x="17317" y="73796"/>
                  </a:cubicBezTo>
                  <a:cubicBezTo>
                    <a:pt x="17560" y="73796"/>
                    <a:pt x="17804" y="73368"/>
                    <a:pt x="18292" y="73155"/>
                  </a:cubicBezTo>
                  <a:cubicBezTo>
                    <a:pt x="18536" y="72941"/>
                    <a:pt x="20243" y="72941"/>
                    <a:pt x="20243" y="72941"/>
                  </a:cubicBezTo>
                  <a:cubicBezTo>
                    <a:pt x="20243" y="72941"/>
                    <a:pt x="20487" y="72299"/>
                    <a:pt x="20731" y="71871"/>
                  </a:cubicBezTo>
                  <a:cubicBezTo>
                    <a:pt x="20975" y="71443"/>
                    <a:pt x="22195" y="70374"/>
                    <a:pt x="22439" y="70160"/>
                  </a:cubicBezTo>
                  <a:cubicBezTo>
                    <a:pt x="22682" y="70160"/>
                    <a:pt x="23170" y="69732"/>
                    <a:pt x="23414" y="69732"/>
                  </a:cubicBezTo>
                  <a:cubicBezTo>
                    <a:pt x="23658" y="69518"/>
                    <a:pt x="24878" y="69090"/>
                    <a:pt x="24878" y="69090"/>
                  </a:cubicBezTo>
                  <a:cubicBezTo>
                    <a:pt x="28048" y="70160"/>
                    <a:pt x="28048" y="70160"/>
                    <a:pt x="28048" y="70160"/>
                  </a:cubicBezTo>
                  <a:cubicBezTo>
                    <a:pt x="28536" y="71871"/>
                    <a:pt x="28536" y="71871"/>
                    <a:pt x="28536" y="71871"/>
                  </a:cubicBezTo>
                  <a:cubicBezTo>
                    <a:pt x="30243" y="74652"/>
                    <a:pt x="30243" y="74652"/>
                    <a:pt x="30243" y="74652"/>
                  </a:cubicBezTo>
                  <a:cubicBezTo>
                    <a:pt x="30731" y="75935"/>
                    <a:pt x="30731" y="75935"/>
                    <a:pt x="30731" y="75935"/>
                  </a:cubicBezTo>
                  <a:cubicBezTo>
                    <a:pt x="30731" y="75935"/>
                    <a:pt x="31463" y="76577"/>
                    <a:pt x="31219" y="77219"/>
                  </a:cubicBezTo>
                  <a:cubicBezTo>
                    <a:pt x="30975" y="78074"/>
                    <a:pt x="29512" y="80213"/>
                    <a:pt x="29512" y="80213"/>
                  </a:cubicBezTo>
                  <a:cubicBezTo>
                    <a:pt x="29512" y="81497"/>
                    <a:pt x="29512" y="81497"/>
                    <a:pt x="29512" y="81497"/>
                  </a:cubicBezTo>
                  <a:cubicBezTo>
                    <a:pt x="30487" y="83208"/>
                    <a:pt x="30487" y="83208"/>
                    <a:pt x="30487" y="83208"/>
                  </a:cubicBezTo>
                  <a:cubicBezTo>
                    <a:pt x="29024" y="86417"/>
                    <a:pt x="29024" y="86417"/>
                    <a:pt x="29024" y="86417"/>
                  </a:cubicBezTo>
                  <a:cubicBezTo>
                    <a:pt x="29756" y="88770"/>
                    <a:pt x="29756" y="88770"/>
                    <a:pt x="29756" y="88770"/>
                  </a:cubicBezTo>
                  <a:cubicBezTo>
                    <a:pt x="29268" y="91978"/>
                    <a:pt x="29268" y="91978"/>
                    <a:pt x="29268" y="91978"/>
                  </a:cubicBezTo>
                  <a:cubicBezTo>
                    <a:pt x="29024" y="93689"/>
                    <a:pt x="29024" y="93689"/>
                    <a:pt x="29024" y="93689"/>
                  </a:cubicBezTo>
                  <a:cubicBezTo>
                    <a:pt x="29024" y="93689"/>
                    <a:pt x="28048" y="94545"/>
                    <a:pt x="27560" y="94331"/>
                  </a:cubicBezTo>
                  <a:cubicBezTo>
                    <a:pt x="27073" y="94117"/>
                    <a:pt x="24634" y="92620"/>
                    <a:pt x="24634" y="92620"/>
                  </a:cubicBezTo>
                  <a:cubicBezTo>
                    <a:pt x="23658" y="92406"/>
                    <a:pt x="23658" y="92406"/>
                    <a:pt x="23658" y="92406"/>
                  </a:cubicBezTo>
                  <a:cubicBezTo>
                    <a:pt x="22926" y="93903"/>
                    <a:pt x="22926" y="93903"/>
                    <a:pt x="22926" y="93903"/>
                  </a:cubicBezTo>
                  <a:cubicBezTo>
                    <a:pt x="23170" y="94973"/>
                    <a:pt x="23170" y="94973"/>
                    <a:pt x="23170" y="94973"/>
                  </a:cubicBezTo>
                  <a:cubicBezTo>
                    <a:pt x="21951" y="96898"/>
                    <a:pt x="21951" y="96898"/>
                    <a:pt x="21951" y="96898"/>
                  </a:cubicBezTo>
                  <a:cubicBezTo>
                    <a:pt x="20731" y="96898"/>
                    <a:pt x="20731" y="96898"/>
                    <a:pt x="20731" y="96898"/>
                  </a:cubicBezTo>
                  <a:cubicBezTo>
                    <a:pt x="19268" y="96470"/>
                    <a:pt x="19268" y="96470"/>
                    <a:pt x="19268" y="96470"/>
                  </a:cubicBezTo>
                  <a:cubicBezTo>
                    <a:pt x="17804" y="94759"/>
                    <a:pt x="17804" y="94759"/>
                    <a:pt x="17804" y="94759"/>
                  </a:cubicBezTo>
                  <a:cubicBezTo>
                    <a:pt x="17804" y="94759"/>
                    <a:pt x="17804" y="95187"/>
                    <a:pt x="17317" y="95401"/>
                  </a:cubicBezTo>
                  <a:cubicBezTo>
                    <a:pt x="16829" y="95401"/>
                    <a:pt x="16097" y="95187"/>
                    <a:pt x="16097" y="95187"/>
                  </a:cubicBezTo>
                  <a:cubicBezTo>
                    <a:pt x="16585" y="93903"/>
                    <a:pt x="16585" y="93903"/>
                    <a:pt x="16585" y="93903"/>
                  </a:cubicBezTo>
                  <a:cubicBezTo>
                    <a:pt x="16097" y="92406"/>
                    <a:pt x="16097" y="92406"/>
                    <a:pt x="16097" y="92406"/>
                  </a:cubicBezTo>
                  <a:cubicBezTo>
                    <a:pt x="16585" y="90909"/>
                    <a:pt x="16585" y="90909"/>
                    <a:pt x="16585" y="90909"/>
                  </a:cubicBezTo>
                  <a:cubicBezTo>
                    <a:pt x="16585" y="88770"/>
                    <a:pt x="16585" y="88770"/>
                    <a:pt x="16585" y="88770"/>
                  </a:cubicBezTo>
                  <a:cubicBezTo>
                    <a:pt x="17073" y="87914"/>
                    <a:pt x="17073" y="87914"/>
                    <a:pt x="17073" y="87914"/>
                  </a:cubicBezTo>
                  <a:cubicBezTo>
                    <a:pt x="17317" y="86844"/>
                    <a:pt x="17317" y="86844"/>
                    <a:pt x="17317" y="86844"/>
                  </a:cubicBezTo>
                  <a:cubicBezTo>
                    <a:pt x="18048" y="85561"/>
                    <a:pt x="18048" y="85561"/>
                    <a:pt x="18048" y="85561"/>
                  </a:cubicBezTo>
                  <a:cubicBezTo>
                    <a:pt x="17804" y="84491"/>
                    <a:pt x="17804" y="84491"/>
                    <a:pt x="17804" y="84491"/>
                  </a:cubicBezTo>
                  <a:cubicBezTo>
                    <a:pt x="17317" y="84705"/>
                    <a:pt x="17317" y="84705"/>
                    <a:pt x="17317" y="84705"/>
                  </a:cubicBezTo>
                  <a:cubicBezTo>
                    <a:pt x="15853" y="83422"/>
                    <a:pt x="15853" y="83422"/>
                    <a:pt x="15853" y="83422"/>
                  </a:cubicBezTo>
                  <a:cubicBezTo>
                    <a:pt x="15853" y="83422"/>
                    <a:pt x="16341" y="82994"/>
                    <a:pt x="16829" y="82566"/>
                  </a:cubicBezTo>
                  <a:cubicBezTo>
                    <a:pt x="17317" y="82139"/>
                    <a:pt x="17317" y="81925"/>
                    <a:pt x="17317" y="81497"/>
                  </a:cubicBezTo>
                  <a:cubicBezTo>
                    <a:pt x="17317" y="81069"/>
                    <a:pt x="17073" y="80000"/>
                    <a:pt x="16829" y="80000"/>
                  </a:cubicBezTo>
                  <a:cubicBezTo>
                    <a:pt x="16585" y="79786"/>
                    <a:pt x="16097" y="79358"/>
                    <a:pt x="16097" y="79358"/>
                  </a:cubicBezTo>
                  <a:cubicBezTo>
                    <a:pt x="16097" y="78074"/>
                    <a:pt x="16097" y="78074"/>
                    <a:pt x="16097" y="78074"/>
                  </a:cubicBezTo>
                  <a:cubicBezTo>
                    <a:pt x="16097" y="78074"/>
                    <a:pt x="15853" y="77433"/>
                    <a:pt x="15609" y="77433"/>
                  </a:cubicBezTo>
                  <a:cubicBezTo>
                    <a:pt x="15121" y="77219"/>
                    <a:pt x="13902" y="76577"/>
                    <a:pt x="13902" y="76577"/>
                  </a:cubicBezTo>
                  <a:cubicBezTo>
                    <a:pt x="14146" y="75080"/>
                    <a:pt x="14146" y="75080"/>
                    <a:pt x="14146" y="75080"/>
                  </a:cubicBezTo>
                  <a:cubicBezTo>
                    <a:pt x="13658" y="74652"/>
                    <a:pt x="13658" y="74652"/>
                    <a:pt x="13658" y="74652"/>
                  </a:cubicBezTo>
                  <a:lnTo>
                    <a:pt x="13902" y="73796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2" name="Shape 2013"/>
            <p:cNvSpPr/>
            <p:nvPr/>
          </p:nvSpPr>
          <p:spPr>
            <a:xfrm>
              <a:off x="5709810" y="2172877"/>
              <a:ext cx="237476" cy="1193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0769" y="2222"/>
                  </a:moveTo>
                  <a:cubicBezTo>
                    <a:pt x="55384" y="8888"/>
                    <a:pt x="55384" y="8888"/>
                    <a:pt x="55384" y="8888"/>
                  </a:cubicBezTo>
                  <a:cubicBezTo>
                    <a:pt x="58846" y="11111"/>
                    <a:pt x="58846" y="11111"/>
                    <a:pt x="58846" y="11111"/>
                  </a:cubicBezTo>
                  <a:cubicBezTo>
                    <a:pt x="65769" y="17777"/>
                    <a:pt x="65769" y="17777"/>
                    <a:pt x="65769" y="17777"/>
                  </a:cubicBezTo>
                  <a:cubicBezTo>
                    <a:pt x="79615" y="20000"/>
                    <a:pt x="79615" y="20000"/>
                    <a:pt x="79615" y="20000"/>
                  </a:cubicBezTo>
                  <a:cubicBezTo>
                    <a:pt x="81923" y="15555"/>
                    <a:pt x="81923" y="15555"/>
                    <a:pt x="81923" y="15555"/>
                  </a:cubicBezTo>
                  <a:cubicBezTo>
                    <a:pt x="86538" y="13333"/>
                    <a:pt x="86538" y="13333"/>
                    <a:pt x="86538" y="13333"/>
                  </a:cubicBezTo>
                  <a:cubicBezTo>
                    <a:pt x="94615" y="8888"/>
                    <a:pt x="94615" y="8888"/>
                    <a:pt x="94615" y="8888"/>
                  </a:cubicBezTo>
                  <a:cubicBezTo>
                    <a:pt x="98076" y="17777"/>
                    <a:pt x="98076" y="17777"/>
                    <a:pt x="98076" y="17777"/>
                  </a:cubicBezTo>
                  <a:cubicBezTo>
                    <a:pt x="100384" y="17777"/>
                    <a:pt x="100384" y="17777"/>
                    <a:pt x="100384" y="17777"/>
                  </a:cubicBezTo>
                  <a:cubicBezTo>
                    <a:pt x="100384" y="17777"/>
                    <a:pt x="102692" y="22222"/>
                    <a:pt x="105000" y="26666"/>
                  </a:cubicBezTo>
                  <a:cubicBezTo>
                    <a:pt x="106153" y="31111"/>
                    <a:pt x="108461" y="33333"/>
                    <a:pt x="108461" y="33333"/>
                  </a:cubicBezTo>
                  <a:cubicBezTo>
                    <a:pt x="106153" y="48888"/>
                    <a:pt x="106153" y="48888"/>
                    <a:pt x="106153" y="48888"/>
                  </a:cubicBezTo>
                  <a:cubicBezTo>
                    <a:pt x="106153" y="55555"/>
                    <a:pt x="106153" y="55555"/>
                    <a:pt x="106153" y="55555"/>
                  </a:cubicBezTo>
                  <a:cubicBezTo>
                    <a:pt x="106153" y="77777"/>
                    <a:pt x="106153" y="77777"/>
                    <a:pt x="106153" y="77777"/>
                  </a:cubicBezTo>
                  <a:cubicBezTo>
                    <a:pt x="109615" y="86666"/>
                    <a:pt x="109615" y="86666"/>
                    <a:pt x="109615" y="86666"/>
                  </a:cubicBezTo>
                  <a:cubicBezTo>
                    <a:pt x="109615" y="88888"/>
                    <a:pt x="109615" y="88888"/>
                    <a:pt x="109615" y="88888"/>
                  </a:cubicBezTo>
                  <a:cubicBezTo>
                    <a:pt x="114230" y="86666"/>
                    <a:pt x="114230" y="86666"/>
                    <a:pt x="114230" y="86666"/>
                  </a:cubicBezTo>
                  <a:cubicBezTo>
                    <a:pt x="114230" y="86666"/>
                    <a:pt x="115384" y="86666"/>
                    <a:pt x="115384" y="84444"/>
                  </a:cubicBezTo>
                  <a:cubicBezTo>
                    <a:pt x="115384" y="86666"/>
                    <a:pt x="114230" y="86666"/>
                    <a:pt x="114230" y="86666"/>
                  </a:cubicBezTo>
                  <a:cubicBezTo>
                    <a:pt x="103846" y="91111"/>
                    <a:pt x="103846" y="91111"/>
                    <a:pt x="103846" y="91111"/>
                  </a:cubicBezTo>
                  <a:cubicBezTo>
                    <a:pt x="94615" y="102222"/>
                    <a:pt x="94615" y="102222"/>
                    <a:pt x="94615" y="102222"/>
                  </a:cubicBezTo>
                  <a:cubicBezTo>
                    <a:pt x="94615" y="102222"/>
                    <a:pt x="72692" y="106666"/>
                    <a:pt x="70384" y="106666"/>
                  </a:cubicBezTo>
                  <a:cubicBezTo>
                    <a:pt x="69230" y="106666"/>
                    <a:pt x="55384" y="108888"/>
                    <a:pt x="53076" y="108888"/>
                  </a:cubicBezTo>
                  <a:cubicBezTo>
                    <a:pt x="51923" y="111111"/>
                    <a:pt x="45000" y="113333"/>
                    <a:pt x="42692" y="113333"/>
                  </a:cubicBezTo>
                  <a:cubicBezTo>
                    <a:pt x="40384" y="113333"/>
                    <a:pt x="30000" y="115555"/>
                    <a:pt x="27692" y="115555"/>
                  </a:cubicBezTo>
                  <a:cubicBezTo>
                    <a:pt x="25384" y="115555"/>
                    <a:pt x="19615" y="115555"/>
                    <a:pt x="19615" y="115555"/>
                  </a:cubicBezTo>
                  <a:cubicBezTo>
                    <a:pt x="19615" y="115555"/>
                    <a:pt x="8076" y="117777"/>
                    <a:pt x="4615" y="117777"/>
                  </a:cubicBezTo>
                  <a:cubicBezTo>
                    <a:pt x="1153" y="120000"/>
                    <a:pt x="5769" y="108888"/>
                    <a:pt x="5769" y="108888"/>
                  </a:cubicBezTo>
                  <a:cubicBezTo>
                    <a:pt x="5769" y="108888"/>
                    <a:pt x="19615" y="86666"/>
                    <a:pt x="15000" y="88888"/>
                  </a:cubicBezTo>
                  <a:cubicBezTo>
                    <a:pt x="9230" y="84444"/>
                    <a:pt x="9230" y="84444"/>
                    <a:pt x="9230" y="84444"/>
                  </a:cubicBezTo>
                  <a:cubicBezTo>
                    <a:pt x="4615" y="77777"/>
                    <a:pt x="4615" y="77777"/>
                    <a:pt x="4615" y="77777"/>
                  </a:cubicBezTo>
                  <a:cubicBezTo>
                    <a:pt x="0" y="57777"/>
                    <a:pt x="5769" y="48888"/>
                    <a:pt x="10384" y="48888"/>
                  </a:cubicBezTo>
                  <a:cubicBezTo>
                    <a:pt x="13846" y="48888"/>
                    <a:pt x="23076" y="55555"/>
                    <a:pt x="28846" y="55555"/>
                  </a:cubicBezTo>
                  <a:cubicBezTo>
                    <a:pt x="49615" y="55555"/>
                    <a:pt x="45000" y="42222"/>
                    <a:pt x="43846" y="17777"/>
                  </a:cubicBezTo>
                  <a:cubicBezTo>
                    <a:pt x="43846" y="11111"/>
                    <a:pt x="45000" y="4444"/>
                    <a:pt x="46153" y="2222"/>
                  </a:cubicBezTo>
                  <a:cubicBezTo>
                    <a:pt x="47307" y="0"/>
                    <a:pt x="49615" y="4444"/>
                    <a:pt x="50769" y="2222"/>
                  </a:cubicBezTo>
                  <a:close/>
                  <a:moveTo>
                    <a:pt x="117692" y="82222"/>
                  </a:move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4444"/>
                    <a:pt x="117692" y="84444"/>
                    <a:pt x="117692" y="84444"/>
                  </a:cubicBez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2222"/>
                    <a:pt x="117692" y="82222"/>
                    <a:pt x="117692" y="82222"/>
                  </a:cubicBezTo>
                  <a:close/>
                  <a:moveTo>
                    <a:pt x="117692" y="84444"/>
                  </a:moveTo>
                  <a:cubicBezTo>
                    <a:pt x="117692" y="84444"/>
                    <a:pt x="117692" y="84444"/>
                    <a:pt x="117692" y="84444"/>
                  </a:cubicBezTo>
                  <a:cubicBezTo>
                    <a:pt x="118846" y="86666"/>
                    <a:pt x="120000" y="91111"/>
                    <a:pt x="120000" y="93333"/>
                  </a:cubicBezTo>
                  <a:cubicBezTo>
                    <a:pt x="120000" y="93333"/>
                    <a:pt x="120000" y="93333"/>
                    <a:pt x="120000" y="93333"/>
                  </a:cubicBezTo>
                  <a:cubicBezTo>
                    <a:pt x="120000" y="91111"/>
                    <a:pt x="118846" y="86666"/>
                    <a:pt x="117692" y="84444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3" name="Shape 2014"/>
            <p:cNvSpPr/>
            <p:nvPr/>
          </p:nvSpPr>
          <p:spPr>
            <a:xfrm>
              <a:off x="5951685" y="3592014"/>
              <a:ext cx="171510" cy="17259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600" y="73846"/>
                  </a:moveTo>
                  <a:cubicBezTo>
                    <a:pt x="112000" y="75384"/>
                    <a:pt x="112000" y="75384"/>
                    <a:pt x="112000" y="75384"/>
                  </a:cubicBezTo>
                  <a:cubicBezTo>
                    <a:pt x="105600" y="78461"/>
                    <a:pt x="97600" y="75384"/>
                    <a:pt x="96000" y="86153"/>
                  </a:cubicBezTo>
                  <a:cubicBezTo>
                    <a:pt x="96000" y="104615"/>
                    <a:pt x="89600" y="86153"/>
                    <a:pt x="83200" y="86153"/>
                  </a:cubicBezTo>
                  <a:cubicBezTo>
                    <a:pt x="78400" y="86153"/>
                    <a:pt x="78400" y="89230"/>
                    <a:pt x="75200" y="92307"/>
                  </a:cubicBezTo>
                  <a:cubicBezTo>
                    <a:pt x="70400" y="95384"/>
                    <a:pt x="65600" y="96923"/>
                    <a:pt x="64000" y="100000"/>
                  </a:cubicBezTo>
                  <a:cubicBezTo>
                    <a:pt x="64000" y="103076"/>
                    <a:pt x="62400" y="106153"/>
                    <a:pt x="62400" y="109230"/>
                  </a:cubicBezTo>
                  <a:cubicBezTo>
                    <a:pt x="64000" y="113846"/>
                    <a:pt x="64000" y="118461"/>
                    <a:pt x="60800" y="118461"/>
                  </a:cubicBezTo>
                  <a:cubicBezTo>
                    <a:pt x="59200" y="118461"/>
                    <a:pt x="54400" y="120000"/>
                    <a:pt x="51200" y="118461"/>
                  </a:cubicBezTo>
                  <a:cubicBezTo>
                    <a:pt x="51200" y="116923"/>
                    <a:pt x="51200" y="116923"/>
                    <a:pt x="51200" y="116923"/>
                  </a:cubicBezTo>
                  <a:cubicBezTo>
                    <a:pt x="52800" y="112307"/>
                    <a:pt x="52800" y="112307"/>
                    <a:pt x="52800" y="112307"/>
                  </a:cubicBezTo>
                  <a:cubicBezTo>
                    <a:pt x="49600" y="107692"/>
                    <a:pt x="49600" y="107692"/>
                    <a:pt x="49600" y="107692"/>
                  </a:cubicBezTo>
                  <a:cubicBezTo>
                    <a:pt x="49600" y="107692"/>
                    <a:pt x="49600" y="107692"/>
                    <a:pt x="49600" y="106153"/>
                  </a:cubicBezTo>
                  <a:cubicBezTo>
                    <a:pt x="48000" y="104615"/>
                    <a:pt x="48000" y="101538"/>
                    <a:pt x="48000" y="101538"/>
                  </a:cubicBezTo>
                  <a:cubicBezTo>
                    <a:pt x="46400" y="96923"/>
                    <a:pt x="46400" y="96923"/>
                    <a:pt x="46400" y="96923"/>
                  </a:cubicBezTo>
                  <a:cubicBezTo>
                    <a:pt x="46400" y="96923"/>
                    <a:pt x="43200" y="93846"/>
                    <a:pt x="41600" y="92307"/>
                  </a:cubicBezTo>
                  <a:cubicBezTo>
                    <a:pt x="41600" y="92307"/>
                    <a:pt x="41600" y="90769"/>
                    <a:pt x="38400" y="89230"/>
                  </a:cubicBezTo>
                  <a:cubicBezTo>
                    <a:pt x="36800" y="89230"/>
                    <a:pt x="33600" y="87692"/>
                    <a:pt x="33600" y="87692"/>
                  </a:cubicBezTo>
                  <a:cubicBezTo>
                    <a:pt x="32000" y="87692"/>
                    <a:pt x="32000" y="87692"/>
                    <a:pt x="32000" y="87692"/>
                  </a:cubicBezTo>
                  <a:cubicBezTo>
                    <a:pt x="32000" y="87692"/>
                    <a:pt x="30400" y="87692"/>
                    <a:pt x="30400" y="87692"/>
                  </a:cubicBezTo>
                  <a:cubicBezTo>
                    <a:pt x="27200" y="84615"/>
                    <a:pt x="27200" y="84615"/>
                    <a:pt x="27200" y="84615"/>
                  </a:cubicBezTo>
                  <a:cubicBezTo>
                    <a:pt x="24000" y="84615"/>
                    <a:pt x="24000" y="84615"/>
                    <a:pt x="24000" y="84615"/>
                  </a:cubicBezTo>
                  <a:cubicBezTo>
                    <a:pt x="22400" y="80000"/>
                    <a:pt x="22400" y="80000"/>
                    <a:pt x="22400" y="80000"/>
                  </a:cubicBezTo>
                  <a:cubicBezTo>
                    <a:pt x="20800" y="75384"/>
                    <a:pt x="20800" y="75384"/>
                    <a:pt x="20800" y="75384"/>
                  </a:cubicBezTo>
                  <a:cubicBezTo>
                    <a:pt x="17600" y="72307"/>
                    <a:pt x="17600" y="72307"/>
                    <a:pt x="17600" y="72307"/>
                  </a:cubicBezTo>
                  <a:cubicBezTo>
                    <a:pt x="14400" y="70769"/>
                    <a:pt x="14400" y="70769"/>
                    <a:pt x="14400" y="70769"/>
                  </a:cubicBezTo>
                  <a:cubicBezTo>
                    <a:pt x="12800" y="69230"/>
                    <a:pt x="12800" y="69230"/>
                    <a:pt x="12800" y="69230"/>
                  </a:cubicBezTo>
                  <a:cubicBezTo>
                    <a:pt x="9600" y="67692"/>
                    <a:pt x="9600" y="67692"/>
                    <a:pt x="9600" y="67692"/>
                  </a:cubicBezTo>
                  <a:cubicBezTo>
                    <a:pt x="8000" y="64615"/>
                    <a:pt x="11200" y="61538"/>
                    <a:pt x="9600" y="58461"/>
                  </a:cubicBezTo>
                  <a:cubicBezTo>
                    <a:pt x="6400" y="55384"/>
                    <a:pt x="0" y="52307"/>
                    <a:pt x="1600" y="52307"/>
                  </a:cubicBezTo>
                  <a:cubicBezTo>
                    <a:pt x="3200" y="49230"/>
                    <a:pt x="9600" y="50769"/>
                    <a:pt x="12800" y="49230"/>
                  </a:cubicBezTo>
                  <a:cubicBezTo>
                    <a:pt x="14400" y="49230"/>
                    <a:pt x="14400" y="46153"/>
                    <a:pt x="16000" y="44615"/>
                  </a:cubicBezTo>
                  <a:cubicBezTo>
                    <a:pt x="17600" y="44615"/>
                    <a:pt x="20800" y="46153"/>
                    <a:pt x="20800" y="43076"/>
                  </a:cubicBezTo>
                  <a:cubicBezTo>
                    <a:pt x="20800" y="40000"/>
                    <a:pt x="24000" y="40000"/>
                    <a:pt x="25600" y="41538"/>
                  </a:cubicBezTo>
                  <a:cubicBezTo>
                    <a:pt x="25600" y="41538"/>
                    <a:pt x="27200" y="41538"/>
                    <a:pt x="30400" y="38461"/>
                  </a:cubicBezTo>
                  <a:cubicBezTo>
                    <a:pt x="35200" y="36923"/>
                    <a:pt x="32000" y="36923"/>
                    <a:pt x="32000" y="36923"/>
                  </a:cubicBezTo>
                  <a:cubicBezTo>
                    <a:pt x="30400" y="32307"/>
                    <a:pt x="30400" y="32307"/>
                    <a:pt x="30400" y="32307"/>
                  </a:cubicBezTo>
                  <a:cubicBezTo>
                    <a:pt x="40000" y="23076"/>
                    <a:pt x="40000" y="23076"/>
                    <a:pt x="40000" y="23076"/>
                  </a:cubicBezTo>
                  <a:cubicBezTo>
                    <a:pt x="41600" y="15384"/>
                    <a:pt x="41600" y="15384"/>
                    <a:pt x="41600" y="15384"/>
                  </a:cubicBezTo>
                  <a:cubicBezTo>
                    <a:pt x="41600" y="15384"/>
                    <a:pt x="40000" y="13846"/>
                    <a:pt x="38400" y="12307"/>
                  </a:cubicBezTo>
                  <a:cubicBezTo>
                    <a:pt x="35200" y="9230"/>
                    <a:pt x="36800" y="9230"/>
                    <a:pt x="36800" y="7692"/>
                  </a:cubicBezTo>
                  <a:cubicBezTo>
                    <a:pt x="38400" y="6153"/>
                    <a:pt x="40000" y="6153"/>
                    <a:pt x="40000" y="6153"/>
                  </a:cubicBezTo>
                  <a:cubicBezTo>
                    <a:pt x="41600" y="4615"/>
                    <a:pt x="44800" y="4615"/>
                    <a:pt x="48000" y="1538"/>
                  </a:cubicBezTo>
                  <a:cubicBezTo>
                    <a:pt x="51200" y="0"/>
                    <a:pt x="51200" y="3076"/>
                    <a:pt x="51200" y="3076"/>
                  </a:cubicBezTo>
                  <a:cubicBezTo>
                    <a:pt x="51200" y="3076"/>
                    <a:pt x="52800" y="7692"/>
                    <a:pt x="57600" y="9230"/>
                  </a:cubicBezTo>
                  <a:cubicBezTo>
                    <a:pt x="60800" y="10769"/>
                    <a:pt x="62400" y="10769"/>
                    <a:pt x="62400" y="10769"/>
                  </a:cubicBezTo>
                  <a:cubicBezTo>
                    <a:pt x="67200" y="10769"/>
                    <a:pt x="67200" y="10769"/>
                    <a:pt x="67200" y="10769"/>
                  </a:cubicBezTo>
                  <a:cubicBezTo>
                    <a:pt x="75200" y="16923"/>
                    <a:pt x="75200" y="16923"/>
                    <a:pt x="75200" y="16923"/>
                  </a:cubicBezTo>
                  <a:cubicBezTo>
                    <a:pt x="75200" y="16923"/>
                    <a:pt x="75200" y="16923"/>
                    <a:pt x="76800" y="18461"/>
                  </a:cubicBezTo>
                  <a:cubicBezTo>
                    <a:pt x="78400" y="20000"/>
                    <a:pt x="80000" y="26153"/>
                    <a:pt x="80000" y="26153"/>
                  </a:cubicBezTo>
                  <a:cubicBezTo>
                    <a:pt x="92800" y="29230"/>
                    <a:pt x="92800" y="29230"/>
                    <a:pt x="92800" y="29230"/>
                  </a:cubicBezTo>
                  <a:cubicBezTo>
                    <a:pt x="94400" y="35384"/>
                    <a:pt x="94400" y="35384"/>
                    <a:pt x="94400" y="35384"/>
                  </a:cubicBezTo>
                  <a:cubicBezTo>
                    <a:pt x="94400" y="35384"/>
                    <a:pt x="100800" y="35384"/>
                    <a:pt x="104000" y="36923"/>
                  </a:cubicBezTo>
                  <a:cubicBezTo>
                    <a:pt x="107200" y="36923"/>
                    <a:pt x="107200" y="40000"/>
                    <a:pt x="107200" y="40000"/>
                  </a:cubicBezTo>
                  <a:cubicBezTo>
                    <a:pt x="112000" y="38461"/>
                    <a:pt x="112000" y="38461"/>
                    <a:pt x="112000" y="38461"/>
                  </a:cubicBezTo>
                  <a:cubicBezTo>
                    <a:pt x="120000" y="40000"/>
                    <a:pt x="120000" y="40000"/>
                    <a:pt x="120000" y="40000"/>
                  </a:cubicBezTo>
                  <a:cubicBezTo>
                    <a:pt x="120000" y="40000"/>
                    <a:pt x="120000" y="41538"/>
                    <a:pt x="118400" y="43076"/>
                  </a:cubicBezTo>
                  <a:cubicBezTo>
                    <a:pt x="116800" y="43076"/>
                    <a:pt x="116800" y="46153"/>
                    <a:pt x="116800" y="47692"/>
                  </a:cubicBezTo>
                  <a:cubicBezTo>
                    <a:pt x="116800" y="50769"/>
                    <a:pt x="116800" y="52307"/>
                    <a:pt x="116800" y="53846"/>
                  </a:cubicBezTo>
                  <a:cubicBezTo>
                    <a:pt x="115200" y="56923"/>
                    <a:pt x="113600" y="55384"/>
                    <a:pt x="112000" y="56923"/>
                  </a:cubicBezTo>
                  <a:cubicBezTo>
                    <a:pt x="110400" y="56923"/>
                    <a:pt x="112000" y="60000"/>
                    <a:pt x="113600" y="63076"/>
                  </a:cubicBezTo>
                  <a:cubicBezTo>
                    <a:pt x="113600" y="64615"/>
                    <a:pt x="113600" y="64615"/>
                    <a:pt x="112000" y="66153"/>
                  </a:cubicBezTo>
                  <a:cubicBezTo>
                    <a:pt x="108800" y="69230"/>
                    <a:pt x="107200" y="69230"/>
                    <a:pt x="107200" y="69230"/>
                  </a:cubicBezTo>
                  <a:cubicBezTo>
                    <a:pt x="112000" y="73846"/>
                    <a:pt x="112000" y="73846"/>
                    <a:pt x="112000" y="73846"/>
                  </a:cubicBezTo>
                  <a:cubicBezTo>
                    <a:pt x="112000" y="73846"/>
                    <a:pt x="112000" y="73846"/>
                    <a:pt x="113600" y="73846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4" name="Shape 2015"/>
            <p:cNvSpPr/>
            <p:nvPr/>
          </p:nvSpPr>
          <p:spPr>
            <a:xfrm>
              <a:off x="5900012" y="3680444"/>
              <a:ext cx="193499" cy="3537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9176" y="118500"/>
                  </a:move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77647" y="119250"/>
                    <a:pt x="77647" y="119250"/>
                    <a:pt x="77647" y="119250"/>
                  </a:cubicBezTo>
                  <a:cubicBezTo>
                    <a:pt x="80470" y="118500"/>
                    <a:pt x="80470" y="118500"/>
                    <a:pt x="80470" y="118500"/>
                  </a:cubicBezTo>
                  <a:cubicBezTo>
                    <a:pt x="80470" y="118500"/>
                    <a:pt x="83294" y="117000"/>
                    <a:pt x="83294" y="117000"/>
                  </a:cubicBezTo>
                  <a:cubicBezTo>
                    <a:pt x="83294" y="117000"/>
                    <a:pt x="83294" y="115500"/>
                    <a:pt x="83294" y="115500"/>
                  </a:cubicBezTo>
                  <a:cubicBezTo>
                    <a:pt x="81882" y="114750"/>
                    <a:pt x="81882" y="114750"/>
                    <a:pt x="81882" y="114750"/>
                  </a:cubicBezTo>
                  <a:cubicBezTo>
                    <a:pt x="81882" y="114750"/>
                    <a:pt x="80470" y="113250"/>
                    <a:pt x="81882" y="113250"/>
                  </a:cubicBezTo>
                  <a:cubicBezTo>
                    <a:pt x="83294" y="113250"/>
                    <a:pt x="84705" y="112500"/>
                    <a:pt x="84705" y="113250"/>
                  </a:cubicBezTo>
                  <a:cubicBezTo>
                    <a:pt x="86117" y="113250"/>
                    <a:pt x="84705" y="113250"/>
                    <a:pt x="86117" y="113250"/>
                  </a:cubicBezTo>
                  <a:cubicBezTo>
                    <a:pt x="87529" y="113250"/>
                    <a:pt x="88941" y="112500"/>
                    <a:pt x="88941" y="11250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7529" y="111000"/>
                    <a:pt x="83294" y="109500"/>
                    <a:pt x="81882" y="109500"/>
                  </a:cubicBezTo>
                  <a:cubicBezTo>
                    <a:pt x="81882" y="108750"/>
                    <a:pt x="80470" y="108000"/>
                    <a:pt x="80470" y="108000"/>
                  </a:cubicBezTo>
                  <a:cubicBezTo>
                    <a:pt x="80470" y="107250"/>
                    <a:pt x="81882" y="106500"/>
                    <a:pt x="81882" y="106500"/>
                  </a:cubicBezTo>
                  <a:cubicBezTo>
                    <a:pt x="80470" y="105750"/>
                    <a:pt x="80470" y="105750"/>
                    <a:pt x="80470" y="105750"/>
                  </a:cubicBezTo>
                  <a:cubicBezTo>
                    <a:pt x="80470" y="105750"/>
                    <a:pt x="81882" y="105000"/>
                    <a:pt x="83294" y="105000"/>
                  </a:cubicBezTo>
                  <a:cubicBezTo>
                    <a:pt x="83294" y="105000"/>
                    <a:pt x="84705" y="105000"/>
                    <a:pt x="84705" y="105000"/>
                  </a:cubicBezTo>
                  <a:cubicBezTo>
                    <a:pt x="86117" y="102750"/>
                    <a:pt x="86117" y="102750"/>
                    <a:pt x="86117" y="102750"/>
                  </a:cubicBezTo>
                  <a:cubicBezTo>
                    <a:pt x="86117" y="102750"/>
                    <a:pt x="86117" y="102000"/>
                    <a:pt x="87529" y="102000"/>
                  </a:cubicBezTo>
                  <a:cubicBezTo>
                    <a:pt x="87529" y="102000"/>
                    <a:pt x="88941" y="102000"/>
                    <a:pt x="88941" y="102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108705" y="86250"/>
                    <a:pt x="108705" y="86250"/>
                    <a:pt x="108705" y="86250"/>
                  </a:cubicBezTo>
                  <a:cubicBezTo>
                    <a:pt x="112941" y="80250"/>
                    <a:pt x="112941" y="80250"/>
                    <a:pt x="112941" y="80250"/>
                  </a:cubicBezTo>
                  <a:cubicBezTo>
                    <a:pt x="112941" y="80250"/>
                    <a:pt x="118588" y="77250"/>
                    <a:pt x="118588" y="78000"/>
                  </a:cubicBezTo>
                  <a:cubicBezTo>
                    <a:pt x="120000" y="78750"/>
                    <a:pt x="118588" y="72000"/>
                    <a:pt x="118588" y="72000"/>
                  </a:cubicBezTo>
                  <a:cubicBezTo>
                    <a:pt x="114352" y="69750"/>
                    <a:pt x="114352" y="69750"/>
                    <a:pt x="114352" y="69750"/>
                  </a:cubicBezTo>
                  <a:cubicBezTo>
                    <a:pt x="114352" y="68250"/>
                    <a:pt x="114352" y="68250"/>
                    <a:pt x="114352" y="68250"/>
                  </a:cubicBezTo>
                  <a:cubicBezTo>
                    <a:pt x="114352" y="68250"/>
                    <a:pt x="112941" y="68250"/>
                    <a:pt x="112941" y="68250"/>
                  </a:cubicBezTo>
                  <a:cubicBezTo>
                    <a:pt x="112941" y="68250"/>
                    <a:pt x="112941" y="68250"/>
                    <a:pt x="111529" y="68250"/>
                  </a:cubicBezTo>
                  <a:cubicBezTo>
                    <a:pt x="111529" y="67500"/>
                    <a:pt x="111529" y="67500"/>
                    <a:pt x="111529" y="67500"/>
                  </a:cubicBezTo>
                  <a:cubicBezTo>
                    <a:pt x="108705" y="66000"/>
                    <a:pt x="108705" y="66000"/>
                    <a:pt x="108705" y="66000"/>
                  </a:cubicBezTo>
                  <a:cubicBezTo>
                    <a:pt x="108705" y="66000"/>
                    <a:pt x="107294" y="66750"/>
                    <a:pt x="105882" y="66750"/>
                  </a:cubicBezTo>
                  <a:cubicBezTo>
                    <a:pt x="104470" y="66750"/>
                    <a:pt x="104470" y="66000"/>
                    <a:pt x="103058" y="66000"/>
                  </a:cubicBezTo>
                  <a:cubicBezTo>
                    <a:pt x="103058" y="66000"/>
                    <a:pt x="103058" y="66000"/>
                    <a:pt x="103058" y="66000"/>
                  </a:cubicBezTo>
                  <a:cubicBezTo>
                    <a:pt x="103058" y="66000"/>
                    <a:pt x="101647" y="66000"/>
                    <a:pt x="100235" y="66000"/>
                  </a:cubicBezTo>
                  <a:cubicBezTo>
                    <a:pt x="98823" y="66000"/>
                    <a:pt x="97411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6750"/>
                    <a:pt x="96000" y="66750"/>
                    <a:pt x="96000" y="66750"/>
                  </a:cubicBezTo>
                  <a:cubicBezTo>
                    <a:pt x="96000" y="66000"/>
                    <a:pt x="96000" y="66000"/>
                    <a:pt x="94588" y="65250"/>
                  </a:cubicBezTo>
                  <a:cubicBezTo>
                    <a:pt x="94588" y="64500"/>
                    <a:pt x="94588" y="63000"/>
                    <a:pt x="93176" y="62250"/>
                  </a:cubicBezTo>
                  <a:cubicBezTo>
                    <a:pt x="91764" y="61500"/>
                    <a:pt x="91764" y="60750"/>
                    <a:pt x="91764" y="60750"/>
                  </a:cubicBezTo>
                  <a:cubicBezTo>
                    <a:pt x="91764" y="60750"/>
                    <a:pt x="88941" y="60750"/>
                    <a:pt x="87529" y="60750"/>
                  </a:cubicBezTo>
                  <a:cubicBezTo>
                    <a:pt x="87529" y="60750"/>
                    <a:pt x="86117" y="60750"/>
                    <a:pt x="86117" y="60750"/>
                  </a:cubicBezTo>
                  <a:cubicBezTo>
                    <a:pt x="86117" y="60750"/>
                    <a:pt x="84705" y="59250"/>
                    <a:pt x="86117" y="59250"/>
                  </a:cubicBezTo>
                  <a:cubicBezTo>
                    <a:pt x="86117" y="58500"/>
                    <a:pt x="84705" y="57750"/>
                    <a:pt x="83294" y="57000"/>
                  </a:cubicBezTo>
                  <a:cubicBezTo>
                    <a:pt x="83294" y="57000"/>
                    <a:pt x="80470" y="54750"/>
                    <a:pt x="80470" y="54750"/>
                  </a:cubicBezTo>
                  <a:cubicBezTo>
                    <a:pt x="80470" y="54750"/>
                    <a:pt x="79058" y="54750"/>
                    <a:pt x="79058" y="54000"/>
                  </a:cubicBezTo>
                  <a:cubicBezTo>
                    <a:pt x="79058" y="53250"/>
                    <a:pt x="79058" y="52500"/>
                    <a:pt x="79058" y="52500"/>
                  </a:cubicBezTo>
                  <a:cubicBezTo>
                    <a:pt x="77647" y="51000"/>
                    <a:pt x="77647" y="51000"/>
                    <a:pt x="77647" y="51000"/>
                  </a:cubicBezTo>
                  <a:cubicBezTo>
                    <a:pt x="77647" y="51000"/>
                    <a:pt x="80470" y="50250"/>
                    <a:pt x="80470" y="49500"/>
                  </a:cubicBezTo>
                  <a:cubicBezTo>
                    <a:pt x="80470" y="49500"/>
                    <a:pt x="81882" y="48750"/>
                    <a:pt x="80470" y="48000"/>
                  </a:cubicBezTo>
                  <a:cubicBezTo>
                    <a:pt x="80470" y="47250"/>
                    <a:pt x="77647" y="46500"/>
                    <a:pt x="77647" y="46500"/>
                  </a:cubicBezTo>
                  <a:cubicBezTo>
                    <a:pt x="76235" y="45750"/>
                    <a:pt x="74823" y="45000"/>
                    <a:pt x="73411" y="44250"/>
                  </a:cubicBezTo>
                  <a:cubicBezTo>
                    <a:pt x="73411" y="43500"/>
                    <a:pt x="73411" y="42750"/>
                    <a:pt x="73411" y="42750"/>
                  </a:cubicBezTo>
                  <a:cubicBezTo>
                    <a:pt x="73411" y="42750"/>
                    <a:pt x="73411" y="42000"/>
                    <a:pt x="74823" y="42000"/>
                  </a:cubicBezTo>
                  <a:cubicBezTo>
                    <a:pt x="76235" y="41250"/>
                    <a:pt x="77647" y="41250"/>
                    <a:pt x="77647" y="40500"/>
                  </a:cubicBezTo>
                  <a:cubicBezTo>
                    <a:pt x="77647" y="40500"/>
                    <a:pt x="79058" y="40500"/>
                    <a:pt x="79058" y="39750"/>
                  </a:cubicBezTo>
                  <a:cubicBezTo>
                    <a:pt x="77647" y="39000"/>
                    <a:pt x="76235" y="38250"/>
                    <a:pt x="76235" y="38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5250"/>
                    <a:pt x="76235" y="35250"/>
                    <a:pt x="76235" y="3525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6235" y="31500"/>
                    <a:pt x="76235" y="31500"/>
                    <a:pt x="76235" y="31500"/>
                  </a:cubicBezTo>
                  <a:cubicBezTo>
                    <a:pt x="76235" y="31500"/>
                    <a:pt x="77647" y="30000"/>
                    <a:pt x="77647" y="30000"/>
                  </a:cubicBezTo>
                  <a:cubicBezTo>
                    <a:pt x="77647" y="29250"/>
                    <a:pt x="77647" y="27750"/>
                    <a:pt x="77647" y="27750"/>
                  </a:cubicBezTo>
                  <a:cubicBezTo>
                    <a:pt x="77647" y="27000"/>
                    <a:pt x="77647" y="27000"/>
                    <a:pt x="77647" y="27000"/>
                  </a:cubicBezTo>
                  <a:cubicBezTo>
                    <a:pt x="79058" y="24750"/>
                    <a:pt x="79058" y="24750"/>
                    <a:pt x="79058" y="24750"/>
                  </a:cubicBezTo>
                  <a:cubicBezTo>
                    <a:pt x="76235" y="22500"/>
                    <a:pt x="76235" y="22500"/>
                    <a:pt x="76235" y="22500"/>
                  </a:cubicBezTo>
                  <a:cubicBezTo>
                    <a:pt x="76235" y="22500"/>
                    <a:pt x="76235" y="22500"/>
                    <a:pt x="76235" y="21750"/>
                  </a:cubicBezTo>
                  <a:cubicBezTo>
                    <a:pt x="74823" y="21000"/>
                    <a:pt x="74823" y="19500"/>
                    <a:pt x="74823" y="19500"/>
                  </a:cubicBezTo>
                  <a:cubicBezTo>
                    <a:pt x="73411" y="17250"/>
                    <a:pt x="73411" y="17250"/>
                    <a:pt x="73411" y="17250"/>
                  </a:cubicBezTo>
                  <a:cubicBezTo>
                    <a:pt x="73411" y="17250"/>
                    <a:pt x="70588" y="15750"/>
                    <a:pt x="69176" y="15000"/>
                  </a:cubicBezTo>
                  <a:cubicBezTo>
                    <a:pt x="69176" y="15000"/>
                    <a:pt x="69176" y="14250"/>
                    <a:pt x="66352" y="13500"/>
                  </a:cubicBezTo>
                  <a:cubicBezTo>
                    <a:pt x="64941" y="13500"/>
                    <a:pt x="62117" y="12750"/>
                    <a:pt x="62117" y="12750"/>
                  </a:cubicBezTo>
                  <a:cubicBezTo>
                    <a:pt x="59294" y="12750"/>
                    <a:pt x="59294" y="12750"/>
                    <a:pt x="59294" y="12750"/>
                  </a:cubicBezTo>
                  <a:cubicBezTo>
                    <a:pt x="56470" y="11250"/>
                    <a:pt x="56470" y="11250"/>
                    <a:pt x="56470" y="11250"/>
                  </a:cubicBezTo>
                  <a:cubicBezTo>
                    <a:pt x="53647" y="11250"/>
                    <a:pt x="53647" y="11250"/>
                    <a:pt x="53647" y="11250"/>
                  </a:cubicBezTo>
                  <a:cubicBezTo>
                    <a:pt x="52235" y="9000"/>
                    <a:pt x="52235" y="9000"/>
                    <a:pt x="52235" y="900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48000" y="5250"/>
                    <a:pt x="48000" y="5250"/>
                    <a:pt x="48000" y="5250"/>
                  </a:cubicBezTo>
                  <a:cubicBezTo>
                    <a:pt x="45176" y="4500"/>
                    <a:pt x="45176" y="4500"/>
                    <a:pt x="45176" y="4500"/>
                  </a:cubicBezTo>
                  <a:cubicBezTo>
                    <a:pt x="43764" y="3750"/>
                    <a:pt x="43764" y="3750"/>
                    <a:pt x="43764" y="375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39529" y="3000"/>
                    <a:pt x="39529" y="3000"/>
                    <a:pt x="39529" y="3000"/>
                  </a:cubicBezTo>
                  <a:cubicBezTo>
                    <a:pt x="39529" y="3000"/>
                    <a:pt x="38117" y="4500"/>
                    <a:pt x="38117" y="4500"/>
                  </a:cubicBezTo>
                  <a:cubicBezTo>
                    <a:pt x="38117" y="4500"/>
                    <a:pt x="33882" y="5250"/>
                    <a:pt x="33882" y="5250"/>
                  </a:cubicBezTo>
                  <a:cubicBezTo>
                    <a:pt x="31058" y="6750"/>
                    <a:pt x="31058" y="6750"/>
                    <a:pt x="31058" y="6750"/>
                  </a:cubicBezTo>
                  <a:cubicBezTo>
                    <a:pt x="28235" y="7500"/>
                    <a:pt x="28235" y="7500"/>
                    <a:pt x="28235" y="7500"/>
                  </a:cubicBezTo>
                  <a:cubicBezTo>
                    <a:pt x="28235" y="7500"/>
                    <a:pt x="28235" y="7500"/>
                    <a:pt x="28235" y="6750"/>
                  </a:cubicBezTo>
                  <a:cubicBezTo>
                    <a:pt x="26823" y="6750"/>
                    <a:pt x="26823" y="6750"/>
                    <a:pt x="26823" y="6750"/>
                  </a:cubicBezTo>
                  <a:cubicBezTo>
                    <a:pt x="26823" y="6750"/>
                    <a:pt x="25411" y="6000"/>
                    <a:pt x="25411" y="5250"/>
                  </a:cubicBezTo>
                  <a:cubicBezTo>
                    <a:pt x="25411" y="5250"/>
                    <a:pt x="24000" y="4500"/>
                    <a:pt x="24000" y="4500"/>
                  </a:cubicBezTo>
                  <a:cubicBezTo>
                    <a:pt x="24000" y="4500"/>
                    <a:pt x="24000" y="3750"/>
                    <a:pt x="24000" y="3750"/>
                  </a:cubicBezTo>
                  <a:cubicBezTo>
                    <a:pt x="24000" y="3000"/>
                    <a:pt x="24000" y="2250"/>
                    <a:pt x="24000" y="2250"/>
                  </a:cubicBezTo>
                  <a:cubicBezTo>
                    <a:pt x="24000" y="1500"/>
                    <a:pt x="24000" y="1500"/>
                    <a:pt x="24000" y="1500"/>
                  </a:cubicBezTo>
                  <a:cubicBezTo>
                    <a:pt x="22588" y="750"/>
                    <a:pt x="22588" y="750"/>
                    <a:pt x="22588" y="750"/>
                  </a:cubicBezTo>
                  <a:cubicBezTo>
                    <a:pt x="22588" y="0"/>
                    <a:pt x="22588" y="0"/>
                    <a:pt x="22588" y="0"/>
                  </a:cubicBezTo>
                  <a:cubicBezTo>
                    <a:pt x="22588" y="0"/>
                    <a:pt x="19764" y="0"/>
                    <a:pt x="19764" y="0"/>
                  </a:cubicBezTo>
                  <a:cubicBezTo>
                    <a:pt x="19764" y="0"/>
                    <a:pt x="14117" y="3000"/>
                    <a:pt x="14117" y="300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4117" y="5250"/>
                    <a:pt x="14117" y="5250"/>
                    <a:pt x="14117" y="5250"/>
                  </a:cubicBezTo>
                  <a:cubicBezTo>
                    <a:pt x="12705" y="6750"/>
                    <a:pt x="12705" y="6750"/>
                    <a:pt x="12705" y="6750"/>
                  </a:cubicBezTo>
                  <a:cubicBezTo>
                    <a:pt x="11294" y="8250"/>
                    <a:pt x="11294" y="8250"/>
                    <a:pt x="11294" y="8250"/>
                  </a:cubicBezTo>
                  <a:cubicBezTo>
                    <a:pt x="11294" y="8250"/>
                    <a:pt x="9882" y="9000"/>
                    <a:pt x="9882" y="9750"/>
                  </a:cubicBezTo>
                  <a:cubicBezTo>
                    <a:pt x="9882" y="9750"/>
                    <a:pt x="8470" y="10500"/>
                    <a:pt x="8470" y="10500"/>
                  </a:cubicBezTo>
                  <a:cubicBezTo>
                    <a:pt x="7058" y="11250"/>
                    <a:pt x="7058" y="11250"/>
                    <a:pt x="7058" y="1125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5647" y="13500"/>
                    <a:pt x="5647" y="13500"/>
                    <a:pt x="5647" y="13500"/>
                  </a:cubicBezTo>
                  <a:cubicBezTo>
                    <a:pt x="5647" y="13500"/>
                    <a:pt x="5647" y="14250"/>
                    <a:pt x="5647" y="15000"/>
                  </a:cubicBezTo>
                  <a:cubicBezTo>
                    <a:pt x="5647" y="15000"/>
                    <a:pt x="4235" y="15750"/>
                    <a:pt x="4235" y="15750"/>
                  </a:cubicBezTo>
                  <a:cubicBezTo>
                    <a:pt x="2823" y="17250"/>
                    <a:pt x="2823" y="17250"/>
                    <a:pt x="2823" y="17250"/>
                  </a:cubicBezTo>
                  <a:cubicBezTo>
                    <a:pt x="0" y="18750"/>
                    <a:pt x="0" y="18750"/>
                    <a:pt x="0" y="1875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4235" y="21750"/>
                    <a:pt x="4235" y="21750"/>
                    <a:pt x="4235" y="21750"/>
                  </a:cubicBezTo>
                  <a:cubicBezTo>
                    <a:pt x="7058" y="22500"/>
                    <a:pt x="7058" y="22500"/>
                    <a:pt x="7058" y="22500"/>
                  </a:cubicBezTo>
                  <a:cubicBezTo>
                    <a:pt x="7058" y="22500"/>
                    <a:pt x="7058" y="23250"/>
                    <a:pt x="7058" y="24000"/>
                  </a:cubicBezTo>
                  <a:cubicBezTo>
                    <a:pt x="7058" y="24000"/>
                    <a:pt x="7058" y="24750"/>
                    <a:pt x="7058" y="24750"/>
                  </a:cubicBezTo>
                  <a:cubicBezTo>
                    <a:pt x="5647" y="26250"/>
                    <a:pt x="5647" y="26250"/>
                    <a:pt x="5647" y="26250"/>
                  </a:cubicBezTo>
                  <a:cubicBezTo>
                    <a:pt x="5647" y="26250"/>
                    <a:pt x="7058" y="27000"/>
                    <a:pt x="7058" y="27000"/>
                  </a:cubicBezTo>
                  <a:cubicBezTo>
                    <a:pt x="7058" y="27000"/>
                    <a:pt x="7058" y="27750"/>
                    <a:pt x="7058" y="27750"/>
                  </a:cubicBezTo>
                  <a:cubicBezTo>
                    <a:pt x="7058" y="27750"/>
                    <a:pt x="7058" y="29250"/>
                    <a:pt x="7058" y="29250"/>
                  </a:cubicBezTo>
                  <a:cubicBezTo>
                    <a:pt x="5647" y="30000"/>
                    <a:pt x="5647" y="30000"/>
                    <a:pt x="5647" y="30000"/>
                  </a:cubicBezTo>
                  <a:cubicBezTo>
                    <a:pt x="5647" y="30000"/>
                    <a:pt x="7058" y="30750"/>
                    <a:pt x="7058" y="31500"/>
                  </a:cubicBezTo>
                  <a:cubicBezTo>
                    <a:pt x="7058" y="31500"/>
                    <a:pt x="7058" y="32250"/>
                    <a:pt x="7058" y="32250"/>
                  </a:cubicBezTo>
                  <a:cubicBezTo>
                    <a:pt x="5647" y="32250"/>
                    <a:pt x="8470" y="33750"/>
                    <a:pt x="8470" y="33750"/>
                  </a:cubicBezTo>
                  <a:cubicBezTo>
                    <a:pt x="8470" y="33750"/>
                    <a:pt x="9882" y="33000"/>
                    <a:pt x="11294" y="33000"/>
                  </a:cubicBezTo>
                  <a:cubicBezTo>
                    <a:pt x="11294" y="33000"/>
                    <a:pt x="14117" y="33000"/>
                    <a:pt x="14117" y="33000"/>
                  </a:cubicBezTo>
                  <a:cubicBezTo>
                    <a:pt x="16941" y="33750"/>
                    <a:pt x="16941" y="33750"/>
                    <a:pt x="16941" y="33750"/>
                  </a:cubicBezTo>
                  <a:cubicBezTo>
                    <a:pt x="19764" y="33750"/>
                    <a:pt x="19764" y="33750"/>
                    <a:pt x="19764" y="33750"/>
                  </a:cubicBezTo>
                  <a:cubicBezTo>
                    <a:pt x="21176" y="35250"/>
                    <a:pt x="21176" y="35250"/>
                    <a:pt x="21176" y="35250"/>
                  </a:cubicBezTo>
                  <a:cubicBezTo>
                    <a:pt x="21176" y="36750"/>
                    <a:pt x="21176" y="36750"/>
                    <a:pt x="21176" y="36750"/>
                  </a:cubicBezTo>
                  <a:cubicBezTo>
                    <a:pt x="21176" y="39000"/>
                    <a:pt x="21176" y="39000"/>
                    <a:pt x="21176" y="39000"/>
                  </a:cubicBezTo>
                  <a:cubicBezTo>
                    <a:pt x="19764" y="40500"/>
                    <a:pt x="19764" y="40500"/>
                    <a:pt x="19764" y="40500"/>
                  </a:cubicBezTo>
                  <a:cubicBezTo>
                    <a:pt x="22588" y="41250"/>
                    <a:pt x="22588" y="41250"/>
                    <a:pt x="22588" y="41250"/>
                  </a:cubicBezTo>
                  <a:cubicBezTo>
                    <a:pt x="22588" y="41250"/>
                    <a:pt x="22588" y="41250"/>
                    <a:pt x="22588" y="41250"/>
                  </a:cubicBezTo>
                  <a:cubicBezTo>
                    <a:pt x="22588" y="41250"/>
                    <a:pt x="22588" y="42750"/>
                    <a:pt x="22588" y="43500"/>
                  </a:cubicBezTo>
                  <a:cubicBezTo>
                    <a:pt x="21176" y="43500"/>
                    <a:pt x="19764" y="43500"/>
                    <a:pt x="18352" y="44250"/>
                  </a:cubicBezTo>
                  <a:cubicBezTo>
                    <a:pt x="16941" y="44250"/>
                    <a:pt x="15529" y="44250"/>
                    <a:pt x="15529" y="442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8352" y="45750"/>
                    <a:pt x="18352" y="45750"/>
                    <a:pt x="18352" y="45750"/>
                  </a:cubicBezTo>
                  <a:cubicBezTo>
                    <a:pt x="18352" y="45750"/>
                    <a:pt x="19764" y="45750"/>
                    <a:pt x="19764" y="45750"/>
                  </a:cubicBezTo>
                  <a:cubicBezTo>
                    <a:pt x="19764" y="46500"/>
                    <a:pt x="19764" y="48000"/>
                    <a:pt x="19764" y="48000"/>
                  </a:cubicBezTo>
                  <a:cubicBezTo>
                    <a:pt x="19764" y="48000"/>
                    <a:pt x="19764" y="48750"/>
                    <a:pt x="18352" y="48750"/>
                  </a:cubicBezTo>
                  <a:cubicBezTo>
                    <a:pt x="18352" y="48750"/>
                    <a:pt x="16941" y="49500"/>
                    <a:pt x="16941" y="49500"/>
                  </a:cubicBezTo>
                  <a:cubicBezTo>
                    <a:pt x="15529" y="50250"/>
                    <a:pt x="15529" y="50250"/>
                    <a:pt x="15529" y="50250"/>
                  </a:cubicBezTo>
                  <a:cubicBezTo>
                    <a:pt x="14117" y="51000"/>
                    <a:pt x="14117" y="51000"/>
                    <a:pt x="14117" y="51000"/>
                  </a:cubicBezTo>
                  <a:cubicBezTo>
                    <a:pt x="11294" y="51750"/>
                    <a:pt x="11294" y="51750"/>
                    <a:pt x="11294" y="517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5529" y="53250"/>
                    <a:pt x="15529" y="53250"/>
                    <a:pt x="15529" y="53250"/>
                  </a:cubicBezTo>
                  <a:cubicBezTo>
                    <a:pt x="15529" y="53250"/>
                    <a:pt x="16941" y="54000"/>
                    <a:pt x="16941" y="54000"/>
                  </a:cubicBezTo>
                  <a:cubicBezTo>
                    <a:pt x="16941" y="54000"/>
                    <a:pt x="21176" y="55500"/>
                    <a:pt x="21176" y="55500"/>
                  </a:cubicBezTo>
                  <a:cubicBezTo>
                    <a:pt x="19764" y="56250"/>
                    <a:pt x="19764" y="56250"/>
                    <a:pt x="19764" y="56250"/>
                  </a:cubicBezTo>
                  <a:cubicBezTo>
                    <a:pt x="19764" y="56250"/>
                    <a:pt x="19764" y="57000"/>
                    <a:pt x="19764" y="57750"/>
                  </a:cubicBezTo>
                  <a:cubicBezTo>
                    <a:pt x="19764" y="58500"/>
                    <a:pt x="19764" y="60750"/>
                    <a:pt x="19764" y="60750"/>
                  </a:cubicBezTo>
                  <a:cubicBezTo>
                    <a:pt x="18352" y="61500"/>
                    <a:pt x="18352" y="61500"/>
                    <a:pt x="18352" y="61500"/>
                  </a:cubicBezTo>
                  <a:cubicBezTo>
                    <a:pt x="18352" y="62250"/>
                    <a:pt x="19764" y="64500"/>
                    <a:pt x="19764" y="64500"/>
                  </a:cubicBezTo>
                  <a:cubicBezTo>
                    <a:pt x="19764" y="65250"/>
                    <a:pt x="19764" y="65250"/>
                    <a:pt x="19764" y="65250"/>
                  </a:cubicBezTo>
                  <a:cubicBezTo>
                    <a:pt x="18352" y="66000"/>
                    <a:pt x="18352" y="66000"/>
                    <a:pt x="18352" y="66000"/>
                  </a:cubicBezTo>
                  <a:cubicBezTo>
                    <a:pt x="24000" y="67500"/>
                    <a:pt x="24000" y="67500"/>
                    <a:pt x="24000" y="67500"/>
                  </a:cubicBezTo>
                  <a:cubicBezTo>
                    <a:pt x="22588" y="69000"/>
                    <a:pt x="22588" y="69000"/>
                    <a:pt x="22588" y="69000"/>
                  </a:cubicBezTo>
                  <a:cubicBezTo>
                    <a:pt x="19764" y="69750"/>
                    <a:pt x="19764" y="69750"/>
                    <a:pt x="19764" y="69750"/>
                  </a:cubicBezTo>
                  <a:cubicBezTo>
                    <a:pt x="19764" y="69750"/>
                    <a:pt x="18352" y="69750"/>
                    <a:pt x="18352" y="69750"/>
                  </a:cubicBezTo>
                  <a:cubicBezTo>
                    <a:pt x="18352" y="70500"/>
                    <a:pt x="18352" y="71250"/>
                    <a:pt x="18352" y="71250"/>
                  </a:cubicBezTo>
                  <a:cubicBezTo>
                    <a:pt x="19764" y="72000"/>
                    <a:pt x="19764" y="72000"/>
                    <a:pt x="19764" y="7200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4250"/>
                    <a:pt x="18352" y="74250"/>
                  </a:cubicBezTo>
                  <a:cubicBezTo>
                    <a:pt x="18352" y="74250"/>
                    <a:pt x="18352" y="75000"/>
                    <a:pt x="16941" y="75000"/>
                  </a:cubicBezTo>
                  <a:cubicBezTo>
                    <a:pt x="16941" y="75000"/>
                    <a:pt x="15529" y="75750"/>
                    <a:pt x="15529" y="7575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80250"/>
                    <a:pt x="15529" y="80250"/>
                    <a:pt x="15529" y="80250"/>
                  </a:cubicBezTo>
                  <a:cubicBezTo>
                    <a:pt x="15529" y="81000"/>
                    <a:pt x="15529" y="81000"/>
                    <a:pt x="15529" y="81000"/>
                  </a:cubicBezTo>
                  <a:cubicBezTo>
                    <a:pt x="16941" y="83250"/>
                    <a:pt x="16941" y="83250"/>
                    <a:pt x="16941" y="83250"/>
                  </a:cubicBezTo>
                  <a:cubicBezTo>
                    <a:pt x="19764" y="85500"/>
                    <a:pt x="19764" y="85500"/>
                    <a:pt x="19764" y="85500"/>
                  </a:cubicBezTo>
                  <a:cubicBezTo>
                    <a:pt x="22588" y="87000"/>
                    <a:pt x="22588" y="87000"/>
                    <a:pt x="22588" y="87000"/>
                  </a:cubicBezTo>
                  <a:cubicBezTo>
                    <a:pt x="24000" y="88500"/>
                    <a:pt x="24000" y="88500"/>
                    <a:pt x="24000" y="88500"/>
                  </a:cubicBezTo>
                  <a:cubicBezTo>
                    <a:pt x="26823" y="89250"/>
                    <a:pt x="26823" y="89250"/>
                    <a:pt x="26823" y="89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6823" y="93750"/>
                    <a:pt x="26823" y="93750"/>
                    <a:pt x="26823" y="93750"/>
                  </a:cubicBezTo>
                  <a:cubicBezTo>
                    <a:pt x="26823" y="93750"/>
                    <a:pt x="26823" y="93750"/>
                    <a:pt x="25411" y="94500"/>
                  </a:cubicBezTo>
                  <a:cubicBezTo>
                    <a:pt x="25411" y="94500"/>
                    <a:pt x="25411" y="94500"/>
                    <a:pt x="24000" y="93750"/>
                  </a:cubicBezTo>
                  <a:cubicBezTo>
                    <a:pt x="22588" y="93750"/>
                    <a:pt x="21176" y="92250"/>
                    <a:pt x="21176" y="92250"/>
                  </a:cubicBezTo>
                  <a:cubicBezTo>
                    <a:pt x="21176" y="92250"/>
                    <a:pt x="19764" y="90750"/>
                    <a:pt x="19764" y="90750"/>
                  </a:cubicBezTo>
                  <a:cubicBezTo>
                    <a:pt x="19764" y="90750"/>
                    <a:pt x="18352" y="90000"/>
                    <a:pt x="18352" y="90000"/>
                  </a:cubicBezTo>
                  <a:cubicBezTo>
                    <a:pt x="15529" y="90000"/>
                    <a:pt x="15529" y="90000"/>
                    <a:pt x="15529" y="90000"/>
                  </a:cubicBezTo>
                  <a:cubicBezTo>
                    <a:pt x="15529" y="90000"/>
                    <a:pt x="15529" y="90750"/>
                    <a:pt x="15529" y="90750"/>
                  </a:cubicBezTo>
                  <a:cubicBezTo>
                    <a:pt x="15529" y="91500"/>
                    <a:pt x="15529" y="91500"/>
                    <a:pt x="16941" y="92250"/>
                  </a:cubicBezTo>
                  <a:cubicBezTo>
                    <a:pt x="18352" y="93000"/>
                    <a:pt x="18352" y="93000"/>
                    <a:pt x="19764" y="93000"/>
                  </a:cubicBezTo>
                  <a:cubicBezTo>
                    <a:pt x="19764" y="93000"/>
                    <a:pt x="19764" y="93750"/>
                    <a:pt x="21176" y="93750"/>
                  </a:cubicBezTo>
                  <a:cubicBezTo>
                    <a:pt x="21176" y="94500"/>
                    <a:pt x="21176" y="96000"/>
                    <a:pt x="21176" y="96000"/>
                  </a:cubicBezTo>
                  <a:cubicBezTo>
                    <a:pt x="24000" y="97500"/>
                    <a:pt x="24000" y="97500"/>
                    <a:pt x="24000" y="97500"/>
                  </a:cubicBezTo>
                  <a:cubicBezTo>
                    <a:pt x="26823" y="98250"/>
                    <a:pt x="26823" y="98250"/>
                    <a:pt x="26823" y="9825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42352" y="102000"/>
                    <a:pt x="42352" y="102000"/>
                    <a:pt x="42352" y="102000"/>
                  </a:cubicBezTo>
                  <a:cubicBezTo>
                    <a:pt x="43764" y="102000"/>
                    <a:pt x="43764" y="102000"/>
                    <a:pt x="43764" y="10200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6588" y="104250"/>
                    <a:pt x="46588" y="104250"/>
                    <a:pt x="46588" y="104250"/>
                  </a:cubicBezTo>
                  <a:cubicBezTo>
                    <a:pt x="46588" y="104250"/>
                    <a:pt x="48000" y="104250"/>
                    <a:pt x="49411" y="104250"/>
                  </a:cubicBezTo>
                  <a:cubicBezTo>
                    <a:pt x="49411" y="104250"/>
                    <a:pt x="52235" y="104250"/>
                    <a:pt x="52235" y="104250"/>
                  </a:cubicBezTo>
                  <a:cubicBezTo>
                    <a:pt x="52235" y="104250"/>
                    <a:pt x="53647" y="103500"/>
                    <a:pt x="53647" y="104250"/>
                  </a:cubicBezTo>
                  <a:cubicBezTo>
                    <a:pt x="53647" y="105000"/>
                    <a:pt x="57882" y="108750"/>
                    <a:pt x="57882" y="108750"/>
                  </a:cubicBezTo>
                  <a:cubicBezTo>
                    <a:pt x="57882" y="108750"/>
                    <a:pt x="57882" y="109500"/>
                    <a:pt x="59294" y="110250"/>
                  </a:cubicBezTo>
                  <a:cubicBezTo>
                    <a:pt x="60705" y="111000"/>
                    <a:pt x="63529" y="111750"/>
                    <a:pt x="63529" y="111750"/>
                  </a:cubicBezTo>
                  <a:cubicBezTo>
                    <a:pt x="63529" y="111750"/>
                    <a:pt x="62117" y="112500"/>
                    <a:pt x="62117" y="113250"/>
                  </a:cubicBezTo>
                  <a:cubicBezTo>
                    <a:pt x="63529" y="114000"/>
                    <a:pt x="62117" y="114000"/>
                    <a:pt x="63529" y="114000"/>
                  </a:cubicBezTo>
                  <a:cubicBezTo>
                    <a:pt x="63529" y="114750"/>
                    <a:pt x="63529" y="114750"/>
                    <a:pt x="63529" y="114750"/>
                  </a:cubicBezTo>
                  <a:cubicBezTo>
                    <a:pt x="63529" y="114750"/>
                    <a:pt x="63529" y="114750"/>
                    <a:pt x="63529" y="115500"/>
                  </a:cubicBezTo>
                  <a:cubicBezTo>
                    <a:pt x="64941" y="115500"/>
                    <a:pt x="64941" y="116250"/>
                    <a:pt x="64941" y="116250"/>
                  </a:cubicBezTo>
                  <a:cubicBezTo>
                    <a:pt x="64941" y="118500"/>
                    <a:pt x="64941" y="118500"/>
                    <a:pt x="64941" y="118500"/>
                  </a:cubicBezTo>
                  <a:cubicBezTo>
                    <a:pt x="67764" y="118500"/>
                    <a:pt x="67764" y="118500"/>
                    <a:pt x="67764" y="118500"/>
                  </a:cubicBezTo>
                  <a:lnTo>
                    <a:pt x="69176" y="118500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5" name="Shape 2016"/>
            <p:cNvSpPr/>
            <p:nvPr/>
          </p:nvSpPr>
          <p:spPr>
            <a:xfrm>
              <a:off x="5900012" y="3680444"/>
              <a:ext cx="193499" cy="3537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3411" y="120000"/>
                  </a:move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69176" y="118500"/>
                    <a:pt x="69176" y="118500"/>
                    <a:pt x="69176" y="118500"/>
                  </a:cubicBezTo>
                  <a:cubicBezTo>
                    <a:pt x="67764" y="119250"/>
                    <a:pt x="67764" y="119250"/>
                    <a:pt x="67764" y="119250"/>
                  </a:cubicBezTo>
                  <a:cubicBezTo>
                    <a:pt x="64941" y="118500"/>
                    <a:pt x="64941" y="118500"/>
                    <a:pt x="64941" y="118500"/>
                  </a:cubicBezTo>
                  <a:cubicBezTo>
                    <a:pt x="64941" y="116250"/>
                    <a:pt x="64941" y="116250"/>
                    <a:pt x="64941" y="116250"/>
                  </a:cubicBezTo>
                  <a:cubicBezTo>
                    <a:pt x="64941" y="116250"/>
                    <a:pt x="63529" y="116250"/>
                    <a:pt x="63529" y="115500"/>
                  </a:cubicBezTo>
                  <a:cubicBezTo>
                    <a:pt x="63529" y="114000"/>
                    <a:pt x="63529" y="114000"/>
                    <a:pt x="63529" y="114000"/>
                  </a:cubicBezTo>
                  <a:cubicBezTo>
                    <a:pt x="62117" y="114750"/>
                    <a:pt x="62117" y="114750"/>
                    <a:pt x="62117" y="114750"/>
                  </a:cubicBezTo>
                  <a:cubicBezTo>
                    <a:pt x="62117" y="114000"/>
                    <a:pt x="62117" y="114000"/>
                    <a:pt x="62117" y="114000"/>
                  </a:cubicBezTo>
                  <a:cubicBezTo>
                    <a:pt x="62117" y="113250"/>
                    <a:pt x="62117" y="113250"/>
                    <a:pt x="62117" y="113250"/>
                  </a:cubicBezTo>
                  <a:cubicBezTo>
                    <a:pt x="62117" y="112500"/>
                    <a:pt x="62117" y="111750"/>
                    <a:pt x="63529" y="111750"/>
                  </a:cubicBezTo>
                  <a:cubicBezTo>
                    <a:pt x="62117" y="111750"/>
                    <a:pt x="59294" y="111000"/>
                    <a:pt x="59294" y="110250"/>
                  </a:cubicBezTo>
                  <a:cubicBezTo>
                    <a:pt x="57882" y="110250"/>
                    <a:pt x="57882" y="108750"/>
                    <a:pt x="57882" y="108750"/>
                  </a:cubicBezTo>
                  <a:cubicBezTo>
                    <a:pt x="56470" y="108750"/>
                    <a:pt x="53647" y="105750"/>
                    <a:pt x="53647" y="104250"/>
                  </a:cubicBezTo>
                  <a:cubicBezTo>
                    <a:pt x="50823" y="104250"/>
                    <a:pt x="49411" y="104250"/>
                    <a:pt x="49411" y="104250"/>
                  </a:cubicBezTo>
                  <a:cubicBezTo>
                    <a:pt x="48000" y="104250"/>
                    <a:pt x="46588" y="104250"/>
                    <a:pt x="46588" y="10425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3764" y="102750"/>
                    <a:pt x="43764" y="102750"/>
                    <a:pt x="43764" y="10275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21176" y="96000"/>
                    <a:pt x="21176" y="96000"/>
                    <a:pt x="21176" y="96000"/>
                  </a:cubicBezTo>
                  <a:cubicBezTo>
                    <a:pt x="21176" y="96000"/>
                    <a:pt x="19764" y="94500"/>
                    <a:pt x="19764" y="93750"/>
                  </a:cubicBezTo>
                  <a:cubicBezTo>
                    <a:pt x="19764" y="93750"/>
                    <a:pt x="19764" y="93750"/>
                    <a:pt x="19764" y="93000"/>
                  </a:cubicBezTo>
                  <a:cubicBezTo>
                    <a:pt x="18352" y="93000"/>
                    <a:pt x="16941" y="93000"/>
                    <a:pt x="16941" y="92250"/>
                  </a:cubicBezTo>
                  <a:cubicBezTo>
                    <a:pt x="15529" y="92250"/>
                    <a:pt x="15529" y="91500"/>
                    <a:pt x="14117" y="90750"/>
                  </a:cubicBezTo>
                  <a:cubicBezTo>
                    <a:pt x="14117" y="90750"/>
                    <a:pt x="14117" y="90000"/>
                    <a:pt x="14117" y="90000"/>
                  </a:cubicBezTo>
                  <a:cubicBezTo>
                    <a:pt x="18352" y="90000"/>
                    <a:pt x="18352" y="90000"/>
                    <a:pt x="18352" y="90000"/>
                  </a:cubicBezTo>
                  <a:cubicBezTo>
                    <a:pt x="18352" y="90000"/>
                    <a:pt x="19764" y="90750"/>
                    <a:pt x="19764" y="90750"/>
                  </a:cubicBezTo>
                  <a:cubicBezTo>
                    <a:pt x="21176" y="90750"/>
                    <a:pt x="21176" y="92250"/>
                    <a:pt x="21176" y="92250"/>
                  </a:cubicBezTo>
                  <a:cubicBezTo>
                    <a:pt x="21176" y="92250"/>
                    <a:pt x="22588" y="93750"/>
                    <a:pt x="24000" y="93750"/>
                  </a:cubicBezTo>
                  <a:cubicBezTo>
                    <a:pt x="24000" y="93750"/>
                    <a:pt x="25411" y="93750"/>
                    <a:pt x="25411" y="93750"/>
                  </a:cubicBezTo>
                  <a:cubicBezTo>
                    <a:pt x="25411" y="93750"/>
                    <a:pt x="25411" y="93750"/>
                    <a:pt x="25411" y="9375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5411" y="89250"/>
                    <a:pt x="25411" y="89250"/>
                    <a:pt x="25411" y="89250"/>
                  </a:cubicBezTo>
                  <a:cubicBezTo>
                    <a:pt x="24000" y="88500"/>
                    <a:pt x="24000" y="88500"/>
                    <a:pt x="24000" y="88500"/>
                  </a:cubicBezTo>
                  <a:cubicBezTo>
                    <a:pt x="22588" y="87000"/>
                    <a:pt x="22588" y="87000"/>
                    <a:pt x="22588" y="87000"/>
                  </a:cubicBezTo>
                  <a:cubicBezTo>
                    <a:pt x="16941" y="83250"/>
                    <a:pt x="16941" y="83250"/>
                    <a:pt x="16941" y="83250"/>
                  </a:cubicBezTo>
                  <a:cubicBezTo>
                    <a:pt x="14117" y="81000"/>
                    <a:pt x="14117" y="81000"/>
                    <a:pt x="14117" y="8100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75750"/>
                    <a:pt x="15529" y="75750"/>
                    <a:pt x="15529" y="75750"/>
                  </a:cubicBezTo>
                  <a:cubicBezTo>
                    <a:pt x="15529" y="75750"/>
                    <a:pt x="16941" y="75000"/>
                    <a:pt x="16941" y="75000"/>
                  </a:cubicBezTo>
                  <a:cubicBezTo>
                    <a:pt x="16941" y="75000"/>
                    <a:pt x="18352" y="74250"/>
                    <a:pt x="18352" y="74250"/>
                  </a:cubicBezTo>
                  <a:cubicBezTo>
                    <a:pt x="18352" y="74250"/>
                    <a:pt x="18352" y="73500"/>
                    <a:pt x="18352" y="7350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9764" y="71250"/>
                    <a:pt x="19764" y="71250"/>
                    <a:pt x="19764" y="71250"/>
                  </a:cubicBezTo>
                  <a:cubicBezTo>
                    <a:pt x="16941" y="71250"/>
                    <a:pt x="16941" y="71250"/>
                    <a:pt x="16941" y="71250"/>
                  </a:cubicBezTo>
                  <a:cubicBezTo>
                    <a:pt x="16941" y="70500"/>
                    <a:pt x="18352" y="69750"/>
                    <a:pt x="18352" y="69750"/>
                  </a:cubicBezTo>
                  <a:cubicBezTo>
                    <a:pt x="18352" y="69750"/>
                    <a:pt x="18352" y="69750"/>
                    <a:pt x="19764" y="69750"/>
                  </a:cubicBezTo>
                  <a:cubicBezTo>
                    <a:pt x="22588" y="68250"/>
                    <a:pt x="22588" y="68250"/>
                    <a:pt x="22588" y="68250"/>
                  </a:cubicBezTo>
                  <a:cubicBezTo>
                    <a:pt x="22588" y="67500"/>
                    <a:pt x="22588" y="67500"/>
                    <a:pt x="22588" y="67500"/>
                  </a:cubicBezTo>
                  <a:cubicBezTo>
                    <a:pt x="18352" y="66750"/>
                    <a:pt x="18352" y="66750"/>
                    <a:pt x="18352" y="66750"/>
                  </a:cubicBezTo>
                  <a:cubicBezTo>
                    <a:pt x="19764" y="64500"/>
                    <a:pt x="19764" y="64500"/>
                    <a:pt x="19764" y="64500"/>
                  </a:cubicBezTo>
                  <a:cubicBezTo>
                    <a:pt x="18352" y="63750"/>
                    <a:pt x="16941" y="62250"/>
                    <a:pt x="16941" y="62250"/>
                  </a:cubicBezTo>
                  <a:cubicBezTo>
                    <a:pt x="18352" y="60750"/>
                    <a:pt x="18352" y="60750"/>
                    <a:pt x="18352" y="60750"/>
                  </a:cubicBezTo>
                  <a:cubicBezTo>
                    <a:pt x="18352" y="60750"/>
                    <a:pt x="19764" y="58500"/>
                    <a:pt x="19764" y="57750"/>
                  </a:cubicBezTo>
                  <a:cubicBezTo>
                    <a:pt x="19764" y="57000"/>
                    <a:pt x="19764" y="56250"/>
                    <a:pt x="19764" y="56250"/>
                  </a:cubicBezTo>
                  <a:cubicBezTo>
                    <a:pt x="19764" y="55500"/>
                    <a:pt x="19764" y="55500"/>
                    <a:pt x="19764" y="55500"/>
                  </a:cubicBezTo>
                  <a:cubicBezTo>
                    <a:pt x="18352" y="54750"/>
                    <a:pt x="16941" y="54000"/>
                    <a:pt x="16941" y="54000"/>
                  </a:cubicBezTo>
                  <a:cubicBezTo>
                    <a:pt x="16941" y="54000"/>
                    <a:pt x="15529" y="54000"/>
                    <a:pt x="15529" y="532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1294" y="51750"/>
                    <a:pt x="11294" y="51750"/>
                    <a:pt x="11294" y="51750"/>
                  </a:cubicBezTo>
                  <a:cubicBezTo>
                    <a:pt x="15529" y="50250"/>
                    <a:pt x="15529" y="50250"/>
                    <a:pt x="15529" y="50250"/>
                  </a:cubicBezTo>
                  <a:cubicBezTo>
                    <a:pt x="15529" y="49500"/>
                    <a:pt x="15529" y="49500"/>
                    <a:pt x="15529" y="49500"/>
                  </a:cubicBezTo>
                  <a:cubicBezTo>
                    <a:pt x="16941" y="48750"/>
                    <a:pt x="18352" y="48750"/>
                    <a:pt x="18352" y="48750"/>
                  </a:cubicBezTo>
                  <a:cubicBezTo>
                    <a:pt x="18352" y="48750"/>
                    <a:pt x="19764" y="48000"/>
                    <a:pt x="19764" y="48000"/>
                  </a:cubicBezTo>
                  <a:cubicBezTo>
                    <a:pt x="19764" y="47250"/>
                    <a:pt x="19764" y="46500"/>
                    <a:pt x="19764" y="457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5529" y="44250"/>
                    <a:pt x="15529" y="44250"/>
                    <a:pt x="15529" y="44250"/>
                  </a:cubicBezTo>
                  <a:cubicBezTo>
                    <a:pt x="15529" y="44250"/>
                    <a:pt x="16941" y="44250"/>
                    <a:pt x="18352" y="43500"/>
                  </a:cubicBezTo>
                  <a:cubicBezTo>
                    <a:pt x="19764" y="43500"/>
                    <a:pt x="21176" y="42750"/>
                    <a:pt x="21176" y="42750"/>
                  </a:cubicBezTo>
                  <a:cubicBezTo>
                    <a:pt x="22588" y="42750"/>
                    <a:pt x="22588" y="42000"/>
                    <a:pt x="22588" y="41250"/>
                  </a:cubicBezTo>
                  <a:cubicBezTo>
                    <a:pt x="19764" y="40500"/>
                    <a:pt x="19764" y="40500"/>
                    <a:pt x="19764" y="40500"/>
                  </a:cubicBezTo>
                  <a:cubicBezTo>
                    <a:pt x="21176" y="39000"/>
                    <a:pt x="21176" y="39000"/>
                    <a:pt x="21176" y="39000"/>
                  </a:cubicBezTo>
                  <a:cubicBezTo>
                    <a:pt x="19764" y="36750"/>
                    <a:pt x="19764" y="36750"/>
                    <a:pt x="19764" y="36750"/>
                  </a:cubicBezTo>
                  <a:cubicBezTo>
                    <a:pt x="21176" y="35250"/>
                    <a:pt x="21176" y="35250"/>
                    <a:pt x="21176" y="35250"/>
                  </a:cubicBezTo>
                  <a:cubicBezTo>
                    <a:pt x="19764" y="34500"/>
                    <a:pt x="19764" y="34500"/>
                    <a:pt x="19764" y="34500"/>
                  </a:cubicBezTo>
                  <a:cubicBezTo>
                    <a:pt x="14117" y="33000"/>
                    <a:pt x="14117" y="33000"/>
                    <a:pt x="14117" y="33000"/>
                  </a:cubicBezTo>
                  <a:cubicBezTo>
                    <a:pt x="12705" y="33000"/>
                    <a:pt x="12705" y="33000"/>
                    <a:pt x="12705" y="33000"/>
                  </a:cubicBezTo>
                  <a:cubicBezTo>
                    <a:pt x="11294" y="33000"/>
                    <a:pt x="9882" y="33750"/>
                    <a:pt x="9882" y="33750"/>
                  </a:cubicBezTo>
                  <a:cubicBezTo>
                    <a:pt x="5647" y="33000"/>
                    <a:pt x="5647" y="32250"/>
                    <a:pt x="5647" y="32250"/>
                  </a:cubicBezTo>
                  <a:cubicBezTo>
                    <a:pt x="7058" y="32250"/>
                    <a:pt x="7058" y="31500"/>
                    <a:pt x="7058" y="31500"/>
                  </a:cubicBezTo>
                  <a:cubicBezTo>
                    <a:pt x="5647" y="30750"/>
                    <a:pt x="5647" y="30750"/>
                    <a:pt x="5647" y="30750"/>
                  </a:cubicBezTo>
                  <a:cubicBezTo>
                    <a:pt x="5647" y="29250"/>
                    <a:pt x="5647" y="29250"/>
                    <a:pt x="5647" y="29250"/>
                  </a:cubicBezTo>
                  <a:cubicBezTo>
                    <a:pt x="5647" y="29250"/>
                    <a:pt x="7058" y="27750"/>
                    <a:pt x="7058" y="27750"/>
                  </a:cubicBezTo>
                  <a:cubicBezTo>
                    <a:pt x="5647" y="27000"/>
                    <a:pt x="5647" y="26250"/>
                    <a:pt x="5647" y="26250"/>
                  </a:cubicBezTo>
                  <a:cubicBezTo>
                    <a:pt x="7058" y="24750"/>
                    <a:pt x="7058" y="24750"/>
                    <a:pt x="7058" y="24750"/>
                  </a:cubicBezTo>
                  <a:cubicBezTo>
                    <a:pt x="7058" y="24000"/>
                    <a:pt x="7058" y="24000"/>
                    <a:pt x="7058" y="24000"/>
                  </a:cubicBezTo>
                  <a:cubicBezTo>
                    <a:pt x="7058" y="23250"/>
                    <a:pt x="7058" y="22500"/>
                    <a:pt x="7058" y="2250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0" y="18750"/>
                    <a:pt x="0" y="18750"/>
                    <a:pt x="0" y="18750"/>
                  </a:cubicBezTo>
                  <a:cubicBezTo>
                    <a:pt x="2823" y="17250"/>
                    <a:pt x="2823" y="17250"/>
                    <a:pt x="2823" y="17250"/>
                  </a:cubicBezTo>
                  <a:cubicBezTo>
                    <a:pt x="4235" y="15750"/>
                    <a:pt x="4235" y="15750"/>
                    <a:pt x="4235" y="15750"/>
                  </a:cubicBezTo>
                  <a:cubicBezTo>
                    <a:pt x="4235" y="15000"/>
                    <a:pt x="4235" y="15000"/>
                    <a:pt x="4235" y="14250"/>
                  </a:cubicBezTo>
                  <a:cubicBezTo>
                    <a:pt x="4235" y="14250"/>
                    <a:pt x="5647" y="13500"/>
                    <a:pt x="5647" y="1350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5647" y="11250"/>
                    <a:pt x="5647" y="11250"/>
                    <a:pt x="5647" y="11250"/>
                  </a:cubicBezTo>
                  <a:cubicBezTo>
                    <a:pt x="7058" y="10500"/>
                    <a:pt x="7058" y="10500"/>
                    <a:pt x="7058" y="10500"/>
                  </a:cubicBezTo>
                  <a:cubicBezTo>
                    <a:pt x="7058" y="10500"/>
                    <a:pt x="8470" y="9750"/>
                    <a:pt x="9882" y="9750"/>
                  </a:cubicBezTo>
                  <a:cubicBezTo>
                    <a:pt x="9882" y="9000"/>
                    <a:pt x="9882" y="8250"/>
                    <a:pt x="9882" y="825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4117" y="3000"/>
                    <a:pt x="14117" y="3000"/>
                    <a:pt x="14117" y="3000"/>
                  </a:cubicBezTo>
                  <a:cubicBezTo>
                    <a:pt x="18352" y="0"/>
                    <a:pt x="19764" y="0"/>
                    <a:pt x="19764" y="0"/>
                  </a:cubicBezTo>
                  <a:cubicBezTo>
                    <a:pt x="21176" y="0"/>
                    <a:pt x="22588" y="0"/>
                    <a:pt x="22588" y="0"/>
                  </a:cubicBezTo>
                  <a:cubicBezTo>
                    <a:pt x="24000" y="750"/>
                    <a:pt x="24000" y="750"/>
                    <a:pt x="24000" y="750"/>
                  </a:cubicBezTo>
                  <a:cubicBezTo>
                    <a:pt x="25411" y="1500"/>
                    <a:pt x="25411" y="1500"/>
                    <a:pt x="25411" y="1500"/>
                  </a:cubicBezTo>
                  <a:cubicBezTo>
                    <a:pt x="25411" y="2250"/>
                    <a:pt x="25411" y="2250"/>
                    <a:pt x="25411" y="2250"/>
                  </a:cubicBezTo>
                  <a:cubicBezTo>
                    <a:pt x="25411" y="3000"/>
                    <a:pt x="24000" y="3000"/>
                    <a:pt x="24000" y="3750"/>
                  </a:cubicBezTo>
                  <a:cubicBezTo>
                    <a:pt x="25411" y="3750"/>
                    <a:pt x="24000" y="4500"/>
                    <a:pt x="24000" y="4500"/>
                  </a:cubicBezTo>
                  <a:cubicBezTo>
                    <a:pt x="25411" y="4500"/>
                    <a:pt x="25411" y="5250"/>
                    <a:pt x="25411" y="5250"/>
                  </a:cubicBezTo>
                  <a:cubicBezTo>
                    <a:pt x="26823" y="6000"/>
                    <a:pt x="26823" y="6000"/>
                    <a:pt x="26823" y="6000"/>
                  </a:cubicBezTo>
                  <a:cubicBezTo>
                    <a:pt x="26823" y="6750"/>
                    <a:pt x="28235" y="6750"/>
                    <a:pt x="28235" y="6750"/>
                  </a:cubicBezTo>
                  <a:cubicBezTo>
                    <a:pt x="31058" y="6000"/>
                    <a:pt x="31058" y="6000"/>
                    <a:pt x="31058" y="6000"/>
                  </a:cubicBezTo>
                  <a:cubicBezTo>
                    <a:pt x="33882" y="5250"/>
                    <a:pt x="33882" y="5250"/>
                    <a:pt x="33882" y="5250"/>
                  </a:cubicBezTo>
                  <a:cubicBezTo>
                    <a:pt x="33882" y="5250"/>
                    <a:pt x="36705" y="4500"/>
                    <a:pt x="38117" y="4500"/>
                  </a:cubicBezTo>
                  <a:cubicBezTo>
                    <a:pt x="38117" y="4500"/>
                    <a:pt x="38117" y="3750"/>
                    <a:pt x="39529" y="300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43764" y="3000"/>
                    <a:pt x="43764" y="3000"/>
                    <a:pt x="43764" y="3000"/>
                  </a:cubicBezTo>
                  <a:cubicBezTo>
                    <a:pt x="45176" y="4500"/>
                    <a:pt x="45176" y="4500"/>
                    <a:pt x="45176" y="4500"/>
                  </a:cubicBezTo>
                  <a:cubicBezTo>
                    <a:pt x="48000" y="5250"/>
                    <a:pt x="48000" y="5250"/>
                    <a:pt x="48000" y="525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52235" y="9000"/>
                    <a:pt x="52235" y="9000"/>
                    <a:pt x="52235" y="9000"/>
                  </a:cubicBezTo>
                  <a:cubicBezTo>
                    <a:pt x="55058" y="11250"/>
                    <a:pt x="55058" y="11250"/>
                    <a:pt x="55058" y="11250"/>
                  </a:cubicBezTo>
                  <a:cubicBezTo>
                    <a:pt x="56470" y="10500"/>
                    <a:pt x="56470" y="10500"/>
                    <a:pt x="56470" y="10500"/>
                  </a:cubicBezTo>
                  <a:cubicBezTo>
                    <a:pt x="59294" y="12000"/>
                    <a:pt x="59294" y="12000"/>
                    <a:pt x="59294" y="12000"/>
                  </a:cubicBezTo>
                  <a:cubicBezTo>
                    <a:pt x="62117" y="12750"/>
                    <a:pt x="62117" y="12750"/>
                    <a:pt x="62117" y="12750"/>
                  </a:cubicBezTo>
                  <a:cubicBezTo>
                    <a:pt x="62117" y="12750"/>
                    <a:pt x="64941" y="12750"/>
                    <a:pt x="67764" y="13500"/>
                  </a:cubicBezTo>
                  <a:cubicBezTo>
                    <a:pt x="69176" y="13500"/>
                    <a:pt x="69176" y="14250"/>
                    <a:pt x="69176" y="14250"/>
                  </a:cubicBezTo>
                  <a:cubicBezTo>
                    <a:pt x="70588" y="15750"/>
                    <a:pt x="73411" y="17250"/>
                    <a:pt x="73411" y="17250"/>
                  </a:cubicBezTo>
                  <a:cubicBezTo>
                    <a:pt x="74823" y="19500"/>
                    <a:pt x="74823" y="19500"/>
                    <a:pt x="74823" y="19500"/>
                  </a:cubicBezTo>
                  <a:cubicBezTo>
                    <a:pt x="74823" y="19500"/>
                    <a:pt x="76235" y="21000"/>
                    <a:pt x="76235" y="21750"/>
                  </a:cubicBezTo>
                  <a:cubicBezTo>
                    <a:pt x="76235" y="21750"/>
                    <a:pt x="76235" y="22500"/>
                    <a:pt x="76235" y="22500"/>
                  </a:cubicBezTo>
                  <a:cubicBezTo>
                    <a:pt x="80470" y="24750"/>
                    <a:pt x="80470" y="24750"/>
                    <a:pt x="80470" y="24750"/>
                  </a:cubicBezTo>
                  <a:cubicBezTo>
                    <a:pt x="79058" y="27000"/>
                    <a:pt x="79058" y="27000"/>
                    <a:pt x="79058" y="27000"/>
                  </a:cubicBezTo>
                  <a:cubicBezTo>
                    <a:pt x="77647" y="28500"/>
                    <a:pt x="77647" y="28500"/>
                    <a:pt x="77647" y="28500"/>
                  </a:cubicBezTo>
                  <a:cubicBezTo>
                    <a:pt x="77647" y="28500"/>
                    <a:pt x="77647" y="30000"/>
                    <a:pt x="77647" y="30000"/>
                  </a:cubicBezTo>
                  <a:cubicBezTo>
                    <a:pt x="77647" y="30000"/>
                    <a:pt x="77647" y="31500"/>
                    <a:pt x="77647" y="3150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8250"/>
                    <a:pt x="76235" y="38250"/>
                    <a:pt x="76235" y="38250"/>
                  </a:cubicBezTo>
                  <a:cubicBezTo>
                    <a:pt x="77647" y="38250"/>
                    <a:pt x="79058" y="39000"/>
                    <a:pt x="79058" y="39750"/>
                  </a:cubicBezTo>
                  <a:cubicBezTo>
                    <a:pt x="80470" y="39750"/>
                    <a:pt x="79058" y="40500"/>
                    <a:pt x="79058" y="40500"/>
                  </a:cubicBezTo>
                  <a:cubicBezTo>
                    <a:pt x="77647" y="41250"/>
                    <a:pt x="77647" y="41250"/>
                    <a:pt x="76235" y="42000"/>
                  </a:cubicBezTo>
                  <a:cubicBezTo>
                    <a:pt x="74823" y="42000"/>
                    <a:pt x="74823" y="42000"/>
                    <a:pt x="74823" y="42000"/>
                  </a:cubicBezTo>
                  <a:cubicBezTo>
                    <a:pt x="74823" y="42750"/>
                    <a:pt x="73411" y="42750"/>
                    <a:pt x="73411" y="42750"/>
                  </a:cubicBezTo>
                  <a:cubicBezTo>
                    <a:pt x="73411" y="42750"/>
                    <a:pt x="73411" y="43500"/>
                    <a:pt x="73411" y="44250"/>
                  </a:cubicBezTo>
                  <a:cubicBezTo>
                    <a:pt x="74823" y="45000"/>
                    <a:pt x="77647" y="45750"/>
                    <a:pt x="77647" y="45750"/>
                  </a:cubicBezTo>
                  <a:cubicBezTo>
                    <a:pt x="77647" y="45750"/>
                    <a:pt x="80470" y="47250"/>
                    <a:pt x="80470" y="48000"/>
                  </a:cubicBezTo>
                  <a:cubicBezTo>
                    <a:pt x="81882" y="48000"/>
                    <a:pt x="80470" y="48750"/>
                    <a:pt x="80470" y="49500"/>
                  </a:cubicBezTo>
                  <a:cubicBezTo>
                    <a:pt x="80470" y="49500"/>
                    <a:pt x="80470" y="50250"/>
                    <a:pt x="77647" y="51000"/>
                  </a:cubicBezTo>
                  <a:cubicBezTo>
                    <a:pt x="79058" y="51750"/>
                    <a:pt x="79058" y="51750"/>
                    <a:pt x="79058" y="51750"/>
                  </a:cubicBezTo>
                  <a:cubicBezTo>
                    <a:pt x="80470" y="54000"/>
                    <a:pt x="80470" y="54000"/>
                    <a:pt x="80470" y="54000"/>
                  </a:cubicBezTo>
                  <a:cubicBezTo>
                    <a:pt x="80470" y="54000"/>
                    <a:pt x="80470" y="54750"/>
                    <a:pt x="80470" y="54750"/>
                  </a:cubicBezTo>
                  <a:cubicBezTo>
                    <a:pt x="81882" y="55500"/>
                    <a:pt x="83294" y="57000"/>
                    <a:pt x="84705" y="57000"/>
                  </a:cubicBezTo>
                  <a:cubicBezTo>
                    <a:pt x="84705" y="57000"/>
                    <a:pt x="86117" y="58500"/>
                    <a:pt x="86117" y="59250"/>
                  </a:cubicBezTo>
                  <a:cubicBezTo>
                    <a:pt x="86117" y="59250"/>
                    <a:pt x="86117" y="60000"/>
                    <a:pt x="86117" y="60000"/>
                  </a:cubicBezTo>
                  <a:cubicBezTo>
                    <a:pt x="86117" y="60000"/>
                    <a:pt x="87529" y="60000"/>
                    <a:pt x="87529" y="60000"/>
                  </a:cubicBezTo>
                  <a:cubicBezTo>
                    <a:pt x="88941" y="60750"/>
                    <a:pt x="91764" y="60750"/>
                    <a:pt x="91764" y="60750"/>
                  </a:cubicBezTo>
                  <a:cubicBezTo>
                    <a:pt x="91764" y="60750"/>
                    <a:pt x="93176" y="61500"/>
                    <a:pt x="93176" y="62250"/>
                  </a:cubicBezTo>
                  <a:cubicBezTo>
                    <a:pt x="94588" y="63000"/>
                    <a:pt x="96000" y="64500"/>
                    <a:pt x="96000" y="65250"/>
                  </a:cubicBezTo>
                  <a:cubicBezTo>
                    <a:pt x="96000" y="65250"/>
                    <a:pt x="96000" y="66000"/>
                    <a:pt x="96000" y="66000"/>
                  </a:cubicBezTo>
                  <a:cubicBezTo>
                    <a:pt x="96000" y="66750"/>
                    <a:pt x="96000" y="66750"/>
                    <a:pt x="96000" y="66750"/>
                  </a:cubicBezTo>
                  <a:cubicBezTo>
                    <a:pt x="96000" y="67500"/>
                    <a:pt x="97411" y="66750"/>
                    <a:pt x="97411" y="66750"/>
                  </a:cubicBezTo>
                  <a:cubicBezTo>
                    <a:pt x="97411" y="66750"/>
                    <a:pt x="98823" y="66000"/>
                    <a:pt x="98823" y="66000"/>
                  </a:cubicBezTo>
                  <a:cubicBezTo>
                    <a:pt x="100235" y="66000"/>
                    <a:pt x="101647" y="66000"/>
                    <a:pt x="103058" y="66000"/>
                  </a:cubicBezTo>
                  <a:cubicBezTo>
                    <a:pt x="104470" y="66000"/>
                    <a:pt x="104470" y="66000"/>
                    <a:pt x="104470" y="66000"/>
                  </a:cubicBezTo>
                  <a:cubicBezTo>
                    <a:pt x="107294" y="66000"/>
                    <a:pt x="107294" y="66000"/>
                    <a:pt x="108705" y="66000"/>
                  </a:cubicBezTo>
                  <a:cubicBezTo>
                    <a:pt x="111529" y="66750"/>
                    <a:pt x="111529" y="66750"/>
                    <a:pt x="111529" y="66750"/>
                  </a:cubicBezTo>
                  <a:cubicBezTo>
                    <a:pt x="112941" y="68250"/>
                    <a:pt x="112941" y="68250"/>
                    <a:pt x="112941" y="68250"/>
                  </a:cubicBezTo>
                  <a:cubicBezTo>
                    <a:pt x="112941" y="68250"/>
                    <a:pt x="114352" y="68250"/>
                    <a:pt x="114352" y="68250"/>
                  </a:cubicBezTo>
                  <a:cubicBezTo>
                    <a:pt x="115764" y="69750"/>
                    <a:pt x="115764" y="69750"/>
                    <a:pt x="115764" y="69750"/>
                  </a:cubicBezTo>
                  <a:cubicBezTo>
                    <a:pt x="118588" y="72000"/>
                    <a:pt x="118588" y="72000"/>
                    <a:pt x="118588" y="72000"/>
                  </a:cubicBezTo>
                  <a:cubicBezTo>
                    <a:pt x="120000" y="78000"/>
                    <a:pt x="120000" y="78000"/>
                    <a:pt x="120000" y="78000"/>
                  </a:cubicBezTo>
                  <a:cubicBezTo>
                    <a:pt x="117176" y="78000"/>
                    <a:pt x="114352" y="79500"/>
                    <a:pt x="112941" y="80250"/>
                  </a:cubicBezTo>
                  <a:cubicBezTo>
                    <a:pt x="108705" y="86250"/>
                    <a:pt x="108705" y="86250"/>
                    <a:pt x="108705" y="8625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87529" y="102000"/>
                    <a:pt x="87529" y="102000"/>
                    <a:pt x="87529" y="102000"/>
                  </a:cubicBezTo>
                  <a:cubicBezTo>
                    <a:pt x="87529" y="102000"/>
                    <a:pt x="86117" y="102750"/>
                    <a:pt x="86117" y="102750"/>
                  </a:cubicBezTo>
                  <a:cubicBezTo>
                    <a:pt x="84705" y="105000"/>
                    <a:pt x="84705" y="105000"/>
                    <a:pt x="84705" y="105000"/>
                  </a:cubicBezTo>
                  <a:cubicBezTo>
                    <a:pt x="83294" y="105750"/>
                    <a:pt x="83294" y="105750"/>
                    <a:pt x="83294" y="105750"/>
                  </a:cubicBezTo>
                  <a:cubicBezTo>
                    <a:pt x="81882" y="105750"/>
                    <a:pt x="81882" y="105750"/>
                    <a:pt x="81882" y="105750"/>
                  </a:cubicBezTo>
                  <a:cubicBezTo>
                    <a:pt x="81882" y="106500"/>
                    <a:pt x="81882" y="106500"/>
                    <a:pt x="81882" y="106500"/>
                  </a:cubicBezTo>
                  <a:cubicBezTo>
                    <a:pt x="81882" y="107250"/>
                    <a:pt x="81882" y="107250"/>
                    <a:pt x="81882" y="108000"/>
                  </a:cubicBezTo>
                  <a:cubicBezTo>
                    <a:pt x="81882" y="108000"/>
                    <a:pt x="81882" y="108000"/>
                    <a:pt x="81882" y="108750"/>
                  </a:cubicBezTo>
                  <a:cubicBezTo>
                    <a:pt x="81882" y="108750"/>
                    <a:pt x="83294" y="108750"/>
                    <a:pt x="83294" y="109500"/>
                  </a:cubicBezTo>
                  <a:cubicBezTo>
                    <a:pt x="83294" y="109500"/>
                    <a:pt x="84705" y="110250"/>
                    <a:pt x="86117" y="110250"/>
                  </a:cubicBezTo>
                  <a:cubicBezTo>
                    <a:pt x="87529" y="111000"/>
                    <a:pt x="88941" y="111000"/>
                    <a:pt x="88941" y="111000"/>
                  </a:cubicBezTo>
                  <a:cubicBezTo>
                    <a:pt x="90352" y="112500"/>
                    <a:pt x="90352" y="112500"/>
                    <a:pt x="90352" y="112500"/>
                  </a:cubicBezTo>
                  <a:cubicBezTo>
                    <a:pt x="88941" y="113250"/>
                    <a:pt x="87529" y="113250"/>
                    <a:pt x="86117" y="113250"/>
                  </a:cubicBezTo>
                  <a:cubicBezTo>
                    <a:pt x="86117" y="113250"/>
                    <a:pt x="84705" y="113250"/>
                    <a:pt x="84705" y="113250"/>
                  </a:cubicBezTo>
                  <a:cubicBezTo>
                    <a:pt x="83294" y="113250"/>
                    <a:pt x="83294" y="113250"/>
                    <a:pt x="81882" y="113250"/>
                  </a:cubicBezTo>
                  <a:cubicBezTo>
                    <a:pt x="81882" y="113250"/>
                    <a:pt x="81882" y="114000"/>
                    <a:pt x="81882" y="114750"/>
                  </a:cubicBezTo>
                  <a:cubicBezTo>
                    <a:pt x="83294" y="115500"/>
                    <a:pt x="83294" y="115500"/>
                    <a:pt x="83294" y="115500"/>
                  </a:cubicBezTo>
                  <a:cubicBezTo>
                    <a:pt x="83294" y="115500"/>
                    <a:pt x="83294" y="117000"/>
                    <a:pt x="83294" y="117000"/>
                  </a:cubicBezTo>
                  <a:cubicBezTo>
                    <a:pt x="83294" y="117000"/>
                    <a:pt x="83294" y="117750"/>
                    <a:pt x="80470" y="118500"/>
                  </a:cubicBezTo>
                  <a:cubicBezTo>
                    <a:pt x="79058" y="120000"/>
                    <a:pt x="79058" y="120000"/>
                    <a:pt x="79058" y="120000"/>
                  </a:cubicBez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73411" y="120000"/>
                    <a:pt x="73411" y="120000"/>
                    <a:pt x="73411" y="120000"/>
                  </a:cubicBezTo>
                  <a:close/>
                  <a:moveTo>
                    <a:pt x="69176" y="118500"/>
                  </a:moveTo>
                  <a:cubicBezTo>
                    <a:pt x="69176" y="118500"/>
                    <a:pt x="69176" y="118500"/>
                    <a:pt x="69176" y="118500"/>
                  </a:cubicBezTo>
                  <a:cubicBezTo>
                    <a:pt x="73411" y="119250"/>
                    <a:pt x="73411" y="119250"/>
                    <a:pt x="73411" y="119250"/>
                  </a:cubicBezTo>
                  <a:cubicBezTo>
                    <a:pt x="77647" y="119250"/>
                    <a:pt x="77647" y="119250"/>
                    <a:pt x="77647" y="119250"/>
                  </a:cubicBezTo>
                  <a:cubicBezTo>
                    <a:pt x="80470" y="118500"/>
                    <a:pt x="80470" y="118500"/>
                    <a:pt x="80470" y="118500"/>
                  </a:cubicBezTo>
                  <a:cubicBezTo>
                    <a:pt x="81882" y="117750"/>
                    <a:pt x="83294" y="117000"/>
                    <a:pt x="83294" y="117000"/>
                  </a:cubicBezTo>
                  <a:cubicBezTo>
                    <a:pt x="83294" y="117000"/>
                    <a:pt x="81882" y="115500"/>
                    <a:pt x="81882" y="115500"/>
                  </a:cubicBezTo>
                  <a:cubicBezTo>
                    <a:pt x="81882" y="114750"/>
                    <a:pt x="81882" y="114750"/>
                    <a:pt x="81882" y="114750"/>
                  </a:cubicBezTo>
                  <a:cubicBezTo>
                    <a:pt x="81882" y="114750"/>
                    <a:pt x="80470" y="114000"/>
                    <a:pt x="80470" y="113250"/>
                  </a:cubicBezTo>
                  <a:cubicBezTo>
                    <a:pt x="80470" y="113250"/>
                    <a:pt x="81882" y="112500"/>
                    <a:pt x="81882" y="112500"/>
                  </a:cubicBezTo>
                  <a:cubicBezTo>
                    <a:pt x="83294" y="112500"/>
                    <a:pt x="83294" y="112500"/>
                    <a:pt x="83294" y="112500"/>
                  </a:cubicBezTo>
                  <a:cubicBezTo>
                    <a:pt x="83294" y="112500"/>
                    <a:pt x="84705" y="112500"/>
                    <a:pt x="84705" y="112500"/>
                  </a:cubicBezTo>
                  <a:cubicBezTo>
                    <a:pt x="86117" y="113250"/>
                    <a:pt x="86117" y="113250"/>
                    <a:pt x="86117" y="113250"/>
                  </a:cubicBezTo>
                  <a:cubicBezTo>
                    <a:pt x="86117" y="113250"/>
                    <a:pt x="86117" y="113250"/>
                    <a:pt x="86117" y="113250"/>
                  </a:cubicBezTo>
                  <a:cubicBezTo>
                    <a:pt x="87529" y="113250"/>
                    <a:pt x="88941" y="112500"/>
                    <a:pt x="88941" y="11175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7529" y="111750"/>
                    <a:pt x="87529" y="111000"/>
                    <a:pt x="86117" y="111000"/>
                  </a:cubicBezTo>
                  <a:cubicBezTo>
                    <a:pt x="83294" y="110250"/>
                    <a:pt x="81882" y="109500"/>
                    <a:pt x="81882" y="109500"/>
                  </a:cubicBezTo>
                  <a:cubicBezTo>
                    <a:pt x="81882" y="109500"/>
                    <a:pt x="81882" y="108750"/>
                    <a:pt x="81882" y="108750"/>
                  </a:cubicBezTo>
                  <a:cubicBezTo>
                    <a:pt x="80470" y="108750"/>
                    <a:pt x="80470" y="108000"/>
                    <a:pt x="80470" y="108000"/>
                  </a:cubicBezTo>
                  <a:cubicBezTo>
                    <a:pt x="80470" y="107250"/>
                    <a:pt x="80470" y="106500"/>
                    <a:pt x="80470" y="106500"/>
                  </a:cubicBezTo>
                  <a:cubicBezTo>
                    <a:pt x="80470" y="105750"/>
                    <a:pt x="80470" y="105750"/>
                    <a:pt x="80470" y="105750"/>
                  </a:cubicBezTo>
                  <a:cubicBezTo>
                    <a:pt x="80470" y="105750"/>
                    <a:pt x="81882" y="105000"/>
                    <a:pt x="83294" y="105000"/>
                  </a:cubicBezTo>
                  <a:cubicBezTo>
                    <a:pt x="84705" y="105000"/>
                    <a:pt x="84705" y="105000"/>
                    <a:pt x="84705" y="105000"/>
                  </a:cubicBezTo>
                  <a:cubicBezTo>
                    <a:pt x="86117" y="102750"/>
                    <a:pt x="86117" y="102750"/>
                    <a:pt x="86117" y="102750"/>
                  </a:cubicBezTo>
                  <a:cubicBezTo>
                    <a:pt x="86117" y="102750"/>
                    <a:pt x="86117" y="102000"/>
                    <a:pt x="87529" y="102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107294" y="86250"/>
                    <a:pt x="107294" y="86250"/>
                    <a:pt x="107294" y="86250"/>
                  </a:cubicBezTo>
                  <a:cubicBezTo>
                    <a:pt x="111529" y="80250"/>
                    <a:pt x="111529" y="80250"/>
                    <a:pt x="111529" y="80250"/>
                  </a:cubicBezTo>
                  <a:cubicBezTo>
                    <a:pt x="112941" y="79500"/>
                    <a:pt x="117176" y="78000"/>
                    <a:pt x="118588" y="78000"/>
                  </a:cubicBezTo>
                  <a:cubicBezTo>
                    <a:pt x="118588" y="77250"/>
                    <a:pt x="118588" y="75000"/>
                    <a:pt x="117176" y="72000"/>
                  </a:cubicBezTo>
                  <a:cubicBezTo>
                    <a:pt x="114352" y="69750"/>
                    <a:pt x="114352" y="69750"/>
                    <a:pt x="114352" y="69750"/>
                  </a:cubicBezTo>
                  <a:cubicBezTo>
                    <a:pt x="114352" y="68250"/>
                    <a:pt x="114352" y="68250"/>
                    <a:pt x="114352" y="68250"/>
                  </a:cubicBezTo>
                  <a:cubicBezTo>
                    <a:pt x="114352" y="69000"/>
                    <a:pt x="112941" y="69000"/>
                    <a:pt x="112941" y="68250"/>
                  </a:cubicBezTo>
                  <a:cubicBezTo>
                    <a:pt x="112941" y="68250"/>
                    <a:pt x="111529" y="68250"/>
                    <a:pt x="111529" y="68250"/>
                  </a:cubicBezTo>
                  <a:cubicBezTo>
                    <a:pt x="111529" y="67500"/>
                    <a:pt x="111529" y="67500"/>
                    <a:pt x="111529" y="67500"/>
                  </a:cubicBezTo>
                  <a:cubicBezTo>
                    <a:pt x="107294" y="66750"/>
                    <a:pt x="107294" y="66750"/>
                    <a:pt x="107294" y="66750"/>
                  </a:cubicBezTo>
                  <a:cubicBezTo>
                    <a:pt x="107294" y="66750"/>
                    <a:pt x="107294" y="66750"/>
                    <a:pt x="105882" y="66750"/>
                  </a:cubicBezTo>
                  <a:cubicBezTo>
                    <a:pt x="105882" y="66750"/>
                    <a:pt x="104470" y="66750"/>
                    <a:pt x="104470" y="66750"/>
                  </a:cubicBezTo>
                  <a:cubicBezTo>
                    <a:pt x="101647" y="66000"/>
                    <a:pt x="100235" y="66000"/>
                    <a:pt x="100235" y="66750"/>
                  </a:cubicBezTo>
                  <a:cubicBezTo>
                    <a:pt x="98823" y="66750"/>
                    <a:pt x="98823" y="66750"/>
                    <a:pt x="97411" y="67500"/>
                  </a:cubicBezTo>
                  <a:cubicBezTo>
                    <a:pt x="97411" y="67500"/>
                    <a:pt x="97411" y="67500"/>
                    <a:pt x="97411" y="67500"/>
                  </a:cubicBezTo>
                  <a:cubicBezTo>
                    <a:pt x="96000" y="6825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4588" y="67500"/>
                  </a:cubicBezTo>
                  <a:cubicBezTo>
                    <a:pt x="94588" y="66000"/>
                    <a:pt x="94588" y="66000"/>
                    <a:pt x="94588" y="66000"/>
                  </a:cubicBezTo>
                  <a:cubicBezTo>
                    <a:pt x="94588" y="66000"/>
                    <a:pt x="94588" y="65250"/>
                    <a:pt x="94588" y="65250"/>
                  </a:cubicBezTo>
                  <a:cubicBezTo>
                    <a:pt x="94588" y="64500"/>
                    <a:pt x="93176" y="63000"/>
                    <a:pt x="93176" y="62250"/>
                  </a:cubicBezTo>
                  <a:cubicBezTo>
                    <a:pt x="91764" y="61500"/>
                    <a:pt x="91764" y="61500"/>
                    <a:pt x="91764" y="60750"/>
                  </a:cubicBezTo>
                  <a:cubicBezTo>
                    <a:pt x="91764" y="60750"/>
                    <a:pt x="88941" y="60750"/>
                    <a:pt x="88941" y="60750"/>
                  </a:cubicBezTo>
                  <a:cubicBezTo>
                    <a:pt x="87529" y="60750"/>
                    <a:pt x="86117" y="60750"/>
                    <a:pt x="86117" y="60750"/>
                  </a:cubicBezTo>
                  <a:cubicBezTo>
                    <a:pt x="84705" y="60000"/>
                    <a:pt x="84705" y="59250"/>
                    <a:pt x="86117" y="58500"/>
                  </a:cubicBezTo>
                  <a:cubicBezTo>
                    <a:pt x="86117" y="58500"/>
                    <a:pt x="84705" y="57750"/>
                    <a:pt x="83294" y="57000"/>
                  </a:cubicBezTo>
                  <a:cubicBezTo>
                    <a:pt x="83294" y="57000"/>
                    <a:pt x="80470" y="54750"/>
                    <a:pt x="80470" y="54750"/>
                  </a:cubicBezTo>
                  <a:cubicBezTo>
                    <a:pt x="80470" y="54750"/>
                    <a:pt x="79058" y="54750"/>
                    <a:pt x="79058" y="54000"/>
                  </a:cubicBezTo>
                  <a:cubicBezTo>
                    <a:pt x="77647" y="51000"/>
                    <a:pt x="77647" y="51000"/>
                    <a:pt x="77647" y="51000"/>
                  </a:cubicBezTo>
                  <a:cubicBezTo>
                    <a:pt x="79058" y="50250"/>
                    <a:pt x="79058" y="49500"/>
                    <a:pt x="79058" y="49500"/>
                  </a:cubicBezTo>
                  <a:cubicBezTo>
                    <a:pt x="80470" y="48750"/>
                    <a:pt x="80470" y="48000"/>
                    <a:pt x="80470" y="48000"/>
                  </a:cubicBezTo>
                  <a:cubicBezTo>
                    <a:pt x="80470" y="48000"/>
                    <a:pt x="77647" y="46500"/>
                    <a:pt x="76235" y="46500"/>
                  </a:cubicBezTo>
                  <a:cubicBezTo>
                    <a:pt x="76235" y="46500"/>
                    <a:pt x="73411" y="45000"/>
                    <a:pt x="73411" y="44250"/>
                  </a:cubicBezTo>
                  <a:cubicBezTo>
                    <a:pt x="72000" y="43500"/>
                    <a:pt x="72000" y="42750"/>
                    <a:pt x="72000" y="42750"/>
                  </a:cubicBezTo>
                  <a:cubicBezTo>
                    <a:pt x="73411" y="42000"/>
                    <a:pt x="73411" y="42000"/>
                    <a:pt x="74823" y="42000"/>
                  </a:cubicBezTo>
                  <a:cubicBezTo>
                    <a:pt x="76235" y="41250"/>
                    <a:pt x="76235" y="41250"/>
                    <a:pt x="76235" y="41250"/>
                  </a:cubicBezTo>
                  <a:cubicBezTo>
                    <a:pt x="76235" y="41250"/>
                    <a:pt x="77647" y="40500"/>
                    <a:pt x="77647" y="40500"/>
                  </a:cubicBezTo>
                  <a:cubicBezTo>
                    <a:pt x="77647" y="39750"/>
                    <a:pt x="77647" y="39750"/>
                    <a:pt x="77647" y="39750"/>
                  </a:cubicBezTo>
                  <a:cubicBezTo>
                    <a:pt x="77647" y="39750"/>
                    <a:pt x="76235" y="38250"/>
                    <a:pt x="76235" y="38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5250"/>
                    <a:pt x="76235" y="35250"/>
                    <a:pt x="76235" y="3525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6235" y="31500"/>
                    <a:pt x="76235" y="31500"/>
                    <a:pt x="76235" y="31500"/>
                  </a:cubicBezTo>
                  <a:cubicBezTo>
                    <a:pt x="76235" y="30750"/>
                    <a:pt x="76235" y="30000"/>
                    <a:pt x="76235" y="30000"/>
                  </a:cubicBezTo>
                  <a:cubicBezTo>
                    <a:pt x="76235" y="29250"/>
                    <a:pt x="77647" y="28500"/>
                    <a:pt x="77647" y="27750"/>
                  </a:cubicBezTo>
                  <a:cubicBezTo>
                    <a:pt x="77647" y="26250"/>
                    <a:pt x="77647" y="26250"/>
                    <a:pt x="77647" y="26250"/>
                  </a:cubicBezTo>
                  <a:cubicBezTo>
                    <a:pt x="79058" y="24750"/>
                    <a:pt x="79058" y="24750"/>
                    <a:pt x="79058" y="24750"/>
                  </a:cubicBezTo>
                  <a:cubicBezTo>
                    <a:pt x="76235" y="22500"/>
                    <a:pt x="76235" y="22500"/>
                    <a:pt x="76235" y="22500"/>
                  </a:cubicBezTo>
                  <a:cubicBezTo>
                    <a:pt x="76235" y="22500"/>
                    <a:pt x="76235" y="22500"/>
                    <a:pt x="74823" y="21750"/>
                  </a:cubicBezTo>
                  <a:cubicBezTo>
                    <a:pt x="74823" y="21000"/>
                    <a:pt x="73411" y="19500"/>
                    <a:pt x="73411" y="19500"/>
                  </a:cubicBezTo>
                  <a:cubicBezTo>
                    <a:pt x="72000" y="18000"/>
                    <a:pt x="72000" y="18000"/>
                    <a:pt x="72000" y="18000"/>
                  </a:cubicBezTo>
                  <a:cubicBezTo>
                    <a:pt x="72000" y="17250"/>
                    <a:pt x="69176" y="15750"/>
                    <a:pt x="69176" y="15750"/>
                  </a:cubicBezTo>
                  <a:cubicBezTo>
                    <a:pt x="69176" y="15000"/>
                    <a:pt x="67764" y="15000"/>
                    <a:pt x="67764" y="15000"/>
                  </a:cubicBezTo>
                  <a:cubicBezTo>
                    <a:pt x="67764" y="14250"/>
                    <a:pt x="67764" y="14250"/>
                    <a:pt x="66352" y="14250"/>
                  </a:cubicBezTo>
                  <a:cubicBezTo>
                    <a:pt x="64941" y="13500"/>
                    <a:pt x="62117" y="12750"/>
                    <a:pt x="62117" y="12750"/>
                  </a:cubicBezTo>
                  <a:cubicBezTo>
                    <a:pt x="59294" y="12750"/>
                    <a:pt x="59294" y="12750"/>
                    <a:pt x="59294" y="12750"/>
                  </a:cubicBezTo>
                  <a:cubicBezTo>
                    <a:pt x="56470" y="11250"/>
                    <a:pt x="56470" y="11250"/>
                    <a:pt x="56470" y="11250"/>
                  </a:cubicBezTo>
                  <a:cubicBezTo>
                    <a:pt x="55058" y="12000"/>
                    <a:pt x="55058" y="12000"/>
                    <a:pt x="55058" y="12000"/>
                  </a:cubicBezTo>
                  <a:cubicBezTo>
                    <a:pt x="50823" y="9000"/>
                    <a:pt x="50823" y="9000"/>
                    <a:pt x="50823" y="900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39529" y="3750"/>
                    <a:pt x="39529" y="3750"/>
                    <a:pt x="39529" y="3750"/>
                  </a:cubicBezTo>
                  <a:cubicBezTo>
                    <a:pt x="39529" y="3750"/>
                    <a:pt x="38117" y="4500"/>
                    <a:pt x="38117" y="4500"/>
                  </a:cubicBezTo>
                  <a:cubicBezTo>
                    <a:pt x="38117" y="5250"/>
                    <a:pt x="33882" y="5250"/>
                    <a:pt x="33882" y="5250"/>
                  </a:cubicBezTo>
                  <a:cubicBezTo>
                    <a:pt x="32470" y="6750"/>
                    <a:pt x="32470" y="6750"/>
                    <a:pt x="32470" y="6750"/>
                  </a:cubicBezTo>
                  <a:cubicBezTo>
                    <a:pt x="28235" y="7500"/>
                    <a:pt x="28235" y="7500"/>
                    <a:pt x="28235" y="7500"/>
                  </a:cubicBezTo>
                  <a:cubicBezTo>
                    <a:pt x="28235" y="7500"/>
                    <a:pt x="26823" y="7500"/>
                    <a:pt x="26823" y="7500"/>
                  </a:cubicBezTo>
                  <a:cubicBezTo>
                    <a:pt x="26823" y="6750"/>
                    <a:pt x="25411" y="6750"/>
                    <a:pt x="25411" y="6750"/>
                  </a:cubicBezTo>
                  <a:cubicBezTo>
                    <a:pt x="25411" y="6000"/>
                    <a:pt x="25411" y="6000"/>
                    <a:pt x="25411" y="6000"/>
                  </a:cubicBezTo>
                  <a:cubicBezTo>
                    <a:pt x="24000" y="5250"/>
                    <a:pt x="24000" y="4500"/>
                    <a:pt x="24000" y="4500"/>
                  </a:cubicBezTo>
                  <a:cubicBezTo>
                    <a:pt x="24000" y="3750"/>
                    <a:pt x="24000" y="3750"/>
                    <a:pt x="24000" y="3750"/>
                  </a:cubicBezTo>
                  <a:cubicBezTo>
                    <a:pt x="24000" y="3000"/>
                    <a:pt x="24000" y="3000"/>
                    <a:pt x="24000" y="2250"/>
                  </a:cubicBezTo>
                  <a:cubicBezTo>
                    <a:pt x="24000" y="1500"/>
                    <a:pt x="24000" y="1500"/>
                    <a:pt x="24000" y="1500"/>
                  </a:cubicBezTo>
                  <a:cubicBezTo>
                    <a:pt x="21176" y="750"/>
                    <a:pt x="21176" y="750"/>
                    <a:pt x="21176" y="750"/>
                  </a:cubicBezTo>
                  <a:cubicBezTo>
                    <a:pt x="21176" y="750"/>
                    <a:pt x="19764" y="0"/>
                    <a:pt x="19764" y="0"/>
                  </a:cubicBezTo>
                  <a:cubicBezTo>
                    <a:pt x="19764" y="750"/>
                    <a:pt x="16941" y="1500"/>
                    <a:pt x="15529" y="300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2705" y="6750"/>
                    <a:pt x="12705" y="6750"/>
                    <a:pt x="12705" y="6750"/>
                  </a:cubicBezTo>
                  <a:cubicBezTo>
                    <a:pt x="11294" y="9000"/>
                    <a:pt x="11294" y="9000"/>
                    <a:pt x="11294" y="9000"/>
                  </a:cubicBezTo>
                  <a:cubicBezTo>
                    <a:pt x="11294" y="9000"/>
                    <a:pt x="11294" y="9750"/>
                    <a:pt x="9882" y="9750"/>
                  </a:cubicBezTo>
                  <a:cubicBezTo>
                    <a:pt x="9882" y="10500"/>
                    <a:pt x="8470" y="11250"/>
                    <a:pt x="8470" y="11250"/>
                  </a:cubicBezTo>
                  <a:cubicBezTo>
                    <a:pt x="7058" y="11250"/>
                    <a:pt x="7058" y="11250"/>
                    <a:pt x="7058" y="1125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7058" y="13500"/>
                    <a:pt x="7058" y="13500"/>
                    <a:pt x="7058" y="13500"/>
                  </a:cubicBezTo>
                  <a:cubicBezTo>
                    <a:pt x="5647" y="13500"/>
                    <a:pt x="5647" y="14250"/>
                    <a:pt x="5647" y="15000"/>
                  </a:cubicBezTo>
                  <a:cubicBezTo>
                    <a:pt x="5647" y="15000"/>
                    <a:pt x="5647" y="15000"/>
                    <a:pt x="4235" y="15750"/>
                  </a:cubicBezTo>
                  <a:cubicBezTo>
                    <a:pt x="4235" y="17250"/>
                    <a:pt x="4235" y="17250"/>
                    <a:pt x="4235" y="17250"/>
                  </a:cubicBezTo>
                  <a:cubicBezTo>
                    <a:pt x="0" y="19500"/>
                    <a:pt x="0" y="19500"/>
                    <a:pt x="0" y="1950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7058" y="22500"/>
                    <a:pt x="7058" y="22500"/>
                    <a:pt x="7058" y="22500"/>
                  </a:cubicBezTo>
                  <a:cubicBezTo>
                    <a:pt x="8470" y="22500"/>
                    <a:pt x="8470" y="23250"/>
                    <a:pt x="8470" y="24000"/>
                  </a:cubicBezTo>
                  <a:cubicBezTo>
                    <a:pt x="8470" y="24000"/>
                    <a:pt x="7058" y="24750"/>
                    <a:pt x="7058" y="24750"/>
                  </a:cubicBezTo>
                  <a:cubicBezTo>
                    <a:pt x="7058" y="26250"/>
                    <a:pt x="7058" y="26250"/>
                    <a:pt x="7058" y="26250"/>
                  </a:cubicBezTo>
                  <a:cubicBezTo>
                    <a:pt x="7058" y="26250"/>
                    <a:pt x="7058" y="27000"/>
                    <a:pt x="7058" y="27000"/>
                  </a:cubicBezTo>
                  <a:cubicBezTo>
                    <a:pt x="7058" y="27000"/>
                    <a:pt x="8470" y="27750"/>
                    <a:pt x="8470" y="27750"/>
                  </a:cubicBezTo>
                  <a:cubicBezTo>
                    <a:pt x="8470" y="28500"/>
                    <a:pt x="7058" y="29250"/>
                    <a:pt x="7058" y="29250"/>
                  </a:cubicBezTo>
                  <a:cubicBezTo>
                    <a:pt x="5647" y="30000"/>
                    <a:pt x="5647" y="30000"/>
                    <a:pt x="5647" y="30000"/>
                  </a:cubicBezTo>
                  <a:cubicBezTo>
                    <a:pt x="7058" y="30750"/>
                    <a:pt x="7058" y="30750"/>
                    <a:pt x="7058" y="30750"/>
                  </a:cubicBezTo>
                  <a:cubicBezTo>
                    <a:pt x="7058" y="30750"/>
                    <a:pt x="7058" y="32250"/>
                    <a:pt x="7058" y="32250"/>
                  </a:cubicBezTo>
                  <a:cubicBezTo>
                    <a:pt x="7058" y="32250"/>
                    <a:pt x="8470" y="33000"/>
                    <a:pt x="9882" y="33000"/>
                  </a:cubicBezTo>
                  <a:cubicBezTo>
                    <a:pt x="9882" y="33000"/>
                    <a:pt x="9882" y="33000"/>
                    <a:pt x="11294" y="33000"/>
                  </a:cubicBezTo>
                  <a:cubicBezTo>
                    <a:pt x="12705" y="33000"/>
                    <a:pt x="12705" y="33000"/>
                    <a:pt x="12705" y="33000"/>
                  </a:cubicBezTo>
                  <a:cubicBezTo>
                    <a:pt x="14117" y="33000"/>
                    <a:pt x="14117" y="33000"/>
                    <a:pt x="14117" y="33000"/>
                  </a:cubicBezTo>
                  <a:cubicBezTo>
                    <a:pt x="19764" y="33750"/>
                    <a:pt x="19764" y="33750"/>
                    <a:pt x="19764" y="33750"/>
                  </a:cubicBezTo>
                  <a:cubicBezTo>
                    <a:pt x="21176" y="34500"/>
                    <a:pt x="21176" y="34500"/>
                    <a:pt x="21176" y="34500"/>
                  </a:cubicBezTo>
                  <a:cubicBezTo>
                    <a:pt x="21176" y="36750"/>
                    <a:pt x="21176" y="36750"/>
                    <a:pt x="21176" y="36750"/>
                  </a:cubicBezTo>
                  <a:cubicBezTo>
                    <a:pt x="22588" y="39000"/>
                    <a:pt x="22588" y="39000"/>
                    <a:pt x="22588" y="39000"/>
                  </a:cubicBezTo>
                  <a:cubicBezTo>
                    <a:pt x="21176" y="40500"/>
                    <a:pt x="21176" y="40500"/>
                    <a:pt x="21176" y="40500"/>
                  </a:cubicBezTo>
                  <a:cubicBezTo>
                    <a:pt x="22588" y="40500"/>
                    <a:pt x="22588" y="40500"/>
                    <a:pt x="22588" y="40500"/>
                  </a:cubicBezTo>
                  <a:cubicBezTo>
                    <a:pt x="22588" y="40500"/>
                    <a:pt x="22588" y="41250"/>
                    <a:pt x="22588" y="41250"/>
                  </a:cubicBezTo>
                  <a:cubicBezTo>
                    <a:pt x="22588" y="42000"/>
                    <a:pt x="22588" y="43500"/>
                    <a:pt x="22588" y="43500"/>
                  </a:cubicBezTo>
                  <a:cubicBezTo>
                    <a:pt x="21176" y="43500"/>
                    <a:pt x="19764" y="44250"/>
                    <a:pt x="18352" y="44250"/>
                  </a:cubicBezTo>
                  <a:cubicBezTo>
                    <a:pt x="16941" y="44250"/>
                    <a:pt x="15529" y="44250"/>
                    <a:pt x="15529" y="442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8352" y="45750"/>
                    <a:pt x="18352" y="45750"/>
                    <a:pt x="18352" y="45750"/>
                  </a:cubicBezTo>
                  <a:cubicBezTo>
                    <a:pt x="19764" y="45750"/>
                    <a:pt x="19764" y="45750"/>
                    <a:pt x="19764" y="45750"/>
                  </a:cubicBezTo>
                  <a:cubicBezTo>
                    <a:pt x="21176" y="46500"/>
                    <a:pt x="21176" y="48000"/>
                    <a:pt x="21176" y="48000"/>
                  </a:cubicBezTo>
                  <a:cubicBezTo>
                    <a:pt x="19764" y="48000"/>
                    <a:pt x="19764" y="48750"/>
                    <a:pt x="19764" y="48750"/>
                  </a:cubicBezTo>
                  <a:cubicBezTo>
                    <a:pt x="18352" y="48750"/>
                    <a:pt x="16941" y="49500"/>
                    <a:pt x="16941" y="49500"/>
                  </a:cubicBezTo>
                  <a:cubicBezTo>
                    <a:pt x="14117" y="51000"/>
                    <a:pt x="14117" y="51000"/>
                    <a:pt x="14117" y="51000"/>
                  </a:cubicBezTo>
                  <a:cubicBezTo>
                    <a:pt x="12705" y="51750"/>
                    <a:pt x="12705" y="51750"/>
                    <a:pt x="12705" y="517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5529" y="53250"/>
                    <a:pt x="15529" y="53250"/>
                    <a:pt x="15529" y="53250"/>
                  </a:cubicBezTo>
                  <a:cubicBezTo>
                    <a:pt x="16941" y="53250"/>
                    <a:pt x="16941" y="53250"/>
                    <a:pt x="16941" y="54000"/>
                  </a:cubicBezTo>
                  <a:cubicBezTo>
                    <a:pt x="16941" y="54000"/>
                    <a:pt x="16941" y="54000"/>
                    <a:pt x="21176" y="54750"/>
                  </a:cubicBezTo>
                  <a:cubicBezTo>
                    <a:pt x="21176" y="56250"/>
                    <a:pt x="21176" y="56250"/>
                    <a:pt x="21176" y="56250"/>
                  </a:cubicBezTo>
                  <a:cubicBezTo>
                    <a:pt x="21176" y="56250"/>
                    <a:pt x="21176" y="57000"/>
                    <a:pt x="21176" y="57750"/>
                  </a:cubicBezTo>
                  <a:cubicBezTo>
                    <a:pt x="21176" y="58500"/>
                    <a:pt x="19764" y="60750"/>
                    <a:pt x="19764" y="60750"/>
                  </a:cubicBezTo>
                  <a:cubicBezTo>
                    <a:pt x="18352" y="62250"/>
                    <a:pt x="18352" y="62250"/>
                    <a:pt x="18352" y="62250"/>
                  </a:cubicBezTo>
                  <a:cubicBezTo>
                    <a:pt x="18352" y="62250"/>
                    <a:pt x="19764" y="63000"/>
                    <a:pt x="19764" y="64500"/>
                  </a:cubicBezTo>
                  <a:cubicBezTo>
                    <a:pt x="18352" y="66750"/>
                    <a:pt x="18352" y="66750"/>
                    <a:pt x="18352" y="66750"/>
                  </a:cubicBezTo>
                  <a:cubicBezTo>
                    <a:pt x="24000" y="67500"/>
                    <a:pt x="24000" y="67500"/>
                    <a:pt x="24000" y="67500"/>
                  </a:cubicBezTo>
                  <a:cubicBezTo>
                    <a:pt x="24000" y="69000"/>
                    <a:pt x="24000" y="69000"/>
                    <a:pt x="24000" y="69000"/>
                  </a:cubicBezTo>
                  <a:cubicBezTo>
                    <a:pt x="19764" y="69750"/>
                    <a:pt x="19764" y="69750"/>
                    <a:pt x="19764" y="69750"/>
                  </a:cubicBezTo>
                  <a:cubicBezTo>
                    <a:pt x="19764" y="69750"/>
                    <a:pt x="18352" y="69750"/>
                    <a:pt x="18352" y="70500"/>
                  </a:cubicBezTo>
                  <a:cubicBezTo>
                    <a:pt x="18352" y="70500"/>
                    <a:pt x="18352" y="71250"/>
                    <a:pt x="18352" y="71250"/>
                  </a:cubicBezTo>
                  <a:cubicBezTo>
                    <a:pt x="21176" y="71250"/>
                    <a:pt x="21176" y="71250"/>
                    <a:pt x="21176" y="7125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4250"/>
                    <a:pt x="18352" y="74250"/>
                  </a:cubicBezTo>
                  <a:cubicBezTo>
                    <a:pt x="18352" y="74250"/>
                    <a:pt x="18352" y="75000"/>
                    <a:pt x="18352" y="75750"/>
                  </a:cubicBezTo>
                  <a:cubicBezTo>
                    <a:pt x="16941" y="75750"/>
                    <a:pt x="16941" y="75750"/>
                    <a:pt x="16941" y="7575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81000"/>
                    <a:pt x="15529" y="81000"/>
                    <a:pt x="15529" y="81000"/>
                  </a:cubicBezTo>
                  <a:cubicBezTo>
                    <a:pt x="19764" y="85500"/>
                    <a:pt x="19764" y="85500"/>
                    <a:pt x="19764" y="85500"/>
                  </a:cubicBezTo>
                  <a:cubicBezTo>
                    <a:pt x="24000" y="87750"/>
                    <a:pt x="24000" y="87750"/>
                    <a:pt x="24000" y="87750"/>
                  </a:cubicBezTo>
                  <a:cubicBezTo>
                    <a:pt x="26823" y="89250"/>
                    <a:pt x="26823" y="89250"/>
                    <a:pt x="26823" y="89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6823" y="93750"/>
                    <a:pt x="26823" y="93750"/>
                    <a:pt x="26823" y="93750"/>
                  </a:cubicBezTo>
                  <a:cubicBezTo>
                    <a:pt x="26823" y="93750"/>
                    <a:pt x="26823" y="94500"/>
                    <a:pt x="25411" y="94500"/>
                  </a:cubicBezTo>
                  <a:cubicBezTo>
                    <a:pt x="25411" y="94500"/>
                    <a:pt x="24000" y="94500"/>
                    <a:pt x="24000" y="94500"/>
                  </a:cubicBezTo>
                  <a:cubicBezTo>
                    <a:pt x="22588" y="93750"/>
                    <a:pt x="21176" y="92250"/>
                    <a:pt x="21176" y="92250"/>
                  </a:cubicBezTo>
                  <a:cubicBezTo>
                    <a:pt x="21176" y="92250"/>
                    <a:pt x="19764" y="91500"/>
                    <a:pt x="19764" y="90750"/>
                  </a:cubicBezTo>
                  <a:cubicBezTo>
                    <a:pt x="19764" y="90750"/>
                    <a:pt x="18352" y="90000"/>
                    <a:pt x="18352" y="90000"/>
                  </a:cubicBezTo>
                  <a:cubicBezTo>
                    <a:pt x="15529" y="90000"/>
                    <a:pt x="15529" y="90000"/>
                    <a:pt x="15529" y="90000"/>
                  </a:cubicBezTo>
                  <a:cubicBezTo>
                    <a:pt x="15529" y="90750"/>
                    <a:pt x="15529" y="90750"/>
                    <a:pt x="15529" y="90750"/>
                  </a:cubicBezTo>
                  <a:cubicBezTo>
                    <a:pt x="15529" y="90750"/>
                    <a:pt x="16941" y="91500"/>
                    <a:pt x="16941" y="92250"/>
                  </a:cubicBezTo>
                  <a:cubicBezTo>
                    <a:pt x="18352" y="92250"/>
                    <a:pt x="19764" y="93000"/>
                    <a:pt x="19764" y="93000"/>
                  </a:cubicBezTo>
                  <a:cubicBezTo>
                    <a:pt x="19764" y="93000"/>
                    <a:pt x="21176" y="93750"/>
                    <a:pt x="21176" y="93750"/>
                  </a:cubicBezTo>
                  <a:cubicBezTo>
                    <a:pt x="21176" y="93750"/>
                    <a:pt x="22588" y="96000"/>
                    <a:pt x="22588" y="9600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43764" y="102000"/>
                    <a:pt x="43764" y="102000"/>
                    <a:pt x="43764" y="10200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6588" y="103500"/>
                    <a:pt x="46588" y="103500"/>
                    <a:pt x="46588" y="103500"/>
                  </a:cubicBezTo>
                  <a:cubicBezTo>
                    <a:pt x="46588" y="103500"/>
                    <a:pt x="48000" y="103500"/>
                    <a:pt x="49411" y="103500"/>
                  </a:cubicBezTo>
                  <a:cubicBezTo>
                    <a:pt x="49411" y="103500"/>
                    <a:pt x="49411" y="103500"/>
                    <a:pt x="49411" y="103500"/>
                  </a:cubicBezTo>
                  <a:cubicBezTo>
                    <a:pt x="49411" y="103500"/>
                    <a:pt x="52235" y="104250"/>
                    <a:pt x="52235" y="104250"/>
                  </a:cubicBezTo>
                  <a:cubicBezTo>
                    <a:pt x="52235" y="104250"/>
                    <a:pt x="53647" y="104250"/>
                    <a:pt x="53647" y="104250"/>
                  </a:cubicBezTo>
                  <a:cubicBezTo>
                    <a:pt x="53647" y="105000"/>
                    <a:pt x="56470" y="107250"/>
                    <a:pt x="57882" y="108750"/>
                  </a:cubicBezTo>
                  <a:cubicBezTo>
                    <a:pt x="57882" y="108750"/>
                    <a:pt x="59294" y="109500"/>
                    <a:pt x="59294" y="110250"/>
                  </a:cubicBezTo>
                  <a:cubicBezTo>
                    <a:pt x="60705" y="110250"/>
                    <a:pt x="63529" y="111000"/>
                    <a:pt x="63529" y="111000"/>
                  </a:cubicBezTo>
                  <a:cubicBezTo>
                    <a:pt x="63529" y="111750"/>
                    <a:pt x="63529" y="112500"/>
                    <a:pt x="63529" y="113250"/>
                  </a:cubicBezTo>
                  <a:cubicBezTo>
                    <a:pt x="63529" y="113250"/>
                    <a:pt x="63529" y="113250"/>
                    <a:pt x="63529" y="114000"/>
                  </a:cubicBezTo>
                  <a:cubicBezTo>
                    <a:pt x="63529" y="114750"/>
                    <a:pt x="64941" y="114750"/>
                    <a:pt x="64941" y="114750"/>
                  </a:cubicBezTo>
                  <a:cubicBezTo>
                    <a:pt x="64941" y="115500"/>
                    <a:pt x="66352" y="116250"/>
                    <a:pt x="66352" y="116250"/>
                  </a:cubicBezTo>
                  <a:cubicBezTo>
                    <a:pt x="66352" y="118500"/>
                    <a:pt x="66352" y="118500"/>
                    <a:pt x="66352" y="118500"/>
                  </a:cubicBezTo>
                  <a:cubicBezTo>
                    <a:pt x="67764" y="118500"/>
                    <a:pt x="67764" y="118500"/>
                    <a:pt x="67764" y="118500"/>
                  </a:cubicBezTo>
                  <a:lnTo>
                    <a:pt x="69176" y="118500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6" name="Shape 2017"/>
            <p:cNvSpPr/>
            <p:nvPr/>
          </p:nvSpPr>
          <p:spPr>
            <a:xfrm>
              <a:off x="5810958" y="3583492"/>
              <a:ext cx="177008" cy="1960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4615" y="117303"/>
                  </a:moveTo>
                  <a:cubicBezTo>
                    <a:pt x="64615" y="117303"/>
                    <a:pt x="72307" y="120000"/>
                    <a:pt x="70769" y="120000"/>
                  </a:cubicBezTo>
                  <a:cubicBezTo>
                    <a:pt x="70769" y="120000"/>
                    <a:pt x="70769" y="120000"/>
                    <a:pt x="70769" y="118651"/>
                  </a:cubicBezTo>
                  <a:cubicBezTo>
                    <a:pt x="70769" y="118651"/>
                    <a:pt x="69230" y="120000"/>
                    <a:pt x="69230" y="120000"/>
                  </a:cubicBezTo>
                  <a:cubicBezTo>
                    <a:pt x="69230" y="120000"/>
                    <a:pt x="66153" y="117303"/>
                    <a:pt x="67692" y="117303"/>
                  </a:cubicBezTo>
                  <a:cubicBezTo>
                    <a:pt x="67692" y="117303"/>
                    <a:pt x="67692" y="115955"/>
                    <a:pt x="67692" y="115955"/>
                  </a:cubicBezTo>
                  <a:cubicBezTo>
                    <a:pt x="67692" y="114606"/>
                    <a:pt x="66153" y="113258"/>
                    <a:pt x="66153" y="113258"/>
                  </a:cubicBezTo>
                  <a:cubicBezTo>
                    <a:pt x="67692" y="111910"/>
                    <a:pt x="67692" y="111910"/>
                    <a:pt x="67692" y="111910"/>
                  </a:cubicBezTo>
                  <a:cubicBezTo>
                    <a:pt x="67692" y="111910"/>
                    <a:pt x="67692" y="109213"/>
                    <a:pt x="67692" y="109213"/>
                  </a:cubicBezTo>
                  <a:cubicBezTo>
                    <a:pt x="67692" y="109213"/>
                    <a:pt x="67692" y="107865"/>
                    <a:pt x="67692" y="107865"/>
                  </a:cubicBezTo>
                  <a:cubicBezTo>
                    <a:pt x="67692" y="107865"/>
                    <a:pt x="66153" y="106516"/>
                    <a:pt x="66153" y="106516"/>
                  </a:cubicBezTo>
                  <a:cubicBezTo>
                    <a:pt x="67692" y="103820"/>
                    <a:pt x="67692" y="103820"/>
                    <a:pt x="67692" y="103820"/>
                  </a:cubicBezTo>
                  <a:cubicBezTo>
                    <a:pt x="67692" y="103820"/>
                    <a:pt x="67692" y="102471"/>
                    <a:pt x="67692" y="102471"/>
                  </a:cubicBezTo>
                  <a:cubicBezTo>
                    <a:pt x="67692" y="101123"/>
                    <a:pt x="67692" y="99775"/>
                    <a:pt x="67692" y="99775"/>
                  </a:cubicBezTo>
                  <a:cubicBezTo>
                    <a:pt x="64615" y="98426"/>
                    <a:pt x="64615" y="98426"/>
                    <a:pt x="64615" y="98426"/>
                  </a:cubicBezTo>
                  <a:cubicBezTo>
                    <a:pt x="61538" y="97078"/>
                    <a:pt x="61538" y="97078"/>
                    <a:pt x="61538" y="97078"/>
                  </a:cubicBezTo>
                  <a:cubicBezTo>
                    <a:pt x="60000" y="95730"/>
                    <a:pt x="60000" y="95730"/>
                    <a:pt x="60000" y="95730"/>
                  </a:cubicBezTo>
                  <a:cubicBezTo>
                    <a:pt x="60000" y="93033"/>
                    <a:pt x="60000" y="93033"/>
                    <a:pt x="60000" y="93033"/>
                  </a:cubicBezTo>
                  <a:cubicBezTo>
                    <a:pt x="63076" y="90337"/>
                    <a:pt x="63076" y="90337"/>
                    <a:pt x="63076" y="90337"/>
                  </a:cubicBezTo>
                  <a:cubicBezTo>
                    <a:pt x="64615" y="87640"/>
                    <a:pt x="64615" y="87640"/>
                    <a:pt x="64615" y="87640"/>
                  </a:cubicBezTo>
                  <a:cubicBezTo>
                    <a:pt x="64615" y="87640"/>
                    <a:pt x="66153" y="86292"/>
                    <a:pt x="66153" y="86292"/>
                  </a:cubicBezTo>
                  <a:cubicBezTo>
                    <a:pt x="66153" y="84943"/>
                    <a:pt x="66153" y="83595"/>
                    <a:pt x="66153" y="83595"/>
                  </a:cubicBezTo>
                  <a:cubicBezTo>
                    <a:pt x="66153" y="80898"/>
                    <a:pt x="66153" y="80898"/>
                    <a:pt x="66153" y="80898"/>
                  </a:cubicBezTo>
                  <a:cubicBezTo>
                    <a:pt x="67692" y="79550"/>
                    <a:pt x="67692" y="79550"/>
                    <a:pt x="67692" y="79550"/>
                  </a:cubicBezTo>
                  <a:cubicBezTo>
                    <a:pt x="69230" y="78202"/>
                    <a:pt x="69230" y="78202"/>
                    <a:pt x="69230" y="78202"/>
                  </a:cubicBezTo>
                  <a:cubicBezTo>
                    <a:pt x="69230" y="78202"/>
                    <a:pt x="70769" y="76853"/>
                    <a:pt x="70769" y="76853"/>
                  </a:cubicBezTo>
                  <a:cubicBezTo>
                    <a:pt x="70769" y="75505"/>
                    <a:pt x="72307" y="74157"/>
                    <a:pt x="72307" y="74157"/>
                  </a:cubicBezTo>
                  <a:cubicBezTo>
                    <a:pt x="73846" y="71460"/>
                    <a:pt x="73846" y="71460"/>
                    <a:pt x="73846" y="71460"/>
                  </a:cubicBezTo>
                  <a:cubicBezTo>
                    <a:pt x="75384" y="68764"/>
                    <a:pt x="75384" y="68764"/>
                    <a:pt x="75384" y="68764"/>
                  </a:cubicBezTo>
                  <a:cubicBezTo>
                    <a:pt x="76923" y="66067"/>
                    <a:pt x="76923" y="66067"/>
                    <a:pt x="76923" y="66067"/>
                  </a:cubicBezTo>
                  <a:cubicBezTo>
                    <a:pt x="75384" y="64719"/>
                    <a:pt x="75384" y="64719"/>
                    <a:pt x="75384" y="64719"/>
                  </a:cubicBezTo>
                  <a:cubicBezTo>
                    <a:pt x="75384" y="64719"/>
                    <a:pt x="81538" y="59325"/>
                    <a:pt x="81538" y="59325"/>
                  </a:cubicBezTo>
                  <a:cubicBezTo>
                    <a:pt x="81538" y="59325"/>
                    <a:pt x="84615" y="59325"/>
                    <a:pt x="84615" y="59325"/>
                  </a:cubicBezTo>
                  <a:cubicBezTo>
                    <a:pt x="84615" y="60674"/>
                    <a:pt x="84615" y="60674"/>
                    <a:pt x="84615" y="60674"/>
                  </a:cubicBezTo>
                  <a:cubicBezTo>
                    <a:pt x="86153" y="62022"/>
                    <a:pt x="86153" y="62022"/>
                    <a:pt x="86153" y="62022"/>
                  </a:cubicBezTo>
                  <a:cubicBezTo>
                    <a:pt x="86153" y="63370"/>
                    <a:pt x="86153" y="63370"/>
                    <a:pt x="86153" y="63370"/>
                  </a:cubicBezTo>
                  <a:cubicBezTo>
                    <a:pt x="86153" y="63370"/>
                    <a:pt x="86153" y="64719"/>
                    <a:pt x="86153" y="66067"/>
                  </a:cubicBezTo>
                  <a:cubicBezTo>
                    <a:pt x="86153" y="66067"/>
                    <a:pt x="86153" y="67415"/>
                    <a:pt x="86153" y="67415"/>
                  </a:cubicBezTo>
                  <a:cubicBezTo>
                    <a:pt x="86153" y="67415"/>
                    <a:pt x="87692" y="68764"/>
                    <a:pt x="87692" y="68764"/>
                  </a:cubicBezTo>
                  <a:cubicBezTo>
                    <a:pt x="87692" y="70112"/>
                    <a:pt x="89230" y="71460"/>
                    <a:pt x="89230" y="71460"/>
                  </a:cubicBezTo>
                  <a:cubicBezTo>
                    <a:pt x="89230" y="71460"/>
                    <a:pt x="89230" y="71460"/>
                    <a:pt x="90769" y="71460"/>
                  </a:cubicBezTo>
                  <a:cubicBezTo>
                    <a:pt x="90769" y="72808"/>
                    <a:pt x="90769" y="72808"/>
                    <a:pt x="90769" y="72808"/>
                  </a:cubicBezTo>
                  <a:cubicBezTo>
                    <a:pt x="93846" y="71460"/>
                    <a:pt x="93846" y="71460"/>
                    <a:pt x="93846" y="71460"/>
                  </a:cubicBezTo>
                  <a:cubicBezTo>
                    <a:pt x="96923" y="68764"/>
                    <a:pt x="96923" y="68764"/>
                    <a:pt x="96923" y="68764"/>
                  </a:cubicBezTo>
                  <a:cubicBezTo>
                    <a:pt x="96923" y="68764"/>
                    <a:pt x="101538" y="67415"/>
                    <a:pt x="101538" y="67415"/>
                  </a:cubicBezTo>
                  <a:cubicBezTo>
                    <a:pt x="101538" y="67415"/>
                    <a:pt x="103076" y="64719"/>
                    <a:pt x="103076" y="64719"/>
                  </a:cubicBezTo>
                  <a:cubicBezTo>
                    <a:pt x="104615" y="64719"/>
                    <a:pt x="104615" y="64719"/>
                    <a:pt x="104615" y="64719"/>
                  </a:cubicBezTo>
                  <a:cubicBezTo>
                    <a:pt x="104615" y="64719"/>
                    <a:pt x="104615" y="64719"/>
                    <a:pt x="104615" y="64719"/>
                  </a:cubicBezTo>
                  <a:cubicBezTo>
                    <a:pt x="103076" y="62022"/>
                    <a:pt x="106153" y="59325"/>
                    <a:pt x="104615" y="56629"/>
                  </a:cubicBezTo>
                  <a:cubicBezTo>
                    <a:pt x="104615" y="56629"/>
                    <a:pt x="103076" y="55280"/>
                    <a:pt x="103076" y="55280"/>
                  </a:cubicBezTo>
                  <a:cubicBezTo>
                    <a:pt x="103076" y="55280"/>
                    <a:pt x="103076" y="55280"/>
                    <a:pt x="103076" y="55280"/>
                  </a:cubicBezTo>
                  <a:cubicBezTo>
                    <a:pt x="103076" y="55280"/>
                    <a:pt x="103076" y="55280"/>
                    <a:pt x="103076" y="55280"/>
                  </a:cubicBezTo>
                  <a:cubicBezTo>
                    <a:pt x="100000" y="52584"/>
                    <a:pt x="95384" y="51235"/>
                    <a:pt x="96923" y="51235"/>
                  </a:cubicBezTo>
                  <a:cubicBezTo>
                    <a:pt x="98461" y="48539"/>
                    <a:pt x="104615" y="49887"/>
                    <a:pt x="107692" y="48539"/>
                  </a:cubicBezTo>
                  <a:cubicBezTo>
                    <a:pt x="109230" y="48539"/>
                    <a:pt x="109230" y="45842"/>
                    <a:pt x="110769" y="44494"/>
                  </a:cubicBezTo>
                  <a:cubicBezTo>
                    <a:pt x="112307" y="44494"/>
                    <a:pt x="115384" y="45842"/>
                    <a:pt x="115384" y="43146"/>
                  </a:cubicBezTo>
                  <a:cubicBezTo>
                    <a:pt x="115384" y="40449"/>
                    <a:pt x="118461" y="40449"/>
                    <a:pt x="120000" y="41797"/>
                  </a:cubicBezTo>
                  <a:cubicBezTo>
                    <a:pt x="120000" y="41797"/>
                    <a:pt x="120000" y="41797"/>
                    <a:pt x="120000" y="41797"/>
                  </a:cubicBezTo>
                  <a:cubicBezTo>
                    <a:pt x="118461" y="39101"/>
                    <a:pt x="113846" y="36404"/>
                    <a:pt x="112307" y="35056"/>
                  </a:cubicBezTo>
                  <a:cubicBezTo>
                    <a:pt x="112307" y="35056"/>
                    <a:pt x="112307" y="33707"/>
                    <a:pt x="109230" y="33707"/>
                  </a:cubicBezTo>
                  <a:cubicBezTo>
                    <a:pt x="107692" y="33707"/>
                    <a:pt x="104615" y="31011"/>
                    <a:pt x="104615" y="31011"/>
                  </a:cubicBezTo>
                  <a:cubicBezTo>
                    <a:pt x="100000" y="31011"/>
                    <a:pt x="100000" y="31011"/>
                    <a:pt x="100000" y="31011"/>
                  </a:cubicBezTo>
                  <a:cubicBezTo>
                    <a:pt x="100000" y="31011"/>
                    <a:pt x="95384" y="26966"/>
                    <a:pt x="95384" y="26966"/>
                  </a:cubicBezTo>
                  <a:cubicBezTo>
                    <a:pt x="93846" y="26966"/>
                    <a:pt x="89230" y="25617"/>
                    <a:pt x="89230" y="25617"/>
                  </a:cubicBezTo>
                  <a:cubicBezTo>
                    <a:pt x="89230" y="22921"/>
                    <a:pt x="89230" y="22921"/>
                    <a:pt x="89230" y="22921"/>
                  </a:cubicBezTo>
                  <a:cubicBezTo>
                    <a:pt x="89230" y="22921"/>
                    <a:pt x="87692" y="22921"/>
                    <a:pt x="87692" y="22921"/>
                  </a:cubicBezTo>
                  <a:cubicBezTo>
                    <a:pt x="86153" y="22921"/>
                    <a:pt x="84615" y="24269"/>
                    <a:pt x="84615" y="24269"/>
                  </a:cubicBezTo>
                  <a:cubicBezTo>
                    <a:pt x="80000" y="25617"/>
                    <a:pt x="80000" y="25617"/>
                    <a:pt x="80000" y="25617"/>
                  </a:cubicBezTo>
                  <a:cubicBezTo>
                    <a:pt x="80000" y="25617"/>
                    <a:pt x="76923" y="25617"/>
                    <a:pt x="76923" y="25617"/>
                  </a:cubicBezTo>
                  <a:cubicBezTo>
                    <a:pt x="75384" y="24269"/>
                    <a:pt x="73846" y="21573"/>
                    <a:pt x="73846" y="21573"/>
                  </a:cubicBezTo>
                  <a:cubicBezTo>
                    <a:pt x="73846" y="21573"/>
                    <a:pt x="73846" y="21573"/>
                    <a:pt x="72307" y="21573"/>
                  </a:cubicBezTo>
                  <a:cubicBezTo>
                    <a:pt x="70769" y="22921"/>
                    <a:pt x="73846" y="24269"/>
                    <a:pt x="70769" y="22921"/>
                  </a:cubicBezTo>
                  <a:cubicBezTo>
                    <a:pt x="66153" y="21573"/>
                    <a:pt x="66153" y="21573"/>
                    <a:pt x="66153" y="21573"/>
                  </a:cubicBezTo>
                  <a:cubicBezTo>
                    <a:pt x="63076" y="18876"/>
                    <a:pt x="63076" y="18876"/>
                    <a:pt x="63076" y="18876"/>
                  </a:cubicBezTo>
                  <a:cubicBezTo>
                    <a:pt x="61538" y="18876"/>
                    <a:pt x="61538" y="18876"/>
                    <a:pt x="61538" y="18876"/>
                  </a:cubicBezTo>
                  <a:cubicBezTo>
                    <a:pt x="60000" y="18876"/>
                    <a:pt x="60000" y="18876"/>
                    <a:pt x="60000" y="18876"/>
                  </a:cubicBezTo>
                  <a:cubicBezTo>
                    <a:pt x="60000" y="18876"/>
                    <a:pt x="58461" y="16179"/>
                    <a:pt x="58461" y="16179"/>
                  </a:cubicBezTo>
                  <a:cubicBezTo>
                    <a:pt x="58461" y="16179"/>
                    <a:pt x="58461" y="13483"/>
                    <a:pt x="58461" y="13483"/>
                  </a:cubicBezTo>
                  <a:cubicBezTo>
                    <a:pt x="56923" y="13483"/>
                    <a:pt x="52307" y="12134"/>
                    <a:pt x="52307" y="12134"/>
                  </a:cubicBezTo>
                  <a:cubicBezTo>
                    <a:pt x="50769" y="9438"/>
                    <a:pt x="50769" y="9438"/>
                    <a:pt x="50769" y="9438"/>
                  </a:cubicBezTo>
                  <a:cubicBezTo>
                    <a:pt x="50769" y="9438"/>
                    <a:pt x="50769" y="9438"/>
                    <a:pt x="50769" y="9438"/>
                  </a:cubicBezTo>
                  <a:cubicBezTo>
                    <a:pt x="49230" y="9438"/>
                    <a:pt x="46153" y="8089"/>
                    <a:pt x="46153" y="8089"/>
                  </a:cubicBezTo>
                  <a:cubicBezTo>
                    <a:pt x="44615" y="6741"/>
                    <a:pt x="44615" y="6741"/>
                    <a:pt x="44615" y="6741"/>
                  </a:cubicBezTo>
                  <a:cubicBezTo>
                    <a:pt x="40000" y="6741"/>
                    <a:pt x="40000" y="6741"/>
                    <a:pt x="40000" y="6741"/>
                  </a:cubicBezTo>
                  <a:cubicBezTo>
                    <a:pt x="38461" y="4044"/>
                    <a:pt x="38461" y="4044"/>
                    <a:pt x="38461" y="4044"/>
                  </a:cubicBezTo>
                  <a:cubicBezTo>
                    <a:pt x="38461" y="4044"/>
                    <a:pt x="36923" y="2696"/>
                    <a:pt x="36923" y="2696"/>
                  </a:cubicBezTo>
                  <a:cubicBezTo>
                    <a:pt x="38461" y="2696"/>
                    <a:pt x="38461" y="0"/>
                    <a:pt x="38461" y="0"/>
                  </a:cubicBezTo>
                  <a:cubicBezTo>
                    <a:pt x="35384" y="0"/>
                    <a:pt x="35384" y="0"/>
                    <a:pt x="35384" y="0"/>
                  </a:cubicBezTo>
                  <a:cubicBezTo>
                    <a:pt x="35384" y="0"/>
                    <a:pt x="32307" y="1348"/>
                    <a:pt x="32307" y="1348"/>
                  </a:cubicBezTo>
                  <a:cubicBezTo>
                    <a:pt x="32307" y="1348"/>
                    <a:pt x="30769" y="2696"/>
                    <a:pt x="30769" y="2696"/>
                  </a:cubicBezTo>
                  <a:cubicBezTo>
                    <a:pt x="29230" y="2696"/>
                    <a:pt x="29230" y="2696"/>
                    <a:pt x="29230" y="2696"/>
                  </a:cubicBezTo>
                  <a:cubicBezTo>
                    <a:pt x="27692" y="1348"/>
                    <a:pt x="27692" y="1348"/>
                    <a:pt x="27692" y="1348"/>
                  </a:cubicBezTo>
                  <a:cubicBezTo>
                    <a:pt x="26153" y="0"/>
                    <a:pt x="26153" y="0"/>
                    <a:pt x="26153" y="0"/>
                  </a:cubicBezTo>
                  <a:cubicBezTo>
                    <a:pt x="23076" y="2696"/>
                    <a:pt x="23076" y="2696"/>
                    <a:pt x="23076" y="2696"/>
                  </a:cubicBezTo>
                  <a:cubicBezTo>
                    <a:pt x="21538" y="4044"/>
                    <a:pt x="21538" y="4044"/>
                    <a:pt x="21538" y="4044"/>
                  </a:cubicBezTo>
                  <a:cubicBezTo>
                    <a:pt x="21538" y="4044"/>
                    <a:pt x="21538" y="5393"/>
                    <a:pt x="21538" y="5393"/>
                  </a:cubicBezTo>
                  <a:cubicBezTo>
                    <a:pt x="21538" y="5393"/>
                    <a:pt x="24615" y="5393"/>
                    <a:pt x="24615" y="5393"/>
                  </a:cubicBezTo>
                  <a:cubicBezTo>
                    <a:pt x="24615" y="8089"/>
                    <a:pt x="24615" y="8089"/>
                    <a:pt x="24615" y="8089"/>
                  </a:cubicBezTo>
                  <a:cubicBezTo>
                    <a:pt x="24615" y="8089"/>
                    <a:pt x="24615" y="8089"/>
                    <a:pt x="26153" y="8089"/>
                  </a:cubicBezTo>
                  <a:cubicBezTo>
                    <a:pt x="26153" y="8089"/>
                    <a:pt x="27692" y="9438"/>
                    <a:pt x="27692" y="9438"/>
                  </a:cubicBezTo>
                  <a:cubicBezTo>
                    <a:pt x="29230" y="10786"/>
                    <a:pt x="29230" y="10786"/>
                    <a:pt x="29230" y="10786"/>
                  </a:cubicBezTo>
                  <a:cubicBezTo>
                    <a:pt x="29230" y="13483"/>
                    <a:pt x="29230" y="13483"/>
                    <a:pt x="29230" y="13483"/>
                  </a:cubicBezTo>
                  <a:cubicBezTo>
                    <a:pt x="32307" y="14831"/>
                    <a:pt x="32307" y="14831"/>
                    <a:pt x="32307" y="14831"/>
                  </a:cubicBezTo>
                  <a:cubicBezTo>
                    <a:pt x="32307" y="17528"/>
                    <a:pt x="32307" y="17528"/>
                    <a:pt x="32307" y="17528"/>
                  </a:cubicBezTo>
                  <a:cubicBezTo>
                    <a:pt x="30769" y="18876"/>
                    <a:pt x="30769" y="18876"/>
                    <a:pt x="30769" y="18876"/>
                  </a:cubicBezTo>
                  <a:cubicBezTo>
                    <a:pt x="29230" y="20224"/>
                    <a:pt x="29230" y="20224"/>
                    <a:pt x="29230" y="20224"/>
                  </a:cubicBezTo>
                  <a:cubicBezTo>
                    <a:pt x="26153" y="20224"/>
                    <a:pt x="26153" y="20224"/>
                    <a:pt x="26153" y="20224"/>
                  </a:cubicBezTo>
                  <a:cubicBezTo>
                    <a:pt x="26153" y="18876"/>
                    <a:pt x="26153" y="18876"/>
                    <a:pt x="26153" y="18876"/>
                  </a:cubicBezTo>
                  <a:cubicBezTo>
                    <a:pt x="24615" y="16179"/>
                    <a:pt x="24615" y="16179"/>
                    <a:pt x="24615" y="16179"/>
                  </a:cubicBezTo>
                  <a:cubicBezTo>
                    <a:pt x="23076" y="14831"/>
                    <a:pt x="23076" y="14831"/>
                    <a:pt x="23076" y="14831"/>
                  </a:cubicBezTo>
                  <a:cubicBezTo>
                    <a:pt x="18461" y="16179"/>
                    <a:pt x="18461" y="16179"/>
                    <a:pt x="18461" y="16179"/>
                  </a:cubicBezTo>
                  <a:cubicBezTo>
                    <a:pt x="18461" y="18876"/>
                    <a:pt x="18461" y="18876"/>
                    <a:pt x="18461" y="18876"/>
                  </a:cubicBezTo>
                  <a:cubicBezTo>
                    <a:pt x="10769" y="24269"/>
                    <a:pt x="10769" y="24269"/>
                    <a:pt x="10769" y="24269"/>
                  </a:cubicBezTo>
                  <a:cubicBezTo>
                    <a:pt x="12307" y="26966"/>
                    <a:pt x="12307" y="26966"/>
                    <a:pt x="12307" y="26966"/>
                  </a:cubicBezTo>
                  <a:cubicBezTo>
                    <a:pt x="9230" y="29662"/>
                    <a:pt x="9230" y="29662"/>
                    <a:pt x="9230" y="29662"/>
                  </a:cubicBezTo>
                  <a:cubicBezTo>
                    <a:pt x="9230" y="33707"/>
                    <a:pt x="9230" y="33707"/>
                    <a:pt x="9230" y="33707"/>
                  </a:cubicBezTo>
                  <a:cubicBezTo>
                    <a:pt x="10769" y="37752"/>
                    <a:pt x="10769" y="37752"/>
                    <a:pt x="10769" y="37752"/>
                  </a:cubicBezTo>
                  <a:cubicBezTo>
                    <a:pt x="10769" y="40449"/>
                    <a:pt x="10769" y="40449"/>
                    <a:pt x="10769" y="40449"/>
                  </a:cubicBezTo>
                  <a:cubicBezTo>
                    <a:pt x="4615" y="41797"/>
                    <a:pt x="4615" y="41797"/>
                    <a:pt x="4615" y="41797"/>
                  </a:cubicBezTo>
                  <a:cubicBezTo>
                    <a:pt x="0" y="43146"/>
                    <a:pt x="0" y="43146"/>
                    <a:pt x="0" y="43146"/>
                  </a:cubicBezTo>
                  <a:cubicBezTo>
                    <a:pt x="0" y="47191"/>
                    <a:pt x="0" y="47191"/>
                    <a:pt x="0" y="47191"/>
                  </a:cubicBezTo>
                  <a:cubicBezTo>
                    <a:pt x="0" y="48539"/>
                    <a:pt x="0" y="48539"/>
                    <a:pt x="0" y="48539"/>
                  </a:cubicBezTo>
                  <a:cubicBezTo>
                    <a:pt x="4615" y="53932"/>
                    <a:pt x="4615" y="53932"/>
                    <a:pt x="4615" y="53932"/>
                  </a:cubicBezTo>
                  <a:cubicBezTo>
                    <a:pt x="3076" y="55280"/>
                    <a:pt x="3076" y="55280"/>
                    <a:pt x="3076" y="55280"/>
                  </a:cubicBezTo>
                  <a:cubicBezTo>
                    <a:pt x="1538" y="56629"/>
                    <a:pt x="1538" y="56629"/>
                    <a:pt x="1538" y="56629"/>
                  </a:cubicBezTo>
                  <a:cubicBezTo>
                    <a:pt x="6153" y="62022"/>
                    <a:pt x="6153" y="62022"/>
                    <a:pt x="6153" y="62022"/>
                  </a:cubicBezTo>
                  <a:cubicBezTo>
                    <a:pt x="7692" y="63370"/>
                    <a:pt x="7692" y="63370"/>
                    <a:pt x="7692" y="63370"/>
                  </a:cubicBezTo>
                  <a:cubicBezTo>
                    <a:pt x="10769" y="63370"/>
                    <a:pt x="10769" y="63370"/>
                    <a:pt x="10769" y="63370"/>
                  </a:cubicBezTo>
                  <a:cubicBezTo>
                    <a:pt x="10769" y="66067"/>
                    <a:pt x="10769" y="66067"/>
                    <a:pt x="10769" y="66067"/>
                  </a:cubicBezTo>
                  <a:cubicBezTo>
                    <a:pt x="10769" y="67415"/>
                    <a:pt x="10769" y="67415"/>
                    <a:pt x="10769" y="67415"/>
                  </a:cubicBezTo>
                  <a:cubicBezTo>
                    <a:pt x="10769" y="70112"/>
                    <a:pt x="10769" y="70112"/>
                    <a:pt x="10769" y="70112"/>
                  </a:cubicBezTo>
                  <a:cubicBezTo>
                    <a:pt x="7692" y="72808"/>
                    <a:pt x="7692" y="72808"/>
                    <a:pt x="7692" y="72808"/>
                  </a:cubicBezTo>
                  <a:cubicBezTo>
                    <a:pt x="9230" y="75505"/>
                    <a:pt x="9230" y="75505"/>
                    <a:pt x="9230" y="75505"/>
                  </a:cubicBezTo>
                  <a:cubicBezTo>
                    <a:pt x="6153" y="74157"/>
                    <a:pt x="6153" y="74157"/>
                    <a:pt x="6153" y="74157"/>
                  </a:cubicBezTo>
                  <a:cubicBezTo>
                    <a:pt x="4615" y="76853"/>
                    <a:pt x="4615" y="76853"/>
                    <a:pt x="4615" y="76853"/>
                  </a:cubicBezTo>
                  <a:cubicBezTo>
                    <a:pt x="6153" y="78202"/>
                    <a:pt x="6153" y="78202"/>
                    <a:pt x="6153" y="78202"/>
                  </a:cubicBezTo>
                  <a:cubicBezTo>
                    <a:pt x="4615" y="79550"/>
                    <a:pt x="4615" y="79550"/>
                    <a:pt x="4615" y="79550"/>
                  </a:cubicBezTo>
                  <a:cubicBezTo>
                    <a:pt x="7692" y="82247"/>
                    <a:pt x="7692" y="82247"/>
                    <a:pt x="7692" y="82247"/>
                  </a:cubicBezTo>
                  <a:cubicBezTo>
                    <a:pt x="13846" y="83595"/>
                    <a:pt x="13846" y="83595"/>
                    <a:pt x="13846" y="83595"/>
                  </a:cubicBezTo>
                  <a:cubicBezTo>
                    <a:pt x="16923" y="82247"/>
                    <a:pt x="16923" y="82247"/>
                    <a:pt x="16923" y="82247"/>
                  </a:cubicBezTo>
                  <a:cubicBezTo>
                    <a:pt x="18461" y="80898"/>
                    <a:pt x="18461" y="80898"/>
                    <a:pt x="18461" y="80898"/>
                  </a:cubicBezTo>
                  <a:cubicBezTo>
                    <a:pt x="16923" y="79550"/>
                    <a:pt x="16923" y="79550"/>
                    <a:pt x="16923" y="79550"/>
                  </a:cubicBezTo>
                  <a:cubicBezTo>
                    <a:pt x="16923" y="79550"/>
                    <a:pt x="16923" y="78202"/>
                    <a:pt x="18461" y="78202"/>
                  </a:cubicBezTo>
                  <a:cubicBezTo>
                    <a:pt x="18461" y="76853"/>
                    <a:pt x="20000" y="76853"/>
                    <a:pt x="20000" y="76853"/>
                  </a:cubicBezTo>
                  <a:cubicBezTo>
                    <a:pt x="20000" y="78202"/>
                    <a:pt x="20000" y="78202"/>
                    <a:pt x="20000" y="78202"/>
                  </a:cubicBezTo>
                  <a:cubicBezTo>
                    <a:pt x="24615" y="78202"/>
                    <a:pt x="24615" y="78202"/>
                    <a:pt x="24615" y="78202"/>
                  </a:cubicBezTo>
                  <a:cubicBezTo>
                    <a:pt x="24615" y="80898"/>
                    <a:pt x="24615" y="80898"/>
                    <a:pt x="24615" y="80898"/>
                  </a:cubicBezTo>
                  <a:cubicBezTo>
                    <a:pt x="23076" y="82247"/>
                    <a:pt x="23076" y="82247"/>
                    <a:pt x="23076" y="82247"/>
                  </a:cubicBezTo>
                  <a:cubicBezTo>
                    <a:pt x="21538" y="80898"/>
                    <a:pt x="21538" y="80898"/>
                    <a:pt x="21538" y="80898"/>
                  </a:cubicBezTo>
                  <a:cubicBezTo>
                    <a:pt x="21538" y="80898"/>
                    <a:pt x="21538" y="82247"/>
                    <a:pt x="21538" y="82247"/>
                  </a:cubicBezTo>
                  <a:cubicBezTo>
                    <a:pt x="21538" y="82247"/>
                    <a:pt x="21538" y="86292"/>
                    <a:pt x="21538" y="86292"/>
                  </a:cubicBezTo>
                  <a:cubicBezTo>
                    <a:pt x="21538" y="86292"/>
                    <a:pt x="21538" y="87640"/>
                    <a:pt x="20000" y="86292"/>
                  </a:cubicBezTo>
                  <a:cubicBezTo>
                    <a:pt x="20000" y="86292"/>
                    <a:pt x="18461" y="84943"/>
                    <a:pt x="18461" y="84943"/>
                  </a:cubicBezTo>
                  <a:cubicBezTo>
                    <a:pt x="13846" y="83595"/>
                    <a:pt x="13846" y="83595"/>
                    <a:pt x="13846" y="83595"/>
                  </a:cubicBezTo>
                  <a:cubicBezTo>
                    <a:pt x="12307" y="84943"/>
                    <a:pt x="12307" y="84943"/>
                    <a:pt x="12307" y="84943"/>
                  </a:cubicBezTo>
                  <a:cubicBezTo>
                    <a:pt x="12307" y="84943"/>
                    <a:pt x="12307" y="86292"/>
                    <a:pt x="12307" y="87640"/>
                  </a:cubicBezTo>
                  <a:cubicBezTo>
                    <a:pt x="13846" y="87640"/>
                    <a:pt x="15384" y="87640"/>
                    <a:pt x="15384" y="87640"/>
                  </a:cubicBezTo>
                  <a:cubicBezTo>
                    <a:pt x="15384" y="87640"/>
                    <a:pt x="18461" y="87640"/>
                    <a:pt x="18461" y="87640"/>
                  </a:cubicBezTo>
                  <a:cubicBezTo>
                    <a:pt x="18461" y="87640"/>
                    <a:pt x="18461" y="87640"/>
                    <a:pt x="20000" y="87640"/>
                  </a:cubicBezTo>
                  <a:cubicBezTo>
                    <a:pt x="20000" y="87640"/>
                    <a:pt x="23076" y="87640"/>
                    <a:pt x="23076" y="87640"/>
                  </a:cubicBezTo>
                  <a:cubicBezTo>
                    <a:pt x="23076" y="90337"/>
                    <a:pt x="23076" y="90337"/>
                    <a:pt x="23076" y="90337"/>
                  </a:cubicBezTo>
                  <a:cubicBezTo>
                    <a:pt x="26153" y="93033"/>
                    <a:pt x="26153" y="93033"/>
                    <a:pt x="26153" y="93033"/>
                  </a:cubicBezTo>
                  <a:cubicBezTo>
                    <a:pt x="32307" y="93033"/>
                    <a:pt x="32307" y="93033"/>
                    <a:pt x="32307" y="93033"/>
                  </a:cubicBezTo>
                  <a:cubicBezTo>
                    <a:pt x="33846" y="93033"/>
                    <a:pt x="33846" y="93033"/>
                    <a:pt x="33846" y="93033"/>
                  </a:cubicBezTo>
                  <a:cubicBezTo>
                    <a:pt x="38461" y="95730"/>
                    <a:pt x="38461" y="95730"/>
                    <a:pt x="38461" y="95730"/>
                  </a:cubicBezTo>
                  <a:cubicBezTo>
                    <a:pt x="38461" y="95730"/>
                    <a:pt x="40000" y="98426"/>
                    <a:pt x="41538" y="98426"/>
                  </a:cubicBezTo>
                  <a:cubicBezTo>
                    <a:pt x="41538" y="98426"/>
                    <a:pt x="43076" y="101123"/>
                    <a:pt x="43076" y="101123"/>
                  </a:cubicBezTo>
                  <a:cubicBezTo>
                    <a:pt x="46153" y="101123"/>
                    <a:pt x="46153" y="101123"/>
                    <a:pt x="46153" y="101123"/>
                  </a:cubicBezTo>
                  <a:cubicBezTo>
                    <a:pt x="47692" y="101123"/>
                    <a:pt x="47692" y="101123"/>
                    <a:pt x="47692" y="101123"/>
                  </a:cubicBezTo>
                  <a:cubicBezTo>
                    <a:pt x="47692" y="101123"/>
                    <a:pt x="49230" y="102471"/>
                    <a:pt x="49230" y="102471"/>
                  </a:cubicBezTo>
                  <a:cubicBezTo>
                    <a:pt x="47692" y="103820"/>
                    <a:pt x="47692" y="103820"/>
                    <a:pt x="47692" y="103820"/>
                  </a:cubicBezTo>
                  <a:cubicBezTo>
                    <a:pt x="49230" y="106516"/>
                    <a:pt x="49230" y="106516"/>
                    <a:pt x="49230" y="106516"/>
                  </a:cubicBezTo>
                  <a:cubicBezTo>
                    <a:pt x="52307" y="106516"/>
                    <a:pt x="52307" y="106516"/>
                    <a:pt x="52307" y="106516"/>
                  </a:cubicBezTo>
                  <a:cubicBezTo>
                    <a:pt x="52307" y="106516"/>
                    <a:pt x="52307" y="106516"/>
                    <a:pt x="52307" y="107865"/>
                  </a:cubicBezTo>
                  <a:cubicBezTo>
                    <a:pt x="52307" y="107865"/>
                    <a:pt x="53846" y="110561"/>
                    <a:pt x="53846" y="110561"/>
                  </a:cubicBezTo>
                  <a:cubicBezTo>
                    <a:pt x="53846" y="111910"/>
                    <a:pt x="53846" y="111910"/>
                    <a:pt x="53846" y="111910"/>
                  </a:cubicBezTo>
                  <a:cubicBezTo>
                    <a:pt x="53846" y="111910"/>
                    <a:pt x="55384" y="111910"/>
                    <a:pt x="55384" y="113258"/>
                  </a:cubicBezTo>
                  <a:cubicBezTo>
                    <a:pt x="55384" y="113258"/>
                    <a:pt x="55384" y="113258"/>
                    <a:pt x="55384" y="114606"/>
                  </a:cubicBezTo>
                  <a:cubicBezTo>
                    <a:pt x="56923" y="114606"/>
                    <a:pt x="60000" y="114606"/>
                    <a:pt x="60000" y="114606"/>
                  </a:cubicBezTo>
                  <a:cubicBezTo>
                    <a:pt x="61538" y="115955"/>
                    <a:pt x="61538" y="115955"/>
                    <a:pt x="61538" y="115955"/>
                  </a:cubicBezTo>
                  <a:cubicBezTo>
                    <a:pt x="63076" y="117303"/>
                    <a:pt x="63076" y="117303"/>
                    <a:pt x="63076" y="117303"/>
                  </a:cubicBezTo>
                  <a:lnTo>
                    <a:pt x="64615" y="117303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7" name="Shape 2018"/>
            <p:cNvSpPr/>
            <p:nvPr/>
          </p:nvSpPr>
          <p:spPr>
            <a:xfrm>
              <a:off x="6017651" y="3676182"/>
              <a:ext cx="241874" cy="2056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3773" y="116129"/>
                  </a:moveTo>
                  <a:cubicBezTo>
                    <a:pt x="23773" y="116129"/>
                    <a:pt x="22641" y="116129"/>
                    <a:pt x="21509" y="116129"/>
                  </a:cubicBezTo>
                  <a:cubicBezTo>
                    <a:pt x="20377" y="116129"/>
                    <a:pt x="19245" y="118709"/>
                    <a:pt x="18113" y="118709"/>
                  </a:cubicBezTo>
                  <a:cubicBezTo>
                    <a:pt x="18113" y="118709"/>
                    <a:pt x="18113" y="118709"/>
                    <a:pt x="18113" y="117419"/>
                  </a:cubicBezTo>
                  <a:cubicBezTo>
                    <a:pt x="18113" y="116129"/>
                    <a:pt x="18113" y="116129"/>
                    <a:pt x="16981" y="114838"/>
                  </a:cubicBezTo>
                  <a:cubicBezTo>
                    <a:pt x="16981" y="113548"/>
                    <a:pt x="16981" y="110967"/>
                    <a:pt x="15849" y="109677"/>
                  </a:cubicBezTo>
                  <a:cubicBezTo>
                    <a:pt x="14716" y="108387"/>
                    <a:pt x="14716" y="107096"/>
                    <a:pt x="14716" y="107096"/>
                  </a:cubicBezTo>
                  <a:cubicBezTo>
                    <a:pt x="14716" y="107096"/>
                    <a:pt x="12452" y="107096"/>
                    <a:pt x="11320" y="107096"/>
                  </a:cubicBezTo>
                  <a:cubicBezTo>
                    <a:pt x="11320" y="107096"/>
                    <a:pt x="10188" y="107096"/>
                    <a:pt x="10188" y="107096"/>
                  </a:cubicBezTo>
                  <a:cubicBezTo>
                    <a:pt x="10188" y="107096"/>
                    <a:pt x="9056" y="104516"/>
                    <a:pt x="10188" y="104516"/>
                  </a:cubicBezTo>
                  <a:cubicBezTo>
                    <a:pt x="10188" y="103225"/>
                    <a:pt x="9056" y="101935"/>
                    <a:pt x="7924" y="100645"/>
                  </a:cubicBezTo>
                  <a:cubicBezTo>
                    <a:pt x="7924" y="100645"/>
                    <a:pt x="5660" y="96774"/>
                    <a:pt x="5660" y="96774"/>
                  </a:cubicBezTo>
                  <a:cubicBezTo>
                    <a:pt x="5660" y="96774"/>
                    <a:pt x="4528" y="96774"/>
                    <a:pt x="4528" y="95483"/>
                  </a:cubicBezTo>
                  <a:cubicBezTo>
                    <a:pt x="4528" y="94193"/>
                    <a:pt x="4528" y="92903"/>
                    <a:pt x="4528" y="92903"/>
                  </a:cubicBezTo>
                  <a:cubicBezTo>
                    <a:pt x="3396" y="90322"/>
                    <a:pt x="3396" y="90322"/>
                    <a:pt x="3396" y="90322"/>
                  </a:cubicBezTo>
                  <a:cubicBezTo>
                    <a:pt x="3396" y="90322"/>
                    <a:pt x="5660" y="89032"/>
                    <a:pt x="5660" y="87741"/>
                  </a:cubicBezTo>
                  <a:cubicBezTo>
                    <a:pt x="5660" y="87741"/>
                    <a:pt x="6792" y="86451"/>
                    <a:pt x="5660" y="85161"/>
                  </a:cubicBezTo>
                  <a:cubicBezTo>
                    <a:pt x="5660" y="83870"/>
                    <a:pt x="3396" y="82580"/>
                    <a:pt x="3396" y="82580"/>
                  </a:cubicBezTo>
                  <a:cubicBezTo>
                    <a:pt x="2264" y="81290"/>
                    <a:pt x="1132" y="80000"/>
                    <a:pt x="0" y="78709"/>
                  </a:cubicBezTo>
                  <a:cubicBezTo>
                    <a:pt x="0" y="77419"/>
                    <a:pt x="0" y="76129"/>
                    <a:pt x="0" y="76129"/>
                  </a:cubicBezTo>
                  <a:cubicBezTo>
                    <a:pt x="0" y="76129"/>
                    <a:pt x="0" y="74838"/>
                    <a:pt x="1132" y="74838"/>
                  </a:cubicBezTo>
                  <a:cubicBezTo>
                    <a:pt x="2264" y="73548"/>
                    <a:pt x="3396" y="73548"/>
                    <a:pt x="3396" y="72258"/>
                  </a:cubicBezTo>
                  <a:cubicBezTo>
                    <a:pt x="3396" y="72258"/>
                    <a:pt x="4528" y="72258"/>
                    <a:pt x="4528" y="70967"/>
                  </a:cubicBezTo>
                  <a:cubicBezTo>
                    <a:pt x="3396" y="69677"/>
                    <a:pt x="2264" y="68387"/>
                    <a:pt x="2264" y="68387"/>
                  </a:cubicBezTo>
                  <a:cubicBezTo>
                    <a:pt x="3396" y="64516"/>
                    <a:pt x="3396" y="64516"/>
                    <a:pt x="3396" y="64516"/>
                  </a:cubicBezTo>
                  <a:cubicBezTo>
                    <a:pt x="2264" y="63225"/>
                    <a:pt x="2264" y="63225"/>
                    <a:pt x="2264" y="63225"/>
                  </a:cubicBezTo>
                  <a:cubicBezTo>
                    <a:pt x="2264" y="58064"/>
                    <a:pt x="2264" y="58064"/>
                    <a:pt x="2264" y="58064"/>
                  </a:cubicBezTo>
                  <a:cubicBezTo>
                    <a:pt x="2264" y="56774"/>
                    <a:pt x="2264" y="56774"/>
                    <a:pt x="2264" y="56774"/>
                  </a:cubicBezTo>
                  <a:cubicBezTo>
                    <a:pt x="2264" y="56774"/>
                    <a:pt x="3396" y="54193"/>
                    <a:pt x="3396" y="54193"/>
                  </a:cubicBezTo>
                  <a:cubicBezTo>
                    <a:pt x="3396" y="52903"/>
                    <a:pt x="3396" y="50322"/>
                    <a:pt x="3396" y="50322"/>
                  </a:cubicBezTo>
                  <a:cubicBezTo>
                    <a:pt x="3396" y="50322"/>
                    <a:pt x="3396" y="50322"/>
                    <a:pt x="3396" y="50322"/>
                  </a:cubicBezTo>
                  <a:cubicBezTo>
                    <a:pt x="5660" y="51612"/>
                    <a:pt x="9056" y="50322"/>
                    <a:pt x="10188" y="50322"/>
                  </a:cubicBezTo>
                  <a:cubicBezTo>
                    <a:pt x="12452" y="50322"/>
                    <a:pt x="12452" y="46451"/>
                    <a:pt x="11320" y="42580"/>
                  </a:cubicBezTo>
                  <a:cubicBezTo>
                    <a:pt x="11320" y="40000"/>
                    <a:pt x="12452" y="37419"/>
                    <a:pt x="12452" y="34838"/>
                  </a:cubicBezTo>
                  <a:cubicBezTo>
                    <a:pt x="13584" y="32258"/>
                    <a:pt x="16981" y="30967"/>
                    <a:pt x="20377" y="28387"/>
                  </a:cubicBezTo>
                  <a:cubicBezTo>
                    <a:pt x="22641" y="25806"/>
                    <a:pt x="22641" y="23225"/>
                    <a:pt x="26037" y="23225"/>
                  </a:cubicBezTo>
                  <a:cubicBezTo>
                    <a:pt x="26037" y="23225"/>
                    <a:pt x="27169" y="23225"/>
                    <a:pt x="28301" y="24516"/>
                  </a:cubicBezTo>
                  <a:cubicBezTo>
                    <a:pt x="28301" y="24516"/>
                    <a:pt x="28301" y="25806"/>
                    <a:pt x="29433" y="27096"/>
                  </a:cubicBezTo>
                  <a:cubicBezTo>
                    <a:pt x="29433" y="27096"/>
                    <a:pt x="29433" y="27096"/>
                    <a:pt x="30566" y="27096"/>
                  </a:cubicBezTo>
                  <a:cubicBezTo>
                    <a:pt x="32830" y="30967"/>
                    <a:pt x="35094" y="33548"/>
                    <a:pt x="35094" y="23225"/>
                  </a:cubicBezTo>
                  <a:cubicBezTo>
                    <a:pt x="36226" y="14193"/>
                    <a:pt x="41886" y="16774"/>
                    <a:pt x="46415" y="14193"/>
                  </a:cubicBezTo>
                  <a:cubicBezTo>
                    <a:pt x="46415" y="14193"/>
                    <a:pt x="46415" y="14193"/>
                    <a:pt x="47547" y="12903"/>
                  </a:cubicBezTo>
                  <a:cubicBezTo>
                    <a:pt x="48679" y="14193"/>
                    <a:pt x="49811" y="14193"/>
                    <a:pt x="50943" y="14193"/>
                  </a:cubicBezTo>
                  <a:cubicBezTo>
                    <a:pt x="52075" y="14193"/>
                    <a:pt x="52075" y="14193"/>
                    <a:pt x="52075" y="14193"/>
                  </a:cubicBezTo>
                  <a:cubicBezTo>
                    <a:pt x="52075" y="14193"/>
                    <a:pt x="55471" y="9032"/>
                    <a:pt x="55471" y="9032"/>
                  </a:cubicBezTo>
                  <a:cubicBezTo>
                    <a:pt x="56603" y="9032"/>
                    <a:pt x="58867" y="7741"/>
                    <a:pt x="58867" y="7741"/>
                  </a:cubicBezTo>
                  <a:cubicBezTo>
                    <a:pt x="61132" y="3870"/>
                    <a:pt x="61132" y="3870"/>
                    <a:pt x="61132" y="3870"/>
                  </a:cubicBezTo>
                  <a:cubicBezTo>
                    <a:pt x="61132" y="3870"/>
                    <a:pt x="63396" y="5161"/>
                    <a:pt x="64528" y="5161"/>
                  </a:cubicBezTo>
                  <a:cubicBezTo>
                    <a:pt x="65660" y="5161"/>
                    <a:pt x="66792" y="5161"/>
                    <a:pt x="69056" y="5161"/>
                  </a:cubicBezTo>
                  <a:cubicBezTo>
                    <a:pt x="70188" y="3870"/>
                    <a:pt x="70188" y="3870"/>
                    <a:pt x="70188" y="3870"/>
                  </a:cubicBezTo>
                  <a:cubicBezTo>
                    <a:pt x="70188" y="3870"/>
                    <a:pt x="72452" y="1290"/>
                    <a:pt x="74716" y="1290"/>
                  </a:cubicBezTo>
                  <a:cubicBezTo>
                    <a:pt x="76981" y="0"/>
                    <a:pt x="76981" y="1290"/>
                    <a:pt x="76981" y="1290"/>
                  </a:cubicBezTo>
                  <a:cubicBezTo>
                    <a:pt x="76981" y="1290"/>
                    <a:pt x="80377" y="1290"/>
                    <a:pt x="82641" y="1290"/>
                  </a:cubicBezTo>
                  <a:cubicBezTo>
                    <a:pt x="82641" y="1290"/>
                    <a:pt x="82641" y="0"/>
                    <a:pt x="82641" y="0"/>
                  </a:cubicBezTo>
                  <a:cubicBezTo>
                    <a:pt x="86037" y="2580"/>
                    <a:pt x="86037" y="6451"/>
                    <a:pt x="89433" y="10322"/>
                  </a:cubicBezTo>
                  <a:cubicBezTo>
                    <a:pt x="93962" y="15483"/>
                    <a:pt x="98490" y="14193"/>
                    <a:pt x="106415" y="19354"/>
                  </a:cubicBezTo>
                  <a:cubicBezTo>
                    <a:pt x="106415" y="20645"/>
                    <a:pt x="110943" y="24516"/>
                    <a:pt x="112075" y="28387"/>
                  </a:cubicBezTo>
                  <a:cubicBezTo>
                    <a:pt x="113207" y="33548"/>
                    <a:pt x="117735" y="33548"/>
                    <a:pt x="118867" y="38709"/>
                  </a:cubicBezTo>
                  <a:cubicBezTo>
                    <a:pt x="118867" y="42580"/>
                    <a:pt x="116603" y="43870"/>
                    <a:pt x="116603" y="47741"/>
                  </a:cubicBezTo>
                  <a:cubicBezTo>
                    <a:pt x="116603" y="51612"/>
                    <a:pt x="118867" y="60645"/>
                    <a:pt x="120000" y="61935"/>
                  </a:cubicBezTo>
                  <a:cubicBezTo>
                    <a:pt x="120000" y="61935"/>
                    <a:pt x="120000" y="63225"/>
                    <a:pt x="120000" y="63225"/>
                  </a:cubicBezTo>
                  <a:cubicBezTo>
                    <a:pt x="109811" y="65806"/>
                    <a:pt x="109811" y="65806"/>
                    <a:pt x="109811" y="65806"/>
                  </a:cubicBezTo>
                  <a:cubicBezTo>
                    <a:pt x="110943" y="77419"/>
                    <a:pt x="110943" y="77419"/>
                    <a:pt x="110943" y="77419"/>
                  </a:cubicBezTo>
                  <a:cubicBezTo>
                    <a:pt x="105283" y="82580"/>
                    <a:pt x="105283" y="82580"/>
                    <a:pt x="105283" y="82580"/>
                  </a:cubicBezTo>
                  <a:cubicBezTo>
                    <a:pt x="105283" y="82580"/>
                    <a:pt x="91698" y="85161"/>
                    <a:pt x="90566" y="85161"/>
                  </a:cubicBezTo>
                  <a:cubicBezTo>
                    <a:pt x="89433" y="85161"/>
                    <a:pt x="83773" y="86451"/>
                    <a:pt x="81509" y="87741"/>
                  </a:cubicBezTo>
                  <a:cubicBezTo>
                    <a:pt x="79245" y="87741"/>
                    <a:pt x="75849" y="90322"/>
                    <a:pt x="74716" y="90322"/>
                  </a:cubicBezTo>
                  <a:cubicBezTo>
                    <a:pt x="72452" y="91612"/>
                    <a:pt x="71320" y="98064"/>
                    <a:pt x="71320" y="98064"/>
                  </a:cubicBezTo>
                  <a:cubicBezTo>
                    <a:pt x="71320" y="98064"/>
                    <a:pt x="67924" y="103225"/>
                    <a:pt x="66792" y="104516"/>
                  </a:cubicBezTo>
                  <a:cubicBezTo>
                    <a:pt x="65660" y="105806"/>
                    <a:pt x="60000" y="109677"/>
                    <a:pt x="60000" y="109677"/>
                  </a:cubicBezTo>
                  <a:cubicBezTo>
                    <a:pt x="60000" y="109677"/>
                    <a:pt x="54339" y="109677"/>
                    <a:pt x="53207" y="109677"/>
                  </a:cubicBezTo>
                  <a:cubicBezTo>
                    <a:pt x="50943" y="109677"/>
                    <a:pt x="48679" y="112258"/>
                    <a:pt x="46415" y="112258"/>
                  </a:cubicBezTo>
                  <a:cubicBezTo>
                    <a:pt x="43018" y="113548"/>
                    <a:pt x="40754" y="114838"/>
                    <a:pt x="39622" y="114838"/>
                  </a:cubicBezTo>
                  <a:cubicBezTo>
                    <a:pt x="38490" y="114838"/>
                    <a:pt x="32830" y="116129"/>
                    <a:pt x="32830" y="116129"/>
                  </a:cubicBezTo>
                  <a:cubicBezTo>
                    <a:pt x="32830" y="120000"/>
                    <a:pt x="32830" y="120000"/>
                    <a:pt x="32830" y="120000"/>
                  </a:cubicBezTo>
                  <a:cubicBezTo>
                    <a:pt x="32830" y="120000"/>
                    <a:pt x="31698" y="120000"/>
                    <a:pt x="31698" y="120000"/>
                  </a:cubicBezTo>
                  <a:cubicBezTo>
                    <a:pt x="31698" y="120000"/>
                    <a:pt x="31698" y="120000"/>
                    <a:pt x="30566" y="120000"/>
                  </a:cubicBezTo>
                  <a:cubicBezTo>
                    <a:pt x="30566" y="118709"/>
                    <a:pt x="30566" y="118709"/>
                    <a:pt x="30566" y="118709"/>
                  </a:cubicBezTo>
                  <a:cubicBezTo>
                    <a:pt x="28301" y="116129"/>
                    <a:pt x="28301" y="116129"/>
                    <a:pt x="28301" y="116129"/>
                  </a:cubicBezTo>
                  <a:cubicBezTo>
                    <a:pt x="28301" y="116129"/>
                    <a:pt x="27169" y="117419"/>
                    <a:pt x="26037" y="117419"/>
                  </a:cubicBezTo>
                  <a:cubicBezTo>
                    <a:pt x="24905" y="117419"/>
                    <a:pt x="24905" y="116129"/>
                    <a:pt x="23773" y="116129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8" name="Shape 2019"/>
            <p:cNvSpPr/>
            <p:nvPr/>
          </p:nvSpPr>
          <p:spPr>
            <a:xfrm>
              <a:off x="5588873" y="2851550"/>
              <a:ext cx="445269" cy="2407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000" y="59449"/>
                  </a:moveTo>
                  <a:cubicBezTo>
                    <a:pt x="17846" y="57247"/>
                    <a:pt x="17846" y="57247"/>
                    <a:pt x="17846" y="57247"/>
                  </a:cubicBezTo>
                  <a:cubicBezTo>
                    <a:pt x="17846" y="57247"/>
                    <a:pt x="17846" y="53944"/>
                    <a:pt x="18461" y="55045"/>
                  </a:cubicBezTo>
                  <a:cubicBezTo>
                    <a:pt x="18461" y="55045"/>
                    <a:pt x="19692" y="53944"/>
                    <a:pt x="19692" y="53944"/>
                  </a:cubicBezTo>
                  <a:cubicBezTo>
                    <a:pt x="20307" y="51743"/>
                    <a:pt x="20307" y="51743"/>
                    <a:pt x="20307" y="51743"/>
                  </a:cubicBezTo>
                  <a:cubicBezTo>
                    <a:pt x="20923" y="48440"/>
                    <a:pt x="20923" y="48440"/>
                    <a:pt x="20923" y="48440"/>
                  </a:cubicBezTo>
                  <a:cubicBezTo>
                    <a:pt x="24000" y="46238"/>
                    <a:pt x="24000" y="46238"/>
                    <a:pt x="24000" y="46238"/>
                  </a:cubicBezTo>
                  <a:cubicBezTo>
                    <a:pt x="24615" y="40733"/>
                    <a:pt x="24615" y="40733"/>
                    <a:pt x="24615" y="40733"/>
                  </a:cubicBezTo>
                  <a:cubicBezTo>
                    <a:pt x="24000" y="37431"/>
                    <a:pt x="24000" y="37431"/>
                    <a:pt x="24000" y="37431"/>
                  </a:cubicBezTo>
                  <a:cubicBezTo>
                    <a:pt x="24000" y="37431"/>
                    <a:pt x="24000" y="33027"/>
                    <a:pt x="24615" y="33027"/>
                  </a:cubicBezTo>
                  <a:cubicBezTo>
                    <a:pt x="25230" y="33027"/>
                    <a:pt x="27076" y="30825"/>
                    <a:pt x="27076" y="30825"/>
                  </a:cubicBezTo>
                  <a:cubicBezTo>
                    <a:pt x="28923" y="27522"/>
                    <a:pt x="28923" y="27522"/>
                    <a:pt x="28923" y="27522"/>
                  </a:cubicBezTo>
                  <a:cubicBezTo>
                    <a:pt x="28923" y="25321"/>
                    <a:pt x="28923" y="25321"/>
                    <a:pt x="28923" y="25321"/>
                  </a:cubicBezTo>
                  <a:cubicBezTo>
                    <a:pt x="30153" y="20917"/>
                    <a:pt x="30153" y="20917"/>
                    <a:pt x="30153" y="20917"/>
                  </a:cubicBezTo>
                  <a:cubicBezTo>
                    <a:pt x="31384" y="18715"/>
                    <a:pt x="31384" y="18715"/>
                    <a:pt x="31384" y="18715"/>
                  </a:cubicBezTo>
                  <a:cubicBezTo>
                    <a:pt x="32615" y="16513"/>
                    <a:pt x="32615" y="16513"/>
                    <a:pt x="32615" y="16513"/>
                  </a:cubicBezTo>
                  <a:cubicBezTo>
                    <a:pt x="34461" y="15412"/>
                    <a:pt x="34461" y="15412"/>
                    <a:pt x="34461" y="15412"/>
                  </a:cubicBezTo>
                  <a:cubicBezTo>
                    <a:pt x="34461" y="15412"/>
                    <a:pt x="35076" y="15412"/>
                    <a:pt x="35692" y="15412"/>
                  </a:cubicBezTo>
                  <a:cubicBezTo>
                    <a:pt x="36307" y="15412"/>
                    <a:pt x="36923" y="14311"/>
                    <a:pt x="36923" y="14311"/>
                  </a:cubicBezTo>
                  <a:cubicBezTo>
                    <a:pt x="37538" y="14311"/>
                    <a:pt x="39384" y="14311"/>
                    <a:pt x="39384" y="14311"/>
                  </a:cubicBezTo>
                  <a:cubicBezTo>
                    <a:pt x="39384" y="14311"/>
                    <a:pt x="40615" y="12110"/>
                    <a:pt x="40615" y="13211"/>
                  </a:cubicBezTo>
                  <a:cubicBezTo>
                    <a:pt x="40615" y="15412"/>
                    <a:pt x="40615" y="16513"/>
                    <a:pt x="40615" y="16513"/>
                  </a:cubicBezTo>
                  <a:cubicBezTo>
                    <a:pt x="41230" y="17614"/>
                    <a:pt x="41846" y="19816"/>
                    <a:pt x="41846" y="19816"/>
                  </a:cubicBezTo>
                  <a:cubicBezTo>
                    <a:pt x="41846" y="19816"/>
                    <a:pt x="43076" y="19816"/>
                    <a:pt x="43692" y="18715"/>
                  </a:cubicBezTo>
                  <a:cubicBezTo>
                    <a:pt x="44307" y="17614"/>
                    <a:pt x="45538" y="16513"/>
                    <a:pt x="45538" y="16513"/>
                  </a:cubicBezTo>
                  <a:cubicBezTo>
                    <a:pt x="45538" y="16513"/>
                    <a:pt x="46769" y="18715"/>
                    <a:pt x="46769" y="17614"/>
                  </a:cubicBezTo>
                  <a:cubicBezTo>
                    <a:pt x="46769" y="16513"/>
                    <a:pt x="46769" y="12110"/>
                    <a:pt x="46769" y="12110"/>
                  </a:cubicBezTo>
                  <a:cubicBezTo>
                    <a:pt x="48000" y="8807"/>
                    <a:pt x="48000" y="8807"/>
                    <a:pt x="48000" y="8807"/>
                  </a:cubicBezTo>
                  <a:cubicBezTo>
                    <a:pt x="48000" y="8807"/>
                    <a:pt x="49230" y="8807"/>
                    <a:pt x="49230" y="7706"/>
                  </a:cubicBezTo>
                  <a:cubicBezTo>
                    <a:pt x="49230" y="6605"/>
                    <a:pt x="50461" y="4403"/>
                    <a:pt x="50461" y="4403"/>
                  </a:cubicBezTo>
                  <a:cubicBezTo>
                    <a:pt x="52307" y="4403"/>
                    <a:pt x="52307" y="4403"/>
                    <a:pt x="52307" y="4403"/>
                  </a:cubicBezTo>
                  <a:cubicBezTo>
                    <a:pt x="53538" y="11009"/>
                    <a:pt x="53538" y="11009"/>
                    <a:pt x="53538" y="11009"/>
                  </a:cubicBezTo>
                  <a:cubicBezTo>
                    <a:pt x="55384" y="13211"/>
                    <a:pt x="55384" y="13211"/>
                    <a:pt x="55384" y="13211"/>
                  </a:cubicBezTo>
                  <a:cubicBezTo>
                    <a:pt x="56000" y="14311"/>
                    <a:pt x="56000" y="14311"/>
                    <a:pt x="56000" y="14311"/>
                  </a:cubicBezTo>
                  <a:cubicBezTo>
                    <a:pt x="57230" y="15412"/>
                    <a:pt x="57230" y="15412"/>
                    <a:pt x="57230" y="15412"/>
                  </a:cubicBezTo>
                  <a:cubicBezTo>
                    <a:pt x="59076" y="15412"/>
                    <a:pt x="59076" y="15412"/>
                    <a:pt x="59076" y="15412"/>
                  </a:cubicBezTo>
                  <a:cubicBezTo>
                    <a:pt x="59076" y="16513"/>
                    <a:pt x="59076" y="16513"/>
                    <a:pt x="59076" y="16513"/>
                  </a:cubicBezTo>
                  <a:cubicBezTo>
                    <a:pt x="60307" y="18715"/>
                    <a:pt x="60307" y="18715"/>
                    <a:pt x="60307" y="18715"/>
                  </a:cubicBezTo>
                  <a:cubicBezTo>
                    <a:pt x="60923" y="22018"/>
                    <a:pt x="60923" y="22018"/>
                    <a:pt x="60923" y="22018"/>
                  </a:cubicBezTo>
                  <a:cubicBezTo>
                    <a:pt x="59692" y="24220"/>
                    <a:pt x="59692" y="24220"/>
                    <a:pt x="59692" y="24220"/>
                  </a:cubicBezTo>
                  <a:cubicBezTo>
                    <a:pt x="59692" y="25321"/>
                    <a:pt x="59692" y="25321"/>
                    <a:pt x="59692" y="25321"/>
                  </a:cubicBezTo>
                  <a:cubicBezTo>
                    <a:pt x="60307" y="26422"/>
                    <a:pt x="60307" y="26422"/>
                    <a:pt x="60307" y="26422"/>
                  </a:cubicBezTo>
                  <a:cubicBezTo>
                    <a:pt x="60307" y="26422"/>
                    <a:pt x="60923" y="26422"/>
                    <a:pt x="60923" y="26422"/>
                  </a:cubicBezTo>
                  <a:cubicBezTo>
                    <a:pt x="60923" y="26422"/>
                    <a:pt x="62153" y="25321"/>
                    <a:pt x="62769" y="25321"/>
                  </a:cubicBezTo>
                  <a:cubicBezTo>
                    <a:pt x="62769" y="25321"/>
                    <a:pt x="62769" y="24220"/>
                    <a:pt x="62769" y="24220"/>
                  </a:cubicBezTo>
                  <a:cubicBezTo>
                    <a:pt x="62769" y="24220"/>
                    <a:pt x="64000" y="23119"/>
                    <a:pt x="64000" y="23119"/>
                  </a:cubicBezTo>
                  <a:cubicBezTo>
                    <a:pt x="64000" y="23119"/>
                    <a:pt x="64615" y="23119"/>
                    <a:pt x="64615" y="23119"/>
                  </a:cubicBezTo>
                  <a:cubicBezTo>
                    <a:pt x="64615" y="24220"/>
                    <a:pt x="65230" y="25321"/>
                    <a:pt x="65230" y="25321"/>
                  </a:cubicBezTo>
                  <a:cubicBezTo>
                    <a:pt x="65230" y="25321"/>
                    <a:pt x="65846" y="24220"/>
                    <a:pt x="65846" y="25321"/>
                  </a:cubicBezTo>
                  <a:cubicBezTo>
                    <a:pt x="65846" y="25321"/>
                    <a:pt x="66461" y="25321"/>
                    <a:pt x="66461" y="25321"/>
                  </a:cubicBezTo>
                  <a:cubicBezTo>
                    <a:pt x="66461" y="25321"/>
                    <a:pt x="66461" y="25321"/>
                    <a:pt x="66461" y="24220"/>
                  </a:cubicBezTo>
                  <a:cubicBezTo>
                    <a:pt x="66461" y="22018"/>
                    <a:pt x="66461" y="22018"/>
                    <a:pt x="66461" y="22018"/>
                  </a:cubicBezTo>
                  <a:cubicBezTo>
                    <a:pt x="66461" y="20917"/>
                    <a:pt x="66461" y="19816"/>
                    <a:pt x="66461" y="19816"/>
                  </a:cubicBezTo>
                  <a:cubicBezTo>
                    <a:pt x="67076" y="18715"/>
                    <a:pt x="67076" y="18715"/>
                    <a:pt x="67076" y="17614"/>
                  </a:cubicBezTo>
                  <a:cubicBezTo>
                    <a:pt x="67076" y="17614"/>
                    <a:pt x="66461" y="16513"/>
                    <a:pt x="67076" y="16513"/>
                  </a:cubicBezTo>
                  <a:cubicBezTo>
                    <a:pt x="67692" y="16513"/>
                    <a:pt x="68307" y="16513"/>
                    <a:pt x="68307" y="16513"/>
                  </a:cubicBezTo>
                  <a:cubicBezTo>
                    <a:pt x="68307" y="16513"/>
                    <a:pt x="68307" y="15412"/>
                    <a:pt x="68307" y="15412"/>
                  </a:cubicBezTo>
                  <a:cubicBezTo>
                    <a:pt x="68307" y="15412"/>
                    <a:pt x="68923" y="14311"/>
                    <a:pt x="69538" y="14311"/>
                  </a:cubicBezTo>
                  <a:cubicBezTo>
                    <a:pt x="69538" y="14311"/>
                    <a:pt x="69538" y="15412"/>
                    <a:pt x="70153" y="14311"/>
                  </a:cubicBezTo>
                  <a:cubicBezTo>
                    <a:pt x="70769" y="13211"/>
                    <a:pt x="70153" y="13211"/>
                    <a:pt x="70153" y="13211"/>
                  </a:cubicBezTo>
                  <a:cubicBezTo>
                    <a:pt x="70153" y="12110"/>
                    <a:pt x="70153" y="12110"/>
                    <a:pt x="70153" y="12110"/>
                  </a:cubicBezTo>
                  <a:cubicBezTo>
                    <a:pt x="70769" y="11009"/>
                    <a:pt x="70153" y="12110"/>
                    <a:pt x="71384" y="12110"/>
                  </a:cubicBezTo>
                  <a:cubicBezTo>
                    <a:pt x="72000" y="11009"/>
                    <a:pt x="72615" y="11009"/>
                    <a:pt x="72615" y="11009"/>
                  </a:cubicBezTo>
                  <a:cubicBezTo>
                    <a:pt x="72615" y="11009"/>
                    <a:pt x="72615" y="9908"/>
                    <a:pt x="72615" y="9908"/>
                  </a:cubicBezTo>
                  <a:cubicBezTo>
                    <a:pt x="73846" y="8807"/>
                    <a:pt x="73846" y="8807"/>
                    <a:pt x="73846" y="8807"/>
                  </a:cubicBezTo>
                  <a:cubicBezTo>
                    <a:pt x="73846" y="8807"/>
                    <a:pt x="73846" y="9908"/>
                    <a:pt x="73846" y="9908"/>
                  </a:cubicBezTo>
                  <a:cubicBezTo>
                    <a:pt x="73846" y="9908"/>
                    <a:pt x="74461" y="9908"/>
                    <a:pt x="75076" y="9908"/>
                  </a:cubicBezTo>
                  <a:cubicBezTo>
                    <a:pt x="75076" y="9908"/>
                    <a:pt x="75692" y="11009"/>
                    <a:pt x="75692" y="9908"/>
                  </a:cubicBezTo>
                  <a:cubicBezTo>
                    <a:pt x="75692" y="9908"/>
                    <a:pt x="76307" y="9908"/>
                    <a:pt x="76307" y="8807"/>
                  </a:cubicBezTo>
                  <a:cubicBezTo>
                    <a:pt x="76307" y="8807"/>
                    <a:pt x="76307" y="8807"/>
                    <a:pt x="76307" y="8807"/>
                  </a:cubicBezTo>
                  <a:cubicBezTo>
                    <a:pt x="76307" y="8807"/>
                    <a:pt x="76307" y="7706"/>
                    <a:pt x="76923" y="7706"/>
                  </a:cubicBezTo>
                  <a:cubicBezTo>
                    <a:pt x="77538" y="8807"/>
                    <a:pt x="76923" y="8807"/>
                    <a:pt x="77538" y="8807"/>
                  </a:cubicBezTo>
                  <a:cubicBezTo>
                    <a:pt x="77538" y="7706"/>
                    <a:pt x="78769" y="6605"/>
                    <a:pt x="78769" y="6605"/>
                  </a:cubicBezTo>
                  <a:cubicBezTo>
                    <a:pt x="78769" y="6605"/>
                    <a:pt x="78769" y="6605"/>
                    <a:pt x="79384" y="8807"/>
                  </a:cubicBezTo>
                  <a:cubicBezTo>
                    <a:pt x="79384" y="9908"/>
                    <a:pt x="80000" y="9908"/>
                    <a:pt x="80615" y="9908"/>
                  </a:cubicBezTo>
                  <a:cubicBezTo>
                    <a:pt x="80615" y="9908"/>
                    <a:pt x="80615" y="9908"/>
                    <a:pt x="80615" y="9908"/>
                  </a:cubicBezTo>
                  <a:cubicBezTo>
                    <a:pt x="80615" y="11009"/>
                    <a:pt x="81230" y="12110"/>
                    <a:pt x="81230" y="12110"/>
                  </a:cubicBezTo>
                  <a:cubicBezTo>
                    <a:pt x="81846" y="12110"/>
                    <a:pt x="81846" y="12110"/>
                    <a:pt x="81846" y="12110"/>
                  </a:cubicBezTo>
                  <a:cubicBezTo>
                    <a:pt x="82461" y="11009"/>
                    <a:pt x="82461" y="11009"/>
                    <a:pt x="82461" y="11009"/>
                  </a:cubicBezTo>
                  <a:cubicBezTo>
                    <a:pt x="82461" y="11009"/>
                    <a:pt x="82461" y="12110"/>
                    <a:pt x="83076" y="12110"/>
                  </a:cubicBezTo>
                  <a:cubicBezTo>
                    <a:pt x="83692" y="12110"/>
                    <a:pt x="84307" y="13211"/>
                    <a:pt x="84307" y="13211"/>
                  </a:cubicBezTo>
                  <a:cubicBezTo>
                    <a:pt x="84307" y="12110"/>
                    <a:pt x="84923" y="11009"/>
                    <a:pt x="84923" y="11009"/>
                  </a:cubicBezTo>
                  <a:cubicBezTo>
                    <a:pt x="84923" y="9908"/>
                    <a:pt x="84923" y="9908"/>
                    <a:pt x="85538" y="8807"/>
                  </a:cubicBezTo>
                  <a:cubicBezTo>
                    <a:pt x="85538" y="8807"/>
                    <a:pt x="87384" y="7706"/>
                    <a:pt x="87384" y="7706"/>
                  </a:cubicBezTo>
                  <a:cubicBezTo>
                    <a:pt x="87384" y="7706"/>
                    <a:pt x="86769" y="5504"/>
                    <a:pt x="86153" y="5504"/>
                  </a:cubicBezTo>
                  <a:cubicBezTo>
                    <a:pt x="86153" y="5504"/>
                    <a:pt x="85538" y="4403"/>
                    <a:pt x="86769" y="3302"/>
                  </a:cubicBezTo>
                  <a:cubicBezTo>
                    <a:pt x="87384" y="3302"/>
                    <a:pt x="88000" y="3302"/>
                    <a:pt x="88000" y="3302"/>
                  </a:cubicBezTo>
                  <a:cubicBezTo>
                    <a:pt x="89230" y="4403"/>
                    <a:pt x="89230" y="4403"/>
                    <a:pt x="89230" y="4403"/>
                  </a:cubicBezTo>
                  <a:cubicBezTo>
                    <a:pt x="89230" y="3302"/>
                    <a:pt x="89230" y="3302"/>
                    <a:pt x="89230" y="3302"/>
                  </a:cubicBezTo>
                  <a:cubicBezTo>
                    <a:pt x="89846" y="2201"/>
                    <a:pt x="89846" y="2201"/>
                    <a:pt x="89846" y="2201"/>
                  </a:cubicBezTo>
                  <a:cubicBezTo>
                    <a:pt x="89846" y="2201"/>
                    <a:pt x="90461" y="1100"/>
                    <a:pt x="90461" y="1100"/>
                  </a:cubicBezTo>
                  <a:cubicBezTo>
                    <a:pt x="90461" y="1100"/>
                    <a:pt x="91076" y="1100"/>
                    <a:pt x="91076" y="1100"/>
                  </a:cubicBezTo>
                  <a:cubicBezTo>
                    <a:pt x="91692" y="1100"/>
                    <a:pt x="92307" y="1100"/>
                    <a:pt x="92307" y="1100"/>
                  </a:cubicBezTo>
                  <a:cubicBezTo>
                    <a:pt x="92307" y="1100"/>
                    <a:pt x="92923" y="2201"/>
                    <a:pt x="92923" y="2201"/>
                  </a:cubicBezTo>
                  <a:cubicBezTo>
                    <a:pt x="93538" y="2201"/>
                    <a:pt x="94153" y="2201"/>
                    <a:pt x="94153" y="2201"/>
                  </a:cubicBezTo>
                  <a:cubicBezTo>
                    <a:pt x="94153" y="2201"/>
                    <a:pt x="94769" y="3302"/>
                    <a:pt x="94769" y="2201"/>
                  </a:cubicBezTo>
                  <a:cubicBezTo>
                    <a:pt x="95384" y="2201"/>
                    <a:pt x="95384" y="1100"/>
                    <a:pt x="95384" y="1100"/>
                  </a:cubicBezTo>
                  <a:cubicBezTo>
                    <a:pt x="95384" y="1100"/>
                    <a:pt x="97846" y="0"/>
                    <a:pt x="97846" y="0"/>
                  </a:cubicBezTo>
                  <a:cubicBezTo>
                    <a:pt x="97846" y="0"/>
                    <a:pt x="98461" y="0"/>
                    <a:pt x="98461" y="0"/>
                  </a:cubicBezTo>
                  <a:cubicBezTo>
                    <a:pt x="99076" y="1100"/>
                    <a:pt x="99692" y="1100"/>
                    <a:pt x="99692" y="1100"/>
                  </a:cubicBezTo>
                  <a:cubicBezTo>
                    <a:pt x="100307" y="1100"/>
                    <a:pt x="100923" y="2201"/>
                    <a:pt x="100923" y="2201"/>
                  </a:cubicBezTo>
                  <a:cubicBezTo>
                    <a:pt x="101538" y="3302"/>
                    <a:pt x="102153" y="3302"/>
                    <a:pt x="102153" y="3302"/>
                  </a:cubicBezTo>
                  <a:cubicBezTo>
                    <a:pt x="102153" y="3302"/>
                    <a:pt x="102153" y="1100"/>
                    <a:pt x="102153" y="1100"/>
                  </a:cubicBezTo>
                  <a:cubicBezTo>
                    <a:pt x="102769" y="1100"/>
                    <a:pt x="103384" y="1100"/>
                    <a:pt x="103384" y="1100"/>
                  </a:cubicBezTo>
                  <a:cubicBezTo>
                    <a:pt x="104000" y="2201"/>
                    <a:pt x="104000" y="2201"/>
                    <a:pt x="104000" y="2201"/>
                  </a:cubicBezTo>
                  <a:cubicBezTo>
                    <a:pt x="104000" y="2201"/>
                    <a:pt x="104615" y="3302"/>
                    <a:pt x="105230" y="3302"/>
                  </a:cubicBezTo>
                  <a:cubicBezTo>
                    <a:pt x="105230" y="3302"/>
                    <a:pt x="105846" y="2201"/>
                    <a:pt x="105846" y="2201"/>
                  </a:cubicBezTo>
                  <a:cubicBezTo>
                    <a:pt x="105846" y="3302"/>
                    <a:pt x="106461" y="3302"/>
                    <a:pt x="106461" y="4403"/>
                  </a:cubicBezTo>
                  <a:cubicBezTo>
                    <a:pt x="106461" y="4403"/>
                    <a:pt x="107076" y="5504"/>
                    <a:pt x="107076" y="5504"/>
                  </a:cubicBezTo>
                  <a:cubicBezTo>
                    <a:pt x="107076" y="6605"/>
                    <a:pt x="107692" y="6605"/>
                    <a:pt x="107692" y="6605"/>
                  </a:cubicBezTo>
                  <a:cubicBezTo>
                    <a:pt x="107692" y="7706"/>
                    <a:pt x="107692" y="8807"/>
                    <a:pt x="107692" y="8807"/>
                  </a:cubicBezTo>
                  <a:cubicBezTo>
                    <a:pt x="107692" y="8807"/>
                    <a:pt x="107692" y="8807"/>
                    <a:pt x="107692" y="9908"/>
                  </a:cubicBezTo>
                  <a:cubicBezTo>
                    <a:pt x="108307" y="9908"/>
                    <a:pt x="110153" y="9908"/>
                    <a:pt x="110153" y="9908"/>
                  </a:cubicBezTo>
                  <a:cubicBezTo>
                    <a:pt x="110153" y="9908"/>
                    <a:pt x="110769" y="9908"/>
                    <a:pt x="110769" y="11009"/>
                  </a:cubicBezTo>
                  <a:cubicBezTo>
                    <a:pt x="110769" y="11009"/>
                    <a:pt x="112000" y="11009"/>
                    <a:pt x="112000" y="11009"/>
                  </a:cubicBezTo>
                  <a:cubicBezTo>
                    <a:pt x="112000" y="11009"/>
                    <a:pt x="112615" y="9908"/>
                    <a:pt x="112615" y="11009"/>
                  </a:cubicBezTo>
                  <a:cubicBezTo>
                    <a:pt x="112615" y="11009"/>
                    <a:pt x="112615" y="12110"/>
                    <a:pt x="112615" y="12110"/>
                  </a:cubicBezTo>
                  <a:cubicBezTo>
                    <a:pt x="113846" y="12110"/>
                    <a:pt x="113846" y="12110"/>
                    <a:pt x="113846" y="12110"/>
                  </a:cubicBezTo>
                  <a:cubicBezTo>
                    <a:pt x="114461" y="12110"/>
                    <a:pt x="114461" y="12110"/>
                    <a:pt x="114461" y="12110"/>
                  </a:cubicBezTo>
                  <a:cubicBezTo>
                    <a:pt x="114461" y="12110"/>
                    <a:pt x="115076" y="11009"/>
                    <a:pt x="115076" y="12110"/>
                  </a:cubicBezTo>
                  <a:cubicBezTo>
                    <a:pt x="115076" y="12110"/>
                    <a:pt x="115692" y="12110"/>
                    <a:pt x="115692" y="12110"/>
                  </a:cubicBezTo>
                  <a:cubicBezTo>
                    <a:pt x="115692" y="12110"/>
                    <a:pt x="116923" y="13211"/>
                    <a:pt x="116923" y="13211"/>
                  </a:cubicBezTo>
                  <a:cubicBezTo>
                    <a:pt x="116923" y="13211"/>
                    <a:pt x="117538" y="13211"/>
                    <a:pt x="118153" y="13211"/>
                  </a:cubicBezTo>
                  <a:cubicBezTo>
                    <a:pt x="118153" y="13211"/>
                    <a:pt x="120000" y="13211"/>
                    <a:pt x="120000" y="13211"/>
                  </a:cubicBezTo>
                  <a:cubicBezTo>
                    <a:pt x="120000" y="13211"/>
                    <a:pt x="120000" y="14311"/>
                    <a:pt x="120000" y="15412"/>
                  </a:cubicBezTo>
                  <a:cubicBezTo>
                    <a:pt x="120000" y="15412"/>
                    <a:pt x="120000" y="17614"/>
                    <a:pt x="120000" y="17614"/>
                  </a:cubicBezTo>
                  <a:cubicBezTo>
                    <a:pt x="120000" y="17614"/>
                    <a:pt x="119384" y="18715"/>
                    <a:pt x="119384" y="19816"/>
                  </a:cubicBezTo>
                  <a:cubicBezTo>
                    <a:pt x="118769" y="19816"/>
                    <a:pt x="118769" y="22018"/>
                    <a:pt x="118769" y="22018"/>
                  </a:cubicBezTo>
                  <a:cubicBezTo>
                    <a:pt x="118769" y="22018"/>
                    <a:pt x="118769" y="23119"/>
                    <a:pt x="118769" y="23119"/>
                  </a:cubicBezTo>
                  <a:cubicBezTo>
                    <a:pt x="118769" y="23119"/>
                    <a:pt x="118769" y="25321"/>
                    <a:pt x="118769" y="25321"/>
                  </a:cubicBezTo>
                  <a:cubicBezTo>
                    <a:pt x="118153" y="27522"/>
                    <a:pt x="118153" y="27522"/>
                    <a:pt x="118153" y="27522"/>
                  </a:cubicBezTo>
                  <a:cubicBezTo>
                    <a:pt x="118153" y="27522"/>
                    <a:pt x="117538" y="28623"/>
                    <a:pt x="118153" y="29724"/>
                  </a:cubicBezTo>
                  <a:cubicBezTo>
                    <a:pt x="118153" y="29724"/>
                    <a:pt x="118153" y="30825"/>
                    <a:pt x="118153" y="30825"/>
                  </a:cubicBezTo>
                  <a:cubicBezTo>
                    <a:pt x="118769" y="31926"/>
                    <a:pt x="118769" y="31926"/>
                    <a:pt x="118769" y="31926"/>
                  </a:cubicBezTo>
                  <a:cubicBezTo>
                    <a:pt x="117538" y="34128"/>
                    <a:pt x="117538" y="34128"/>
                    <a:pt x="117538" y="34128"/>
                  </a:cubicBezTo>
                  <a:cubicBezTo>
                    <a:pt x="117538" y="36330"/>
                    <a:pt x="117538" y="36330"/>
                    <a:pt x="117538" y="36330"/>
                  </a:cubicBezTo>
                  <a:cubicBezTo>
                    <a:pt x="117538" y="36330"/>
                    <a:pt x="118153" y="37431"/>
                    <a:pt x="117538" y="38532"/>
                  </a:cubicBezTo>
                  <a:cubicBezTo>
                    <a:pt x="117538" y="38532"/>
                    <a:pt x="116923" y="39633"/>
                    <a:pt x="116923" y="39633"/>
                  </a:cubicBezTo>
                  <a:cubicBezTo>
                    <a:pt x="116923" y="39633"/>
                    <a:pt x="115692" y="41834"/>
                    <a:pt x="115692" y="41834"/>
                  </a:cubicBezTo>
                  <a:cubicBezTo>
                    <a:pt x="115692" y="41834"/>
                    <a:pt x="115692" y="42935"/>
                    <a:pt x="115692" y="42935"/>
                  </a:cubicBezTo>
                  <a:cubicBezTo>
                    <a:pt x="115692" y="42935"/>
                    <a:pt x="115076" y="45137"/>
                    <a:pt x="115076" y="45137"/>
                  </a:cubicBezTo>
                  <a:cubicBezTo>
                    <a:pt x="115076" y="45137"/>
                    <a:pt x="115076" y="48440"/>
                    <a:pt x="115076" y="48440"/>
                  </a:cubicBezTo>
                  <a:cubicBezTo>
                    <a:pt x="115076" y="48440"/>
                    <a:pt x="115692" y="49541"/>
                    <a:pt x="115692" y="49541"/>
                  </a:cubicBezTo>
                  <a:cubicBezTo>
                    <a:pt x="115692" y="49541"/>
                    <a:pt x="115692" y="50642"/>
                    <a:pt x="115692" y="51743"/>
                  </a:cubicBezTo>
                  <a:cubicBezTo>
                    <a:pt x="115076" y="51743"/>
                    <a:pt x="115692" y="52844"/>
                    <a:pt x="115692" y="53944"/>
                  </a:cubicBezTo>
                  <a:cubicBezTo>
                    <a:pt x="115692" y="53944"/>
                    <a:pt x="115692" y="55045"/>
                    <a:pt x="115692" y="55045"/>
                  </a:cubicBezTo>
                  <a:cubicBezTo>
                    <a:pt x="115076" y="57247"/>
                    <a:pt x="115076" y="57247"/>
                    <a:pt x="115076" y="57247"/>
                  </a:cubicBezTo>
                  <a:cubicBezTo>
                    <a:pt x="114461" y="57247"/>
                    <a:pt x="114461" y="57247"/>
                    <a:pt x="114461" y="57247"/>
                  </a:cubicBezTo>
                  <a:cubicBezTo>
                    <a:pt x="115076" y="60550"/>
                    <a:pt x="115076" y="60550"/>
                    <a:pt x="115076" y="60550"/>
                  </a:cubicBezTo>
                  <a:cubicBezTo>
                    <a:pt x="113846" y="62752"/>
                    <a:pt x="113846" y="62752"/>
                    <a:pt x="113846" y="62752"/>
                  </a:cubicBezTo>
                  <a:cubicBezTo>
                    <a:pt x="108923" y="62752"/>
                    <a:pt x="108923" y="62752"/>
                    <a:pt x="108923" y="62752"/>
                  </a:cubicBezTo>
                  <a:cubicBezTo>
                    <a:pt x="104000" y="53944"/>
                    <a:pt x="104000" y="53944"/>
                    <a:pt x="104000" y="53944"/>
                  </a:cubicBezTo>
                  <a:cubicBezTo>
                    <a:pt x="100307" y="52844"/>
                    <a:pt x="100307" y="52844"/>
                    <a:pt x="100307" y="52844"/>
                  </a:cubicBezTo>
                  <a:cubicBezTo>
                    <a:pt x="97230" y="57247"/>
                    <a:pt x="97230" y="57247"/>
                    <a:pt x="97230" y="57247"/>
                  </a:cubicBezTo>
                  <a:cubicBezTo>
                    <a:pt x="92923" y="58348"/>
                    <a:pt x="92923" y="58348"/>
                    <a:pt x="92923" y="58348"/>
                  </a:cubicBezTo>
                  <a:cubicBezTo>
                    <a:pt x="89846" y="55045"/>
                    <a:pt x="89846" y="55045"/>
                    <a:pt x="89846" y="55045"/>
                  </a:cubicBezTo>
                  <a:cubicBezTo>
                    <a:pt x="81230" y="59449"/>
                    <a:pt x="81230" y="59449"/>
                    <a:pt x="81230" y="59449"/>
                  </a:cubicBezTo>
                  <a:cubicBezTo>
                    <a:pt x="80615" y="62752"/>
                    <a:pt x="80615" y="62752"/>
                    <a:pt x="80615" y="62752"/>
                  </a:cubicBezTo>
                  <a:cubicBezTo>
                    <a:pt x="79384" y="70458"/>
                    <a:pt x="79384" y="70458"/>
                    <a:pt x="79384" y="70458"/>
                  </a:cubicBezTo>
                  <a:cubicBezTo>
                    <a:pt x="77538" y="77064"/>
                    <a:pt x="77538" y="77064"/>
                    <a:pt x="77538" y="77064"/>
                  </a:cubicBezTo>
                  <a:cubicBezTo>
                    <a:pt x="75076" y="79266"/>
                    <a:pt x="75076" y="79266"/>
                    <a:pt x="75076" y="79266"/>
                  </a:cubicBezTo>
                  <a:cubicBezTo>
                    <a:pt x="73230" y="81467"/>
                    <a:pt x="73230" y="81467"/>
                    <a:pt x="73230" y="81467"/>
                  </a:cubicBezTo>
                  <a:cubicBezTo>
                    <a:pt x="71384" y="85871"/>
                    <a:pt x="71384" y="85871"/>
                    <a:pt x="71384" y="85871"/>
                  </a:cubicBezTo>
                  <a:cubicBezTo>
                    <a:pt x="67692" y="85871"/>
                    <a:pt x="67692" y="85871"/>
                    <a:pt x="67692" y="85871"/>
                  </a:cubicBezTo>
                  <a:cubicBezTo>
                    <a:pt x="65230" y="84770"/>
                    <a:pt x="65230" y="84770"/>
                    <a:pt x="65230" y="84770"/>
                  </a:cubicBezTo>
                  <a:cubicBezTo>
                    <a:pt x="61538" y="85871"/>
                    <a:pt x="61538" y="85871"/>
                    <a:pt x="61538" y="85871"/>
                  </a:cubicBezTo>
                  <a:cubicBezTo>
                    <a:pt x="60307" y="92477"/>
                    <a:pt x="60307" y="92477"/>
                    <a:pt x="60307" y="92477"/>
                  </a:cubicBezTo>
                  <a:cubicBezTo>
                    <a:pt x="57846" y="93577"/>
                    <a:pt x="57846" y="93577"/>
                    <a:pt x="57846" y="93577"/>
                  </a:cubicBezTo>
                  <a:cubicBezTo>
                    <a:pt x="53538" y="94678"/>
                    <a:pt x="53538" y="94678"/>
                    <a:pt x="53538" y="94678"/>
                  </a:cubicBezTo>
                  <a:cubicBezTo>
                    <a:pt x="48000" y="97981"/>
                    <a:pt x="48000" y="97981"/>
                    <a:pt x="48000" y="97981"/>
                  </a:cubicBezTo>
                  <a:cubicBezTo>
                    <a:pt x="44923" y="103486"/>
                    <a:pt x="44923" y="103486"/>
                    <a:pt x="44923" y="103486"/>
                  </a:cubicBezTo>
                  <a:cubicBezTo>
                    <a:pt x="44923" y="105688"/>
                    <a:pt x="44923" y="105688"/>
                    <a:pt x="44923" y="105688"/>
                  </a:cubicBezTo>
                  <a:cubicBezTo>
                    <a:pt x="44923" y="105688"/>
                    <a:pt x="47384" y="108990"/>
                    <a:pt x="48615" y="110091"/>
                  </a:cubicBezTo>
                  <a:cubicBezTo>
                    <a:pt x="49846" y="112293"/>
                    <a:pt x="46153" y="113394"/>
                    <a:pt x="45538" y="114495"/>
                  </a:cubicBezTo>
                  <a:cubicBezTo>
                    <a:pt x="44923" y="115596"/>
                    <a:pt x="39384" y="116697"/>
                    <a:pt x="39384" y="116697"/>
                  </a:cubicBezTo>
                  <a:cubicBezTo>
                    <a:pt x="28923" y="117798"/>
                    <a:pt x="28923" y="117798"/>
                    <a:pt x="28923" y="117798"/>
                  </a:cubicBezTo>
                  <a:cubicBezTo>
                    <a:pt x="23384" y="120000"/>
                    <a:pt x="23384" y="120000"/>
                    <a:pt x="23384" y="120000"/>
                  </a:cubicBezTo>
                  <a:cubicBezTo>
                    <a:pt x="20923" y="117798"/>
                    <a:pt x="20923" y="117798"/>
                    <a:pt x="20923" y="117798"/>
                  </a:cubicBezTo>
                  <a:cubicBezTo>
                    <a:pt x="16615" y="113394"/>
                    <a:pt x="16615" y="113394"/>
                    <a:pt x="16615" y="113394"/>
                  </a:cubicBezTo>
                  <a:cubicBezTo>
                    <a:pt x="13538" y="107889"/>
                    <a:pt x="13538" y="107889"/>
                    <a:pt x="13538" y="107889"/>
                  </a:cubicBezTo>
                  <a:cubicBezTo>
                    <a:pt x="13538" y="107889"/>
                    <a:pt x="13538" y="107889"/>
                    <a:pt x="13538" y="107889"/>
                  </a:cubicBezTo>
                  <a:cubicBezTo>
                    <a:pt x="8615" y="106788"/>
                    <a:pt x="8615" y="106788"/>
                    <a:pt x="8615" y="106788"/>
                  </a:cubicBezTo>
                  <a:cubicBezTo>
                    <a:pt x="8615" y="107889"/>
                    <a:pt x="8615" y="107889"/>
                    <a:pt x="8615" y="107889"/>
                  </a:cubicBezTo>
                  <a:cubicBezTo>
                    <a:pt x="8615" y="112293"/>
                    <a:pt x="8615" y="112293"/>
                    <a:pt x="8615" y="112293"/>
                  </a:cubicBezTo>
                  <a:cubicBezTo>
                    <a:pt x="6769" y="116697"/>
                    <a:pt x="6769" y="116697"/>
                    <a:pt x="6769" y="116697"/>
                  </a:cubicBezTo>
                  <a:cubicBezTo>
                    <a:pt x="5538" y="113394"/>
                    <a:pt x="4923" y="107889"/>
                    <a:pt x="3692" y="102385"/>
                  </a:cubicBezTo>
                  <a:cubicBezTo>
                    <a:pt x="3692" y="102385"/>
                    <a:pt x="3692" y="101284"/>
                    <a:pt x="3076" y="100183"/>
                  </a:cubicBezTo>
                  <a:cubicBezTo>
                    <a:pt x="3076" y="99082"/>
                    <a:pt x="2461" y="96880"/>
                    <a:pt x="2461" y="96880"/>
                  </a:cubicBezTo>
                  <a:cubicBezTo>
                    <a:pt x="2461" y="96880"/>
                    <a:pt x="2461" y="96880"/>
                    <a:pt x="2461" y="96880"/>
                  </a:cubicBezTo>
                  <a:cubicBezTo>
                    <a:pt x="1846" y="95779"/>
                    <a:pt x="1230" y="94678"/>
                    <a:pt x="1230" y="94678"/>
                  </a:cubicBezTo>
                  <a:cubicBezTo>
                    <a:pt x="1230" y="94678"/>
                    <a:pt x="1230" y="93577"/>
                    <a:pt x="1230" y="93577"/>
                  </a:cubicBezTo>
                  <a:cubicBezTo>
                    <a:pt x="615" y="93577"/>
                    <a:pt x="0" y="92477"/>
                    <a:pt x="0" y="92477"/>
                  </a:cubicBezTo>
                  <a:cubicBezTo>
                    <a:pt x="0" y="92477"/>
                    <a:pt x="0" y="89174"/>
                    <a:pt x="0" y="89174"/>
                  </a:cubicBezTo>
                  <a:cubicBezTo>
                    <a:pt x="0" y="86972"/>
                    <a:pt x="0" y="86972"/>
                    <a:pt x="0" y="86972"/>
                  </a:cubicBezTo>
                  <a:cubicBezTo>
                    <a:pt x="1230" y="84770"/>
                    <a:pt x="1230" y="84770"/>
                    <a:pt x="1230" y="84770"/>
                  </a:cubicBezTo>
                  <a:cubicBezTo>
                    <a:pt x="1230" y="84770"/>
                    <a:pt x="1230" y="82568"/>
                    <a:pt x="1230" y="82568"/>
                  </a:cubicBezTo>
                  <a:cubicBezTo>
                    <a:pt x="1230" y="82568"/>
                    <a:pt x="1846" y="80366"/>
                    <a:pt x="1846" y="80366"/>
                  </a:cubicBezTo>
                  <a:cubicBezTo>
                    <a:pt x="1230" y="79266"/>
                    <a:pt x="1230" y="79266"/>
                    <a:pt x="1230" y="79266"/>
                  </a:cubicBezTo>
                  <a:cubicBezTo>
                    <a:pt x="1230" y="75963"/>
                    <a:pt x="1230" y="75963"/>
                    <a:pt x="1230" y="75963"/>
                  </a:cubicBezTo>
                  <a:cubicBezTo>
                    <a:pt x="1846" y="74862"/>
                    <a:pt x="1846" y="74862"/>
                    <a:pt x="1846" y="74862"/>
                  </a:cubicBezTo>
                  <a:cubicBezTo>
                    <a:pt x="1846" y="72660"/>
                    <a:pt x="1846" y="72660"/>
                    <a:pt x="1846" y="72660"/>
                  </a:cubicBezTo>
                  <a:cubicBezTo>
                    <a:pt x="1846" y="72660"/>
                    <a:pt x="1846" y="71559"/>
                    <a:pt x="1846" y="71559"/>
                  </a:cubicBezTo>
                  <a:cubicBezTo>
                    <a:pt x="2461" y="71559"/>
                    <a:pt x="2461" y="68256"/>
                    <a:pt x="2461" y="68256"/>
                  </a:cubicBezTo>
                  <a:cubicBezTo>
                    <a:pt x="2461" y="68256"/>
                    <a:pt x="3076" y="66055"/>
                    <a:pt x="3076" y="66055"/>
                  </a:cubicBezTo>
                  <a:cubicBezTo>
                    <a:pt x="3692" y="66055"/>
                    <a:pt x="3692" y="64954"/>
                    <a:pt x="3692" y="64954"/>
                  </a:cubicBezTo>
                  <a:cubicBezTo>
                    <a:pt x="3692" y="63853"/>
                    <a:pt x="3692" y="62752"/>
                    <a:pt x="3692" y="62752"/>
                  </a:cubicBezTo>
                  <a:cubicBezTo>
                    <a:pt x="4923" y="61651"/>
                    <a:pt x="4923" y="61651"/>
                    <a:pt x="4923" y="61651"/>
                  </a:cubicBezTo>
                  <a:cubicBezTo>
                    <a:pt x="4923" y="61651"/>
                    <a:pt x="5538" y="60550"/>
                    <a:pt x="5538" y="60550"/>
                  </a:cubicBezTo>
                  <a:cubicBezTo>
                    <a:pt x="5538" y="60550"/>
                    <a:pt x="6153" y="60550"/>
                    <a:pt x="6769" y="60550"/>
                  </a:cubicBezTo>
                  <a:cubicBezTo>
                    <a:pt x="6769" y="60550"/>
                    <a:pt x="7384" y="60550"/>
                    <a:pt x="8000" y="60550"/>
                  </a:cubicBezTo>
                  <a:cubicBezTo>
                    <a:pt x="8000" y="60550"/>
                    <a:pt x="8000" y="61651"/>
                    <a:pt x="8615" y="61651"/>
                  </a:cubicBezTo>
                  <a:cubicBezTo>
                    <a:pt x="9230" y="61651"/>
                    <a:pt x="9846" y="62752"/>
                    <a:pt x="9846" y="62752"/>
                  </a:cubicBezTo>
                  <a:cubicBezTo>
                    <a:pt x="10461" y="61651"/>
                    <a:pt x="10461" y="61651"/>
                    <a:pt x="10461" y="61651"/>
                  </a:cubicBezTo>
                  <a:cubicBezTo>
                    <a:pt x="11076" y="61651"/>
                    <a:pt x="11076" y="60550"/>
                    <a:pt x="11076" y="60550"/>
                  </a:cubicBezTo>
                  <a:cubicBezTo>
                    <a:pt x="11692" y="60550"/>
                    <a:pt x="12923" y="61651"/>
                    <a:pt x="12923" y="61651"/>
                  </a:cubicBezTo>
                  <a:cubicBezTo>
                    <a:pt x="12923" y="61651"/>
                    <a:pt x="13538" y="62752"/>
                    <a:pt x="13538" y="61651"/>
                  </a:cubicBezTo>
                  <a:cubicBezTo>
                    <a:pt x="14153" y="61651"/>
                    <a:pt x="14769" y="60550"/>
                    <a:pt x="14769" y="60550"/>
                  </a:cubicBezTo>
                  <a:cubicBezTo>
                    <a:pt x="16000" y="59449"/>
                    <a:pt x="16000" y="59449"/>
                    <a:pt x="16000" y="59449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9" name="Shape 2020"/>
            <p:cNvSpPr/>
            <p:nvPr/>
          </p:nvSpPr>
          <p:spPr>
            <a:xfrm>
              <a:off x="5320612" y="3211660"/>
              <a:ext cx="266061" cy="1949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30" y="65454"/>
                  </a:moveTo>
                  <a:cubicBezTo>
                    <a:pt x="7179" y="64090"/>
                    <a:pt x="7179" y="64090"/>
                    <a:pt x="7179" y="64090"/>
                  </a:cubicBezTo>
                  <a:cubicBezTo>
                    <a:pt x="5128" y="62727"/>
                    <a:pt x="5128" y="62727"/>
                    <a:pt x="5128" y="62727"/>
                  </a:cubicBezTo>
                  <a:cubicBezTo>
                    <a:pt x="2051" y="62727"/>
                    <a:pt x="2051" y="62727"/>
                    <a:pt x="2051" y="62727"/>
                  </a:cubicBezTo>
                  <a:cubicBezTo>
                    <a:pt x="0" y="60000"/>
                    <a:pt x="0" y="60000"/>
                    <a:pt x="0" y="60000"/>
                  </a:cubicBezTo>
                  <a:cubicBezTo>
                    <a:pt x="1025" y="57272"/>
                    <a:pt x="1025" y="57272"/>
                    <a:pt x="1025" y="57272"/>
                  </a:cubicBezTo>
                  <a:cubicBezTo>
                    <a:pt x="1025" y="54545"/>
                    <a:pt x="1025" y="54545"/>
                    <a:pt x="1025" y="54545"/>
                  </a:cubicBezTo>
                  <a:cubicBezTo>
                    <a:pt x="1025" y="54545"/>
                    <a:pt x="3076" y="51818"/>
                    <a:pt x="3076" y="51818"/>
                  </a:cubicBezTo>
                  <a:cubicBezTo>
                    <a:pt x="4102" y="50454"/>
                    <a:pt x="6153" y="49090"/>
                    <a:pt x="6153" y="49090"/>
                  </a:cubicBezTo>
                  <a:cubicBezTo>
                    <a:pt x="7179" y="46363"/>
                    <a:pt x="7179" y="46363"/>
                    <a:pt x="7179" y="46363"/>
                  </a:cubicBezTo>
                  <a:cubicBezTo>
                    <a:pt x="7179" y="46363"/>
                    <a:pt x="8205" y="45000"/>
                    <a:pt x="9230" y="45000"/>
                  </a:cubicBezTo>
                  <a:cubicBezTo>
                    <a:pt x="10256" y="45000"/>
                    <a:pt x="10256" y="46363"/>
                    <a:pt x="10256" y="45000"/>
                  </a:cubicBezTo>
                  <a:cubicBezTo>
                    <a:pt x="11282" y="45000"/>
                    <a:pt x="11282" y="39545"/>
                    <a:pt x="11282" y="39545"/>
                  </a:cubicBezTo>
                  <a:cubicBezTo>
                    <a:pt x="11282" y="36818"/>
                    <a:pt x="11282" y="36818"/>
                    <a:pt x="11282" y="36818"/>
                  </a:cubicBezTo>
                  <a:cubicBezTo>
                    <a:pt x="13333" y="36818"/>
                    <a:pt x="13333" y="36818"/>
                    <a:pt x="13333" y="36818"/>
                  </a:cubicBezTo>
                  <a:cubicBezTo>
                    <a:pt x="22564" y="40909"/>
                    <a:pt x="22564" y="40909"/>
                    <a:pt x="22564" y="40909"/>
                  </a:cubicBezTo>
                  <a:cubicBezTo>
                    <a:pt x="32820" y="42272"/>
                    <a:pt x="32820" y="42272"/>
                    <a:pt x="32820" y="42272"/>
                  </a:cubicBezTo>
                  <a:cubicBezTo>
                    <a:pt x="42051" y="42272"/>
                    <a:pt x="42051" y="42272"/>
                    <a:pt x="42051" y="42272"/>
                  </a:cubicBezTo>
                  <a:cubicBezTo>
                    <a:pt x="44102" y="42272"/>
                    <a:pt x="44102" y="42272"/>
                    <a:pt x="44102" y="42272"/>
                  </a:cubicBezTo>
                  <a:cubicBezTo>
                    <a:pt x="47179" y="39545"/>
                    <a:pt x="47179" y="39545"/>
                    <a:pt x="47179" y="39545"/>
                  </a:cubicBezTo>
                  <a:cubicBezTo>
                    <a:pt x="49230" y="35454"/>
                    <a:pt x="49230" y="35454"/>
                    <a:pt x="49230" y="35454"/>
                  </a:cubicBezTo>
                  <a:cubicBezTo>
                    <a:pt x="53333" y="34090"/>
                    <a:pt x="53333" y="34090"/>
                    <a:pt x="53333" y="34090"/>
                  </a:cubicBezTo>
                  <a:cubicBezTo>
                    <a:pt x="54358" y="31363"/>
                    <a:pt x="54358" y="31363"/>
                    <a:pt x="54358" y="31363"/>
                  </a:cubicBezTo>
                  <a:cubicBezTo>
                    <a:pt x="56410" y="25909"/>
                    <a:pt x="56410" y="25909"/>
                    <a:pt x="56410" y="25909"/>
                  </a:cubicBezTo>
                  <a:cubicBezTo>
                    <a:pt x="59487" y="23181"/>
                    <a:pt x="59487" y="23181"/>
                    <a:pt x="59487" y="23181"/>
                  </a:cubicBezTo>
                  <a:cubicBezTo>
                    <a:pt x="65641" y="23181"/>
                    <a:pt x="65641" y="23181"/>
                    <a:pt x="65641" y="23181"/>
                  </a:cubicBezTo>
                  <a:cubicBezTo>
                    <a:pt x="72820" y="20454"/>
                    <a:pt x="72820" y="20454"/>
                    <a:pt x="72820" y="20454"/>
                  </a:cubicBezTo>
                  <a:cubicBezTo>
                    <a:pt x="77948" y="23181"/>
                    <a:pt x="77948" y="23181"/>
                    <a:pt x="77948" y="23181"/>
                  </a:cubicBezTo>
                  <a:cubicBezTo>
                    <a:pt x="84102" y="17727"/>
                    <a:pt x="84102" y="17727"/>
                    <a:pt x="84102" y="17727"/>
                  </a:cubicBezTo>
                  <a:cubicBezTo>
                    <a:pt x="87179" y="16363"/>
                    <a:pt x="87179" y="16363"/>
                    <a:pt x="87179" y="16363"/>
                  </a:cubicBezTo>
                  <a:cubicBezTo>
                    <a:pt x="92307" y="13636"/>
                    <a:pt x="92307" y="13636"/>
                    <a:pt x="92307" y="13636"/>
                  </a:cubicBezTo>
                  <a:cubicBezTo>
                    <a:pt x="98461" y="19090"/>
                    <a:pt x="98461" y="19090"/>
                    <a:pt x="98461" y="19090"/>
                  </a:cubicBezTo>
                  <a:cubicBezTo>
                    <a:pt x="97435" y="10909"/>
                    <a:pt x="97435" y="10909"/>
                    <a:pt x="97435" y="10909"/>
                  </a:cubicBezTo>
                  <a:cubicBezTo>
                    <a:pt x="98461" y="5454"/>
                    <a:pt x="98461" y="5454"/>
                    <a:pt x="98461" y="5454"/>
                  </a:cubicBezTo>
                  <a:cubicBezTo>
                    <a:pt x="102564" y="2727"/>
                    <a:pt x="102564" y="2727"/>
                    <a:pt x="102564" y="2727"/>
                  </a:cubicBezTo>
                  <a:cubicBezTo>
                    <a:pt x="103589" y="2727"/>
                    <a:pt x="103589" y="2727"/>
                    <a:pt x="103589" y="2727"/>
                  </a:cubicBezTo>
                  <a:cubicBezTo>
                    <a:pt x="103589" y="2727"/>
                    <a:pt x="103589" y="2727"/>
                    <a:pt x="103589" y="2727"/>
                  </a:cubicBezTo>
                  <a:cubicBezTo>
                    <a:pt x="107692" y="0"/>
                    <a:pt x="107692" y="0"/>
                    <a:pt x="107692" y="0"/>
                  </a:cubicBezTo>
                  <a:cubicBezTo>
                    <a:pt x="109743" y="2727"/>
                    <a:pt x="109743" y="2727"/>
                    <a:pt x="109743" y="2727"/>
                  </a:cubicBezTo>
                  <a:cubicBezTo>
                    <a:pt x="110769" y="5454"/>
                    <a:pt x="110769" y="5454"/>
                    <a:pt x="110769" y="5454"/>
                  </a:cubicBezTo>
                  <a:cubicBezTo>
                    <a:pt x="110769" y="5454"/>
                    <a:pt x="110769" y="5454"/>
                    <a:pt x="110769" y="5454"/>
                  </a:cubicBezTo>
                  <a:cubicBezTo>
                    <a:pt x="110769" y="5454"/>
                    <a:pt x="110769" y="5454"/>
                    <a:pt x="110769" y="6818"/>
                  </a:cubicBezTo>
                  <a:cubicBezTo>
                    <a:pt x="110769" y="6818"/>
                    <a:pt x="110769" y="6818"/>
                    <a:pt x="110769" y="6818"/>
                  </a:cubicBezTo>
                  <a:cubicBezTo>
                    <a:pt x="110769" y="8181"/>
                    <a:pt x="110769" y="8181"/>
                    <a:pt x="110769" y="8181"/>
                  </a:cubicBezTo>
                  <a:cubicBezTo>
                    <a:pt x="111794" y="9545"/>
                    <a:pt x="111794" y="9545"/>
                    <a:pt x="111794" y="9545"/>
                  </a:cubicBezTo>
                  <a:cubicBezTo>
                    <a:pt x="112820" y="10909"/>
                    <a:pt x="112820" y="10909"/>
                    <a:pt x="112820" y="10909"/>
                  </a:cubicBezTo>
                  <a:cubicBezTo>
                    <a:pt x="112820" y="10909"/>
                    <a:pt x="112820" y="10909"/>
                    <a:pt x="112820" y="10909"/>
                  </a:cubicBezTo>
                  <a:cubicBezTo>
                    <a:pt x="113846" y="13636"/>
                    <a:pt x="113846" y="13636"/>
                    <a:pt x="113846" y="13636"/>
                  </a:cubicBezTo>
                  <a:cubicBezTo>
                    <a:pt x="113846" y="16363"/>
                    <a:pt x="113846" y="16363"/>
                    <a:pt x="113846" y="16363"/>
                  </a:cubicBezTo>
                  <a:cubicBezTo>
                    <a:pt x="120000" y="25909"/>
                    <a:pt x="120000" y="25909"/>
                    <a:pt x="120000" y="25909"/>
                  </a:cubicBezTo>
                  <a:cubicBezTo>
                    <a:pt x="120000" y="25909"/>
                    <a:pt x="117948" y="25909"/>
                    <a:pt x="117948" y="25909"/>
                  </a:cubicBezTo>
                  <a:cubicBezTo>
                    <a:pt x="116923" y="25909"/>
                    <a:pt x="114871" y="25909"/>
                    <a:pt x="114871" y="25909"/>
                  </a:cubicBezTo>
                  <a:cubicBezTo>
                    <a:pt x="114871" y="25909"/>
                    <a:pt x="113846" y="27272"/>
                    <a:pt x="112820" y="27272"/>
                  </a:cubicBezTo>
                  <a:cubicBezTo>
                    <a:pt x="112820" y="27272"/>
                    <a:pt x="111794" y="30000"/>
                    <a:pt x="111794" y="30000"/>
                  </a:cubicBezTo>
                  <a:cubicBezTo>
                    <a:pt x="110769" y="31363"/>
                    <a:pt x="110769" y="31363"/>
                    <a:pt x="110769" y="31363"/>
                  </a:cubicBezTo>
                  <a:cubicBezTo>
                    <a:pt x="111794" y="32727"/>
                    <a:pt x="111794" y="32727"/>
                    <a:pt x="111794" y="32727"/>
                  </a:cubicBezTo>
                  <a:cubicBezTo>
                    <a:pt x="113846" y="38181"/>
                    <a:pt x="114871" y="38181"/>
                    <a:pt x="109743" y="36818"/>
                  </a:cubicBezTo>
                  <a:cubicBezTo>
                    <a:pt x="107692" y="35454"/>
                    <a:pt x="107692" y="35454"/>
                    <a:pt x="107692" y="35454"/>
                  </a:cubicBezTo>
                  <a:cubicBezTo>
                    <a:pt x="106666" y="36818"/>
                    <a:pt x="106666" y="36818"/>
                    <a:pt x="106666" y="36818"/>
                  </a:cubicBezTo>
                  <a:cubicBezTo>
                    <a:pt x="104615" y="38181"/>
                    <a:pt x="104615" y="38181"/>
                    <a:pt x="104615" y="38181"/>
                  </a:cubicBezTo>
                  <a:cubicBezTo>
                    <a:pt x="104615" y="38181"/>
                    <a:pt x="104615" y="38181"/>
                    <a:pt x="104615" y="38181"/>
                  </a:cubicBezTo>
                  <a:cubicBezTo>
                    <a:pt x="104615" y="38181"/>
                    <a:pt x="104615" y="40909"/>
                    <a:pt x="104615" y="40909"/>
                  </a:cubicBezTo>
                  <a:cubicBezTo>
                    <a:pt x="103589" y="43636"/>
                    <a:pt x="103589" y="43636"/>
                    <a:pt x="103589" y="43636"/>
                  </a:cubicBezTo>
                  <a:cubicBezTo>
                    <a:pt x="101538" y="45000"/>
                    <a:pt x="101538" y="45000"/>
                    <a:pt x="101538" y="45000"/>
                  </a:cubicBezTo>
                  <a:cubicBezTo>
                    <a:pt x="99487" y="46363"/>
                    <a:pt x="99487" y="46363"/>
                    <a:pt x="99487" y="46363"/>
                  </a:cubicBezTo>
                  <a:cubicBezTo>
                    <a:pt x="98461" y="47727"/>
                    <a:pt x="98461" y="47727"/>
                    <a:pt x="98461" y="47727"/>
                  </a:cubicBezTo>
                  <a:cubicBezTo>
                    <a:pt x="96410" y="47727"/>
                    <a:pt x="96410" y="47727"/>
                    <a:pt x="96410" y="47727"/>
                  </a:cubicBezTo>
                  <a:cubicBezTo>
                    <a:pt x="94358" y="49090"/>
                    <a:pt x="94358" y="49090"/>
                    <a:pt x="94358" y="49090"/>
                  </a:cubicBezTo>
                  <a:cubicBezTo>
                    <a:pt x="93333" y="51818"/>
                    <a:pt x="93333" y="51818"/>
                    <a:pt x="93333" y="51818"/>
                  </a:cubicBezTo>
                  <a:cubicBezTo>
                    <a:pt x="93333" y="51818"/>
                    <a:pt x="91282" y="51818"/>
                    <a:pt x="91282" y="51818"/>
                  </a:cubicBezTo>
                  <a:cubicBezTo>
                    <a:pt x="91282" y="51818"/>
                    <a:pt x="88205" y="53181"/>
                    <a:pt x="88205" y="53181"/>
                  </a:cubicBezTo>
                  <a:cubicBezTo>
                    <a:pt x="88205" y="55909"/>
                    <a:pt x="88205" y="55909"/>
                    <a:pt x="88205" y="55909"/>
                  </a:cubicBezTo>
                  <a:cubicBezTo>
                    <a:pt x="88205" y="55909"/>
                    <a:pt x="87179" y="57272"/>
                    <a:pt x="87179" y="57272"/>
                  </a:cubicBezTo>
                  <a:cubicBezTo>
                    <a:pt x="87179" y="57272"/>
                    <a:pt x="87179" y="61363"/>
                    <a:pt x="87179" y="61363"/>
                  </a:cubicBezTo>
                  <a:cubicBezTo>
                    <a:pt x="87179" y="61363"/>
                    <a:pt x="89230" y="62727"/>
                    <a:pt x="89230" y="62727"/>
                  </a:cubicBezTo>
                  <a:cubicBezTo>
                    <a:pt x="90256" y="64090"/>
                    <a:pt x="90256" y="64090"/>
                    <a:pt x="90256" y="64090"/>
                  </a:cubicBezTo>
                  <a:cubicBezTo>
                    <a:pt x="91282" y="65454"/>
                    <a:pt x="91282" y="65454"/>
                    <a:pt x="91282" y="65454"/>
                  </a:cubicBezTo>
                  <a:cubicBezTo>
                    <a:pt x="91282" y="65454"/>
                    <a:pt x="92307" y="66818"/>
                    <a:pt x="92307" y="66818"/>
                  </a:cubicBezTo>
                  <a:cubicBezTo>
                    <a:pt x="91282" y="66818"/>
                    <a:pt x="91282" y="70909"/>
                    <a:pt x="91282" y="70909"/>
                  </a:cubicBezTo>
                  <a:cubicBezTo>
                    <a:pt x="92307" y="75000"/>
                    <a:pt x="92307" y="75000"/>
                    <a:pt x="92307" y="75000"/>
                  </a:cubicBezTo>
                  <a:cubicBezTo>
                    <a:pt x="91282" y="76363"/>
                    <a:pt x="91282" y="76363"/>
                    <a:pt x="91282" y="76363"/>
                  </a:cubicBezTo>
                  <a:cubicBezTo>
                    <a:pt x="92307" y="79090"/>
                    <a:pt x="92307" y="79090"/>
                    <a:pt x="92307" y="79090"/>
                  </a:cubicBezTo>
                  <a:cubicBezTo>
                    <a:pt x="92307" y="79090"/>
                    <a:pt x="93333" y="79090"/>
                    <a:pt x="92307" y="80454"/>
                  </a:cubicBezTo>
                  <a:cubicBezTo>
                    <a:pt x="91282" y="80454"/>
                    <a:pt x="90256" y="81818"/>
                    <a:pt x="90256" y="81818"/>
                  </a:cubicBezTo>
                  <a:cubicBezTo>
                    <a:pt x="90256" y="81818"/>
                    <a:pt x="88205" y="81818"/>
                    <a:pt x="88205" y="81818"/>
                  </a:cubicBezTo>
                  <a:cubicBezTo>
                    <a:pt x="88205" y="81818"/>
                    <a:pt x="86153" y="81818"/>
                    <a:pt x="86153" y="81818"/>
                  </a:cubicBezTo>
                  <a:cubicBezTo>
                    <a:pt x="85128" y="84545"/>
                    <a:pt x="85128" y="84545"/>
                    <a:pt x="85128" y="84545"/>
                  </a:cubicBezTo>
                  <a:cubicBezTo>
                    <a:pt x="83076" y="83181"/>
                    <a:pt x="83076" y="83181"/>
                    <a:pt x="83076" y="83181"/>
                  </a:cubicBezTo>
                  <a:cubicBezTo>
                    <a:pt x="83076" y="85909"/>
                    <a:pt x="83076" y="85909"/>
                    <a:pt x="83076" y="85909"/>
                  </a:cubicBezTo>
                  <a:cubicBezTo>
                    <a:pt x="80000" y="87272"/>
                    <a:pt x="80000" y="87272"/>
                    <a:pt x="80000" y="87272"/>
                  </a:cubicBezTo>
                  <a:cubicBezTo>
                    <a:pt x="77948" y="88636"/>
                    <a:pt x="77948" y="88636"/>
                    <a:pt x="77948" y="88636"/>
                  </a:cubicBezTo>
                  <a:cubicBezTo>
                    <a:pt x="76923" y="91363"/>
                    <a:pt x="76923" y="91363"/>
                    <a:pt x="76923" y="91363"/>
                  </a:cubicBezTo>
                  <a:cubicBezTo>
                    <a:pt x="77948" y="92727"/>
                    <a:pt x="77948" y="92727"/>
                    <a:pt x="77948" y="92727"/>
                  </a:cubicBezTo>
                  <a:cubicBezTo>
                    <a:pt x="77948" y="92727"/>
                    <a:pt x="78974" y="94090"/>
                    <a:pt x="78974" y="92727"/>
                  </a:cubicBezTo>
                  <a:cubicBezTo>
                    <a:pt x="78974" y="92727"/>
                    <a:pt x="78974" y="91363"/>
                    <a:pt x="78974" y="91363"/>
                  </a:cubicBezTo>
                  <a:cubicBezTo>
                    <a:pt x="80000" y="92727"/>
                    <a:pt x="81025" y="94090"/>
                    <a:pt x="81025" y="94090"/>
                  </a:cubicBezTo>
                  <a:cubicBezTo>
                    <a:pt x="82051" y="96818"/>
                    <a:pt x="82051" y="96818"/>
                    <a:pt x="82051" y="96818"/>
                  </a:cubicBezTo>
                  <a:cubicBezTo>
                    <a:pt x="82051" y="96818"/>
                    <a:pt x="80000" y="96818"/>
                    <a:pt x="80000" y="96818"/>
                  </a:cubicBezTo>
                  <a:cubicBezTo>
                    <a:pt x="80000" y="96818"/>
                    <a:pt x="78974" y="98181"/>
                    <a:pt x="78974" y="98181"/>
                  </a:cubicBezTo>
                  <a:cubicBezTo>
                    <a:pt x="77948" y="99545"/>
                    <a:pt x="77948" y="99545"/>
                    <a:pt x="77948" y="99545"/>
                  </a:cubicBezTo>
                  <a:cubicBezTo>
                    <a:pt x="77948" y="100909"/>
                    <a:pt x="77948" y="100909"/>
                    <a:pt x="77948" y="102272"/>
                  </a:cubicBezTo>
                  <a:cubicBezTo>
                    <a:pt x="77948" y="102272"/>
                    <a:pt x="77948" y="103636"/>
                    <a:pt x="77948" y="103636"/>
                  </a:cubicBezTo>
                  <a:cubicBezTo>
                    <a:pt x="78974" y="103636"/>
                    <a:pt x="80000" y="106363"/>
                    <a:pt x="80000" y="106363"/>
                  </a:cubicBezTo>
                  <a:cubicBezTo>
                    <a:pt x="80000" y="106363"/>
                    <a:pt x="81025" y="107727"/>
                    <a:pt x="81025" y="107727"/>
                  </a:cubicBezTo>
                  <a:cubicBezTo>
                    <a:pt x="81025" y="107727"/>
                    <a:pt x="81025" y="109090"/>
                    <a:pt x="81025" y="109090"/>
                  </a:cubicBezTo>
                  <a:cubicBezTo>
                    <a:pt x="81025" y="109090"/>
                    <a:pt x="80000" y="110454"/>
                    <a:pt x="78974" y="110454"/>
                  </a:cubicBezTo>
                  <a:cubicBezTo>
                    <a:pt x="78974" y="110454"/>
                    <a:pt x="76923" y="110454"/>
                    <a:pt x="76923" y="110454"/>
                  </a:cubicBezTo>
                  <a:cubicBezTo>
                    <a:pt x="76923" y="110454"/>
                    <a:pt x="75897" y="113181"/>
                    <a:pt x="75897" y="113181"/>
                  </a:cubicBezTo>
                  <a:cubicBezTo>
                    <a:pt x="75897" y="113181"/>
                    <a:pt x="74871" y="113181"/>
                    <a:pt x="73846" y="113181"/>
                  </a:cubicBezTo>
                  <a:cubicBezTo>
                    <a:pt x="73846" y="113181"/>
                    <a:pt x="75897" y="114545"/>
                    <a:pt x="73846" y="113181"/>
                  </a:cubicBezTo>
                  <a:cubicBezTo>
                    <a:pt x="70769" y="111818"/>
                    <a:pt x="70769" y="110454"/>
                    <a:pt x="70769" y="110454"/>
                  </a:cubicBezTo>
                  <a:cubicBezTo>
                    <a:pt x="70769" y="110454"/>
                    <a:pt x="69743" y="109090"/>
                    <a:pt x="69743" y="109090"/>
                  </a:cubicBezTo>
                  <a:cubicBezTo>
                    <a:pt x="68717" y="109090"/>
                    <a:pt x="67692" y="109090"/>
                    <a:pt x="67692" y="109090"/>
                  </a:cubicBezTo>
                  <a:cubicBezTo>
                    <a:pt x="65641" y="109090"/>
                    <a:pt x="65641" y="109090"/>
                    <a:pt x="65641" y="109090"/>
                  </a:cubicBezTo>
                  <a:cubicBezTo>
                    <a:pt x="64615" y="107727"/>
                    <a:pt x="64615" y="107727"/>
                    <a:pt x="64615" y="107727"/>
                  </a:cubicBezTo>
                  <a:cubicBezTo>
                    <a:pt x="63589" y="110454"/>
                    <a:pt x="63589" y="110454"/>
                    <a:pt x="63589" y="110454"/>
                  </a:cubicBezTo>
                  <a:cubicBezTo>
                    <a:pt x="63589" y="110454"/>
                    <a:pt x="63589" y="111818"/>
                    <a:pt x="62564" y="111818"/>
                  </a:cubicBezTo>
                  <a:cubicBezTo>
                    <a:pt x="61538" y="113181"/>
                    <a:pt x="62564" y="113181"/>
                    <a:pt x="61538" y="113181"/>
                  </a:cubicBezTo>
                  <a:cubicBezTo>
                    <a:pt x="59487" y="113181"/>
                    <a:pt x="58461" y="110454"/>
                    <a:pt x="58461" y="110454"/>
                  </a:cubicBezTo>
                  <a:cubicBezTo>
                    <a:pt x="58461" y="110454"/>
                    <a:pt x="56410" y="109090"/>
                    <a:pt x="56410" y="109090"/>
                  </a:cubicBezTo>
                  <a:cubicBezTo>
                    <a:pt x="55384" y="107727"/>
                    <a:pt x="55384" y="107727"/>
                    <a:pt x="55384" y="107727"/>
                  </a:cubicBezTo>
                  <a:cubicBezTo>
                    <a:pt x="54358" y="107727"/>
                    <a:pt x="54358" y="109090"/>
                    <a:pt x="54358" y="106363"/>
                  </a:cubicBezTo>
                  <a:cubicBezTo>
                    <a:pt x="54358" y="105000"/>
                    <a:pt x="54358" y="105000"/>
                    <a:pt x="54358" y="105000"/>
                  </a:cubicBezTo>
                  <a:cubicBezTo>
                    <a:pt x="53333" y="103636"/>
                    <a:pt x="53333" y="105000"/>
                    <a:pt x="52307" y="103636"/>
                  </a:cubicBezTo>
                  <a:cubicBezTo>
                    <a:pt x="52307" y="102272"/>
                    <a:pt x="51282" y="100909"/>
                    <a:pt x="51282" y="100909"/>
                  </a:cubicBezTo>
                  <a:cubicBezTo>
                    <a:pt x="50256" y="98181"/>
                    <a:pt x="50256" y="98181"/>
                    <a:pt x="50256" y="98181"/>
                  </a:cubicBezTo>
                  <a:cubicBezTo>
                    <a:pt x="50256" y="98181"/>
                    <a:pt x="50256" y="98181"/>
                    <a:pt x="50256" y="99545"/>
                  </a:cubicBezTo>
                  <a:cubicBezTo>
                    <a:pt x="49230" y="100909"/>
                    <a:pt x="48205" y="100909"/>
                    <a:pt x="48205" y="100909"/>
                  </a:cubicBezTo>
                  <a:cubicBezTo>
                    <a:pt x="48205" y="102272"/>
                    <a:pt x="47179" y="103636"/>
                    <a:pt x="47179" y="103636"/>
                  </a:cubicBezTo>
                  <a:cubicBezTo>
                    <a:pt x="47179" y="103636"/>
                    <a:pt x="46153" y="105000"/>
                    <a:pt x="46153" y="106363"/>
                  </a:cubicBezTo>
                  <a:cubicBezTo>
                    <a:pt x="47179" y="106363"/>
                    <a:pt x="47179" y="106363"/>
                    <a:pt x="47179" y="107727"/>
                  </a:cubicBezTo>
                  <a:cubicBezTo>
                    <a:pt x="47179" y="107727"/>
                    <a:pt x="46153" y="109090"/>
                    <a:pt x="46153" y="109090"/>
                  </a:cubicBezTo>
                  <a:cubicBezTo>
                    <a:pt x="45128" y="110454"/>
                    <a:pt x="45128" y="110454"/>
                    <a:pt x="44102" y="110454"/>
                  </a:cubicBezTo>
                  <a:cubicBezTo>
                    <a:pt x="44102" y="111818"/>
                    <a:pt x="42051" y="113181"/>
                    <a:pt x="42051" y="113181"/>
                  </a:cubicBezTo>
                  <a:cubicBezTo>
                    <a:pt x="40000" y="113181"/>
                    <a:pt x="40000" y="113181"/>
                    <a:pt x="40000" y="113181"/>
                  </a:cubicBezTo>
                  <a:cubicBezTo>
                    <a:pt x="36923" y="111818"/>
                    <a:pt x="36923" y="111818"/>
                    <a:pt x="36923" y="111818"/>
                  </a:cubicBezTo>
                  <a:cubicBezTo>
                    <a:pt x="34871" y="114545"/>
                    <a:pt x="34871" y="114545"/>
                    <a:pt x="34871" y="114545"/>
                  </a:cubicBezTo>
                  <a:cubicBezTo>
                    <a:pt x="34871" y="114545"/>
                    <a:pt x="33846" y="114545"/>
                    <a:pt x="33846" y="114545"/>
                  </a:cubicBezTo>
                  <a:cubicBezTo>
                    <a:pt x="32820" y="114545"/>
                    <a:pt x="31794" y="114545"/>
                    <a:pt x="31794" y="114545"/>
                  </a:cubicBezTo>
                  <a:cubicBezTo>
                    <a:pt x="31794" y="114545"/>
                    <a:pt x="30769" y="113181"/>
                    <a:pt x="29743" y="113181"/>
                  </a:cubicBezTo>
                  <a:cubicBezTo>
                    <a:pt x="29743" y="113181"/>
                    <a:pt x="28717" y="113181"/>
                    <a:pt x="28717" y="113181"/>
                  </a:cubicBezTo>
                  <a:cubicBezTo>
                    <a:pt x="27692" y="113181"/>
                    <a:pt x="26666" y="113181"/>
                    <a:pt x="26666" y="113181"/>
                  </a:cubicBezTo>
                  <a:cubicBezTo>
                    <a:pt x="26666" y="114545"/>
                    <a:pt x="26666" y="114545"/>
                    <a:pt x="26666" y="114545"/>
                  </a:cubicBezTo>
                  <a:cubicBezTo>
                    <a:pt x="26666" y="114545"/>
                    <a:pt x="27692" y="114545"/>
                    <a:pt x="27692" y="114545"/>
                  </a:cubicBezTo>
                  <a:cubicBezTo>
                    <a:pt x="27692" y="115909"/>
                    <a:pt x="27692" y="117272"/>
                    <a:pt x="27692" y="117272"/>
                  </a:cubicBezTo>
                  <a:cubicBezTo>
                    <a:pt x="27692" y="117272"/>
                    <a:pt x="26666" y="117272"/>
                    <a:pt x="26666" y="117272"/>
                  </a:cubicBezTo>
                  <a:cubicBezTo>
                    <a:pt x="26666" y="118636"/>
                    <a:pt x="24615" y="118636"/>
                    <a:pt x="24615" y="118636"/>
                  </a:cubicBezTo>
                  <a:cubicBezTo>
                    <a:pt x="24615" y="118636"/>
                    <a:pt x="24615" y="120000"/>
                    <a:pt x="24615" y="120000"/>
                  </a:cubicBezTo>
                  <a:cubicBezTo>
                    <a:pt x="24615" y="120000"/>
                    <a:pt x="24615" y="120000"/>
                    <a:pt x="23589" y="120000"/>
                  </a:cubicBezTo>
                  <a:cubicBezTo>
                    <a:pt x="22564" y="120000"/>
                    <a:pt x="22564" y="120000"/>
                    <a:pt x="21538" y="120000"/>
                  </a:cubicBezTo>
                  <a:cubicBezTo>
                    <a:pt x="21538" y="118636"/>
                    <a:pt x="20512" y="118636"/>
                    <a:pt x="19487" y="118636"/>
                  </a:cubicBezTo>
                  <a:cubicBezTo>
                    <a:pt x="19487" y="118636"/>
                    <a:pt x="16410" y="117272"/>
                    <a:pt x="16410" y="117272"/>
                  </a:cubicBezTo>
                  <a:cubicBezTo>
                    <a:pt x="16410" y="117272"/>
                    <a:pt x="15384" y="118636"/>
                    <a:pt x="15384" y="118636"/>
                  </a:cubicBezTo>
                  <a:cubicBezTo>
                    <a:pt x="14358" y="118636"/>
                    <a:pt x="13333" y="118636"/>
                    <a:pt x="12307" y="117272"/>
                  </a:cubicBezTo>
                  <a:cubicBezTo>
                    <a:pt x="12307" y="117272"/>
                    <a:pt x="11282" y="117272"/>
                    <a:pt x="11282" y="117272"/>
                  </a:cubicBezTo>
                  <a:cubicBezTo>
                    <a:pt x="11282" y="115909"/>
                    <a:pt x="11282" y="114545"/>
                    <a:pt x="11282" y="114545"/>
                  </a:cubicBezTo>
                  <a:cubicBezTo>
                    <a:pt x="11282" y="114545"/>
                    <a:pt x="10256" y="113181"/>
                    <a:pt x="11282" y="113181"/>
                  </a:cubicBezTo>
                  <a:cubicBezTo>
                    <a:pt x="11282" y="113181"/>
                    <a:pt x="12307" y="113181"/>
                    <a:pt x="13333" y="113181"/>
                  </a:cubicBezTo>
                  <a:cubicBezTo>
                    <a:pt x="14358" y="113181"/>
                    <a:pt x="15384" y="113181"/>
                    <a:pt x="15384" y="111818"/>
                  </a:cubicBezTo>
                  <a:cubicBezTo>
                    <a:pt x="15384" y="111818"/>
                    <a:pt x="15384" y="111818"/>
                    <a:pt x="16410" y="111818"/>
                  </a:cubicBezTo>
                  <a:cubicBezTo>
                    <a:pt x="16410" y="111818"/>
                    <a:pt x="17435" y="113181"/>
                    <a:pt x="17435" y="111818"/>
                  </a:cubicBezTo>
                  <a:cubicBezTo>
                    <a:pt x="17435" y="110454"/>
                    <a:pt x="17435" y="110454"/>
                    <a:pt x="17435" y="110454"/>
                  </a:cubicBezTo>
                  <a:cubicBezTo>
                    <a:pt x="16410" y="109090"/>
                    <a:pt x="16410" y="109090"/>
                    <a:pt x="16410" y="109090"/>
                  </a:cubicBezTo>
                  <a:cubicBezTo>
                    <a:pt x="16410" y="109090"/>
                    <a:pt x="17435" y="107727"/>
                    <a:pt x="17435" y="107727"/>
                  </a:cubicBezTo>
                  <a:cubicBezTo>
                    <a:pt x="18461" y="107727"/>
                    <a:pt x="19487" y="107727"/>
                    <a:pt x="19487" y="107727"/>
                  </a:cubicBezTo>
                  <a:cubicBezTo>
                    <a:pt x="20512" y="107727"/>
                    <a:pt x="21538" y="107727"/>
                    <a:pt x="21538" y="107727"/>
                  </a:cubicBezTo>
                  <a:cubicBezTo>
                    <a:pt x="21538" y="107727"/>
                    <a:pt x="21538" y="107727"/>
                    <a:pt x="22564" y="106363"/>
                  </a:cubicBezTo>
                  <a:cubicBezTo>
                    <a:pt x="22564" y="106363"/>
                    <a:pt x="18461" y="106363"/>
                    <a:pt x="17435" y="105000"/>
                  </a:cubicBezTo>
                  <a:cubicBezTo>
                    <a:pt x="15384" y="102272"/>
                    <a:pt x="13333" y="100909"/>
                    <a:pt x="13333" y="95454"/>
                  </a:cubicBezTo>
                  <a:cubicBezTo>
                    <a:pt x="12307" y="95454"/>
                    <a:pt x="12307" y="92727"/>
                    <a:pt x="11282" y="92727"/>
                  </a:cubicBezTo>
                  <a:cubicBezTo>
                    <a:pt x="11282" y="92727"/>
                    <a:pt x="9230" y="91363"/>
                    <a:pt x="9230" y="91363"/>
                  </a:cubicBezTo>
                  <a:cubicBezTo>
                    <a:pt x="9230" y="90000"/>
                    <a:pt x="9230" y="90000"/>
                    <a:pt x="10256" y="88636"/>
                  </a:cubicBezTo>
                  <a:cubicBezTo>
                    <a:pt x="10256" y="87272"/>
                    <a:pt x="10256" y="87272"/>
                    <a:pt x="11282" y="85909"/>
                  </a:cubicBezTo>
                  <a:cubicBezTo>
                    <a:pt x="11282" y="85909"/>
                    <a:pt x="11282" y="83181"/>
                    <a:pt x="11282" y="83181"/>
                  </a:cubicBezTo>
                  <a:cubicBezTo>
                    <a:pt x="11282" y="83181"/>
                    <a:pt x="12307" y="81818"/>
                    <a:pt x="11282" y="81818"/>
                  </a:cubicBezTo>
                  <a:cubicBezTo>
                    <a:pt x="11282" y="80454"/>
                    <a:pt x="10256" y="79090"/>
                    <a:pt x="10256" y="79090"/>
                  </a:cubicBezTo>
                  <a:cubicBezTo>
                    <a:pt x="10256" y="79090"/>
                    <a:pt x="10256" y="79090"/>
                    <a:pt x="9230" y="79090"/>
                  </a:cubicBezTo>
                  <a:cubicBezTo>
                    <a:pt x="9230" y="80454"/>
                    <a:pt x="9230" y="80454"/>
                    <a:pt x="9230" y="80454"/>
                  </a:cubicBezTo>
                  <a:cubicBezTo>
                    <a:pt x="7179" y="81818"/>
                    <a:pt x="7179" y="81818"/>
                    <a:pt x="7179" y="81818"/>
                  </a:cubicBezTo>
                  <a:cubicBezTo>
                    <a:pt x="7179" y="81818"/>
                    <a:pt x="6153" y="79090"/>
                    <a:pt x="6153" y="79090"/>
                  </a:cubicBezTo>
                  <a:cubicBezTo>
                    <a:pt x="5128" y="79090"/>
                    <a:pt x="5128" y="79090"/>
                    <a:pt x="5128" y="77727"/>
                  </a:cubicBezTo>
                  <a:cubicBezTo>
                    <a:pt x="5128" y="77727"/>
                    <a:pt x="6153" y="76363"/>
                    <a:pt x="6153" y="76363"/>
                  </a:cubicBezTo>
                  <a:cubicBezTo>
                    <a:pt x="6153" y="76363"/>
                    <a:pt x="5128" y="75000"/>
                    <a:pt x="5128" y="75000"/>
                  </a:cubicBezTo>
                  <a:cubicBezTo>
                    <a:pt x="5128" y="75000"/>
                    <a:pt x="6153" y="72272"/>
                    <a:pt x="7179" y="72272"/>
                  </a:cubicBezTo>
                  <a:cubicBezTo>
                    <a:pt x="8205" y="70909"/>
                    <a:pt x="10256" y="68181"/>
                    <a:pt x="10256" y="68181"/>
                  </a:cubicBezTo>
                  <a:cubicBezTo>
                    <a:pt x="11282" y="65454"/>
                    <a:pt x="11282" y="65454"/>
                    <a:pt x="11282" y="65454"/>
                  </a:cubicBezTo>
                  <a:cubicBezTo>
                    <a:pt x="10256" y="64090"/>
                    <a:pt x="10256" y="64090"/>
                    <a:pt x="10256" y="64090"/>
                  </a:cubicBezTo>
                  <a:cubicBezTo>
                    <a:pt x="10256" y="64090"/>
                    <a:pt x="9230" y="65454"/>
                    <a:pt x="9230" y="65454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0" name="Shape 2021"/>
            <p:cNvSpPr/>
            <p:nvPr/>
          </p:nvSpPr>
          <p:spPr>
            <a:xfrm>
              <a:off x="5338203" y="3253211"/>
              <a:ext cx="517832" cy="46665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656" y="46635"/>
                  </a:moveTo>
                  <a:cubicBezTo>
                    <a:pt x="113656" y="45497"/>
                    <a:pt x="113127" y="44928"/>
                    <a:pt x="114185" y="44360"/>
                  </a:cubicBezTo>
                  <a:cubicBezTo>
                    <a:pt x="114713" y="44360"/>
                    <a:pt x="115242" y="45497"/>
                    <a:pt x="115242" y="44360"/>
                  </a:cubicBezTo>
                  <a:cubicBezTo>
                    <a:pt x="115242" y="43222"/>
                    <a:pt x="115770" y="43791"/>
                    <a:pt x="115242" y="42654"/>
                  </a:cubicBezTo>
                  <a:cubicBezTo>
                    <a:pt x="115242" y="42654"/>
                    <a:pt x="115242" y="42654"/>
                    <a:pt x="115242" y="42654"/>
                  </a:cubicBezTo>
                  <a:cubicBezTo>
                    <a:pt x="115242" y="42654"/>
                    <a:pt x="115242" y="42654"/>
                    <a:pt x="115242" y="42654"/>
                  </a:cubicBezTo>
                  <a:cubicBezTo>
                    <a:pt x="115242" y="42654"/>
                    <a:pt x="115242" y="43791"/>
                    <a:pt x="114713" y="43791"/>
                  </a:cubicBezTo>
                  <a:cubicBezTo>
                    <a:pt x="114713" y="43791"/>
                    <a:pt x="114185" y="44360"/>
                    <a:pt x="113656" y="44360"/>
                  </a:cubicBezTo>
                  <a:cubicBezTo>
                    <a:pt x="113127" y="43791"/>
                    <a:pt x="113127" y="43791"/>
                    <a:pt x="113127" y="43791"/>
                  </a:cubicBezTo>
                  <a:cubicBezTo>
                    <a:pt x="114185" y="42654"/>
                    <a:pt x="114185" y="42654"/>
                    <a:pt x="114185" y="42654"/>
                  </a:cubicBezTo>
                  <a:cubicBezTo>
                    <a:pt x="114185" y="40379"/>
                    <a:pt x="114185" y="40379"/>
                    <a:pt x="114185" y="40379"/>
                  </a:cubicBezTo>
                  <a:cubicBezTo>
                    <a:pt x="114185" y="40379"/>
                    <a:pt x="113656" y="39241"/>
                    <a:pt x="113127" y="38104"/>
                  </a:cubicBezTo>
                  <a:cubicBezTo>
                    <a:pt x="112599" y="37535"/>
                    <a:pt x="112070" y="36966"/>
                    <a:pt x="112070" y="36966"/>
                  </a:cubicBezTo>
                  <a:cubicBezTo>
                    <a:pt x="113656" y="35829"/>
                    <a:pt x="113656" y="35829"/>
                    <a:pt x="113656" y="35829"/>
                  </a:cubicBezTo>
                  <a:cubicBezTo>
                    <a:pt x="114185" y="35260"/>
                    <a:pt x="114185" y="35260"/>
                    <a:pt x="114185" y="35260"/>
                  </a:cubicBezTo>
                  <a:cubicBezTo>
                    <a:pt x="114185" y="34691"/>
                    <a:pt x="114185" y="34691"/>
                    <a:pt x="114185" y="34691"/>
                  </a:cubicBezTo>
                  <a:cubicBezTo>
                    <a:pt x="114185" y="34691"/>
                    <a:pt x="115242" y="35829"/>
                    <a:pt x="116299" y="35829"/>
                  </a:cubicBezTo>
                  <a:cubicBezTo>
                    <a:pt x="116828" y="35829"/>
                    <a:pt x="116299" y="35829"/>
                    <a:pt x="117356" y="35260"/>
                  </a:cubicBezTo>
                  <a:cubicBezTo>
                    <a:pt x="118414" y="35260"/>
                    <a:pt x="120000" y="33554"/>
                    <a:pt x="120000" y="33554"/>
                  </a:cubicBezTo>
                  <a:cubicBezTo>
                    <a:pt x="120000" y="33554"/>
                    <a:pt x="118942" y="32417"/>
                    <a:pt x="118414" y="32417"/>
                  </a:cubicBezTo>
                  <a:cubicBezTo>
                    <a:pt x="117885" y="32985"/>
                    <a:pt x="118414" y="32985"/>
                    <a:pt x="116828" y="32985"/>
                  </a:cubicBezTo>
                  <a:cubicBezTo>
                    <a:pt x="115242" y="32417"/>
                    <a:pt x="114713" y="31848"/>
                    <a:pt x="114713" y="31848"/>
                  </a:cubicBezTo>
                  <a:cubicBezTo>
                    <a:pt x="114713" y="31848"/>
                    <a:pt x="114185" y="31848"/>
                    <a:pt x="113656" y="31848"/>
                  </a:cubicBezTo>
                  <a:cubicBezTo>
                    <a:pt x="113127" y="31848"/>
                    <a:pt x="113127" y="31848"/>
                    <a:pt x="112599" y="31279"/>
                  </a:cubicBezTo>
                  <a:cubicBezTo>
                    <a:pt x="111541" y="30142"/>
                    <a:pt x="110484" y="29004"/>
                    <a:pt x="110484" y="29004"/>
                  </a:cubicBezTo>
                  <a:cubicBezTo>
                    <a:pt x="110484" y="29004"/>
                    <a:pt x="109427" y="29573"/>
                    <a:pt x="109427" y="29004"/>
                  </a:cubicBezTo>
                  <a:cubicBezTo>
                    <a:pt x="109427" y="29004"/>
                    <a:pt x="109955" y="27867"/>
                    <a:pt x="109955" y="27867"/>
                  </a:cubicBezTo>
                  <a:cubicBezTo>
                    <a:pt x="109955" y="27298"/>
                    <a:pt x="109955" y="27298"/>
                    <a:pt x="109955" y="27298"/>
                  </a:cubicBezTo>
                  <a:cubicBezTo>
                    <a:pt x="109427" y="26729"/>
                    <a:pt x="109427" y="26729"/>
                    <a:pt x="109427" y="26729"/>
                  </a:cubicBezTo>
                  <a:cubicBezTo>
                    <a:pt x="109427" y="26729"/>
                    <a:pt x="110484" y="26729"/>
                    <a:pt x="110484" y="26729"/>
                  </a:cubicBezTo>
                  <a:cubicBezTo>
                    <a:pt x="111013" y="26161"/>
                    <a:pt x="111013" y="26161"/>
                    <a:pt x="111013" y="26161"/>
                  </a:cubicBezTo>
                  <a:cubicBezTo>
                    <a:pt x="112070" y="25023"/>
                    <a:pt x="111013" y="23886"/>
                    <a:pt x="109427" y="24454"/>
                  </a:cubicBezTo>
                  <a:cubicBezTo>
                    <a:pt x="108898" y="24454"/>
                    <a:pt x="108370" y="25023"/>
                    <a:pt x="108370" y="25023"/>
                  </a:cubicBezTo>
                  <a:cubicBezTo>
                    <a:pt x="107841" y="25023"/>
                    <a:pt x="106784" y="24454"/>
                    <a:pt x="106784" y="23886"/>
                  </a:cubicBezTo>
                  <a:cubicBezTo>
                    <a:pt x="106784" y="23317"/>
                    <a:pt x="106255" y="23317"/>
                    <a:pt x="107312" y="22748"/>
                  </a:cubicBezTo>
                  <a:cubicBezTo>
                    <a:pt x="107841" y="22748"/>
                    <a:pt x="108370" y="21611"/>
                    <a:pt x="108370" y="21611"/>
                  </a:cubicBezTo>
                  <a:cubicBezTo>
                    <a:pt x="107312" y="19905"/>
                    <a:pt x="107312" y="19905"/>
                    <a:pt x="107312" y="19905"/>
                  </a:cubicBezTo>
                  <a:cubicBezTo>
                    <a:pt x="107841" y="16492"/>
                    <a:pt x="107841" y="16492"/>
                    <a:pt x="107841" y="16492"/>
                  </a:cubicBezTo>
                  <a:cubicBezTo>
                    <a:pt x="105726" y="15924"/>
                    <a:pt x="105726" y="15924"/>
                    <a:pt x="105726" y="15924"/>
                  </a:cubicBezTo>
                  <a:cubicBezTo>
                    <a:pt x="105726" y="14786"/>
                    <a:pt x="105726" y="14786"/>
                    <a:pt x="105726" y="14786"/>
                  </a:cubicBezTo>
                  <a:cubicBezTo>
                    <a:pt x="104669" y="14218"/>
                    <a:pt x="104669" y="14218"/>
                    <a:pt x="104669" y="14218"/>
                  </a:cubicBezTo>
                  <a:cubicBezTo>
                    <a:pt x="103612" y="17061"/>
                    <a:pt x="103612" y="17061"/>
                    <a:pt x="103612" y="17061"/>
                  </a:cubicBezTo>
                  <a:cubicBezTo>
                    <a:pt x="103612" y="17061"/>
                    <a:pt x="102026" y="17630"/>
                    <a:pt x="102026" y="18199"/>
                  </a:cubicBezTo>
                  <a:cubicBezTo>
                    <a:pt x="101497" y="18767"/>
                    <a:pt x="98854" y="18767"/>
                    <a:pt x="98854" y="18767"/>
                  </a:cubicBezTo>
                  <a:cubicBezTo>
                    <a:pt x="96740" y="18767"/>
                    <a:pt x="96740" y="18767"/>
                    <a:pt x="96740" y="18767"/>
                  </a:cubicBezTo>
                  <a:cubicBezTo>
                    <a:pt x="93039" y="19905"/>
                    <a:pt x="93039" y="19905"/>
                    <a:pt x="93039" y="19905"/>
                  </a:cubicBezTo>
                  <a:cubicBezTo>
                    <a:pt x="93039" y="19905"/>
                    <a:pt x="91982" y="20473"/>
                    <a:pt x="91453" y="20473"/>
                  </a:cubicBezTo>
                  <a:cubicBezTo>
                    <a:pt x="90925" y="20473"/>
                    <a:pt x="88281" y="19905"/>
                    <a:pt x="88281" y="19905"/>
                  </a:cubicBezTo>
                  <a:cubicBezTo>
                    <a:pt x="86696" y="20473"/>
                    <a:pt x="86696" y="20473"/>
                    <a:pt x="86696" y="20473"/>
                  </a:cubicBezTo>
                  <a:cubicBezTo>
                    <a:pt x="82995" y="19336"/>
                    <a:pt x="82995" y="19336"/>
                    <a:pt x="82995" y="19336"/>
                  </a:cubicBezTo>
                  <a:cubicBezTo>
                    <a:pt x="81938" y="18199"/>
                    <a:pt x="81938" y="18199"/>
                    <a:pt x="81938" y="18199"/>
                  </a:cubicBezTo>
                  <a:cubicBezTo>
                    <a:pt x="81409" y="17630"/>
                    <a:pt x="81409" y="17630"/>
                    <a:pt x="81409" y="17630"/>
                  </a:cubicBezTo>
                  <a:cubicBezTo>
                    <a:pt x="78766" y="17061"/>
                    <a:pt x="78766" y="17061"/>
                    <a:pt x="78766" y="17061"/>
                  </a:cubicBezTo>
                  <a:cubicBezTo>
                    <a:pt x="78237" y="15924"/>
                    <a:pt x="78237" y="15924"/>
                    <a:pt x="78237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5066" y="15355"/>
                    <a:pt x="75066" y="15355"/>
                    <a:pt x="75066" y="15355"/>
                  </a:cubicBezTo>
                  <a:cubicBezTo>
                    <a:pt x="75066" y="14786"/>
                    <a:pt x="75066" y="14786"/>
                    <a:pt x="75066" y="14786"/>
                  </a:cubicBezTo>
                  <a:cubicBezTo>
                    <a:pt x="74537" y="14786"/>
                    <a:pt x="74537" y="14786"/>
                    <a:pt x="74537" y="14218"/>
                  </a:cubicBezTo>
                  <a:cubicBezTo>
                    <a:pt x="74008" y="13649"/>
                    <a:pt x="74008" y="13649"/>
                    <a:pt x="74008" y="13649"/>
                  </a:cubicBezTo>
                  <a:cubicBezTo>
                    <a:pt x="71365" y="10236"/>
                    <a:pt x="71365" y="10236"/>
                    <a:pt x="71365" y="10236"/>
                  </a:cubicBezTo>
                  <a:cubicBezTo>
                    <a:pt x="70837" y="10236"/>
                    <a:pt x="70837" y="10236"/>
                    <a:pt x="70837" y="10236"/>
                  </a:cubicBezTo>
                  <a:cubicBezTo>
                    <a:pt x="70837" y="10236"/>
                    <a:pt x="70837" y="10236"/>
                    <a:pt x="70837" y="10236"/>
                  </a:cubicBezTo>
                  <a:cubicBezTo>
                    <a:pt x="66079" y="8530"/>
                    <a:pt x="66079" y="8530"/>
                    <a:pt x="66079" y="8530"/>
                  </a:cubicBezTo>
                  <a:cubicBezTo>
                    <a:pt x="64493" y="6255"/>
                    <a:pt x="64493" y="6255"/>
                    <a:pt x="64493" y="6255"/>
                  </a:cubicBezTo>
                  <a:cubicBezTo>
                    <a:pt x="62907" y="5118"/>
                    <a:pt x="62907" y="5118"/>
                    <a:pt x="62907" y="5118"/>
                  </a:cubicBezTo>
                  <a:cubicBezTo>
                    <a:pt x="60792" y="3412"/>
                    <a:pt x="60792" y="3412"/>
                    <a:pt x="60792" y="3412"/>
                  </a:cubicBezTo>
                  <a:cubicBezTo>
                    <a:pt x="58678" y="1706"/>
                    <a:pt x="58678" y="1706"/>
                    <a:pt x="58678" y="1706"/>
                  </a:cubicBezTo>
                  <a:cubicBezTo>
                    <a:pt x="57621" y="568"/>
                    <a:pt x="57621" y="568"/>
                    <a:pt x="57621" y="568"/>
                  </a:cubicBezTo>
                  <a:cubicBezTo>
                    <a:pt x="57621" y="568"/>
                    <a:pt x="57621" y="568"/>
                    <a:pt x="57621" y="568"/>
                  </a:cubicBezTo>
                  <a:cubicBezTo>
                    <a:pt x="57621" y="568"/>
                    <a:pt x="57092" y="0"/>
                    <a:pt x="57092" y="0"/>
                  </a:cubicBezTo>
                  <a:cubicBezTo>
                    <a:pt x="57092" y="0"/>
                    <a:pt x="56563" y="0"/>
                    <a:pt x="56563" y="0"/>
                  </a:cubicBezTo>
                  <a:cubicBezTo>
                    <a:pt x="56035" y="0"/>
                    <a:pt x="54977" y="0"/>
                    <a:pt x="54977" y="0"/>
                  </a:cubicBezTo>
                  <a:cubicBezTo>
                    <a:pt x="54977" y="0"/>
                    <a:pt x="54449" y="568"/>
                    <a:pt x="53920" y="568"/>
                  </a:cubicBezTo>
                  <a:cubicBezTo>
                    <a:pt x="53920" y="568"/>
                    <a:pt x="53392" y="1706"/>
                    <a:pt x="53392" y="1706"/>
                  </a:cubicBezTo>
                  <a:cubicBezTo>
                    <a:pt x="52863" y="2274"/>
                    <a:pt x="52863" y="2274"/>
                    <a:pt x="52863" y="2274"/>
                  </a:cubicBezTo>
                  <a:cubicBezTo>
                    <a:pt x="53392" y="2843"/>
                    <a:pt x="53392" y="2843"/>
                    <a:pt x="53392" y="2843"/>
                  </a:cubicBezTo>
                  <a:cubicBezTo>
                    <a:pt x="54449" y="5118"/>
                    <a:pt x="54977" y="5118"/>
                    <a:pt x="52334" y="4549"/>
                  </a:cubicBezTo>
                  <a:cubicBezTo>
                    <a:pt x="51277" y="3981"/>
                    <a:pt x="51277" y="3981"/>
                    <a:pt x="51277" y="3981"/>
                  </a:cubicBezTo>
                  <a:cubicBezTo>
                    <a:pt x="50748" y="4549"/>
                    <a:pt x="50748" y="4549"/>
                    <a:pt x="50748" y="4549"/>
                  </a:cubicBezTo>
                  <a:cubicBezTo>
                    <a:pt x="49691" y="5118"/>
                    <a:pt x="49691" y="5118"/>
                    <a:pt x="49691" y="5118"/>
                  </a:cubicBezTo>
                  <a:cubicBezTo>
                    <a:pt x="49691" y="5118"/>
                    <a:pt x="49691" y="5118"/>
                    <a:pt x="49691" y="5118"/>
                  </a:cubicBezTo>
                  <a:cubicBezTo>
                    <a:pt x="49691" y="5118"/>
                    <a:pt x="49691" y="6255"/>
                    <a:pt x="49691" y="6255"/>
                  </a:cubicBezTo>
                  <a:cubicBezTo>
                    <a:pt x="49162" y="7393"/>
                    <a:pt x="49162" y="7393"/>
                    <a:pt x="49162" y="7393"/>
                  </a:cubicBezTo>
                  <a:cubicBezTo>
                    <a:pt x="48105" y="7962"/>
                    <a:pt x="48105" y="7962"/>
                    <a:pt x="48105" y="7962"/>
                  </a:cubicBezTo>
                  <a:cubicBezTo>
                    <a:pt x="47048" y="8530"/>
                    <a:pt x="47048" y="8530"/>
                    <a:pt x="47048" y="8530"/>
                  </a:cubicBezTo>
                  <a:cubicBezTo>
                    <a:pt x="46519" y="9099"/>
                    <a:pt x="46519" y="9099"/>
                    <a:pt x="46519" y="9099"/>
                  </a:cubicBezTo>
                  <a:cubicBezTo>
                    <a:pt x="45462" y="9099"/>
                    <a:pt x="45462" y="9099"/>
                    <a:pt x="45462" y="9099"/>
                  </a:cubicBezTo>
                  <a:cubicBezTo>
                    <a:pt x="44405" y="9668"/>
                    <a:pt x="44405" y="9668"/>
                    <a:pt x="44405" y="9668"/>
                  </a:cubicBezTo>
                  <a:cubicBezTo>
                    <a:pt x="43876" y="10805"/>
                    <a:pt x="43876" y="10805"/>
                    <a:pt x="43876" y="10805"/>
                  </a:cubicBezTo>
                  <a:cubicBezTo>
                    <a:pt x="43876" y="10805"/>
                    <a:pt x="42819" y="10805"/>
                    <a:pt x="42819" y="10805"/>
                  </a:cubicBezTo>
                  <a:cubicBezTo>
                    <a:pt x="42819" y="10805"/>
                    <a:pt x="41233" y="11374"/>
                    <a:pt x="41233" y="11374"/>
                  </a:cubicBezTo>
                  <a:cubicBezTo>
                    <a:pt x="41233" y="12511"/>
                    <a:pt x="41233" y="12511"/>
                    <a:pt x="41233" y="12511"/>
                  </a:cubicBezTo>
                  <a:cubicBezTo>
                    <a:pt x="41233" y="12511"/>
                    <a:pt x="40704" y="13080"/>
                    <a:pt x="40704" y="13080"/>
                  </a:cubicBezTo>
                  <a:cubicBezTo>
                    <a:pt x="40704" y="13080"/>
                    <a:pt x="40704" y="14786"/>
                    <a:pt x="40704" y="14786"/>
                  </a:cubicBezTo>
                  <a:cubicBezTo>
                    <a:pt x="40704" y="14786"/>
                    <a:pt x="41762" y="15355"/>
                    <a:pt x="41762" y="15355"/>
                  </a:cubicBezTo>
                  <a:cubicBezTo>
                    <a:pt x="42290" y="15924"/>
                    <a:pt x="42290" y="15924"/>
                    <a:pt x="42290" y="15924"/>
                  </a:cubicBezTo>
                  <a:cubicBezTo>
                    <a:pt x="42819" y="16492"/>
                    <a:pt x="42819" y="16492"/>
                    <a:pt x="42819" y="16492"/>
                  </a:cubicBezTo>
                  <a:cubicBezTo>
                    <a:pt x="42819" y="16492"/>
                    <a:pt x="43348" y="17061"/>
                    <a:pt x="43348" y="17061"/>
                  </a:cubicBezTo>
                  <a:cubicBezTo>
                    <a:pt x="42819" y="17061"/>
                    <a:pt x="42819" y="18767"/>
                    <a:pt x="42819" y="18767"/>
                  </a:cubicBezTo>
                  <a:cubicBezTo>
                    <a:pt x="43348" y="20473"/>
                    <a:pt x="43348" y="20473"/>
                    <a:pt x="43348" y="20473"/>
                  </a:cubicBezTo>
                  <a:cubicBezTo>
                    <a:pt x="42819" y="21042"/>
                    <a:pt x="42819" y="21042"/>
                    <a:pt x="42819" y="21042"/>
                  </a:cubicBezTo>
                  <a:cubicBezTo>
                    <a:pt x="43348" y="22180"/>
                    <a:pt x="43348" y="22180"/>
                    <a:pt x="43348" y="22180"/>
                  </a:cubicBezTo>
                  <a:cubicBezTo>
                    <a:pt x="43348" y="22180"/>
                    <a:pt x="43876" y="22180"/>
                    <a:pt x="43348" y="22748"/>
                  </a:cubicBezTo>
                  <a:cubicBezTo>
                    <a:pt x="42819" y="22748"/>
                    <a:pt x="42290" y="23317"/>
                    <a:pt x="42290" y="23317"/>
                  </a:cubicBezTo>
                  <a:cubicBezTo>
                    <a:pt x="42290" y="23317"/>
                    <a:pt x="41233" y="23317"/>
                    <a:pt x="41233" y="23317"/>
                  </a:cubicBezTo>
                  <a:cubicBezTo>
                    <a:pt x="41233" y="23317"/>
                    <a:pt x="40176" y="23317"/>
                    <a:pt x="40176" y="23317"/>
                  </a:cubicBezTo>
                  <a:cubicBezTo>
                    <a:pt x="39647" y="24454"/>
                    <a:pt x="39647" y="24454"/>
                    <a:pt x="39647" y="24454"/>
                  </a:cubicBezTo>
                  <a:cubicBezTo>
                    <a:pt x="38590" y="23886"/>
                    <a:pt x="38590" y="23886"/>
                    <a:pt x="38590" y="23886"/>
                  </a:cubicBezTo>
                  <a:cubicBezTo>
                    <a:pt x="38590" y="25023"/>
                    <a:pt x="38590" y="25023"/>
                    <a:pt x="38590" y="25023"/>
                  </a:cubicBezTo>
                  <a:cubicBezTo>
                    <a:pt x="37004" y="25592"/>
                    <a:pt x="37004" y="25592"/>
                    <a:pt x="37004" y="25592"/>
                  </a:cubicBezTo>
                  <a:cubicBezTo>
                    <a:pt x="35947" y="26161"/>
                    <a:pt x="35947" y="26161"/>
                    <a:pt x="35947" y="26161"/>
                  </a:cubicBezTo>
                  <a:cubicBezTo>
                    <a:pt x="35418" y="27298"/>
                    <a:pt x="35418" y="27298"/>
                    <a:pt x="35418" y="27298"/>
                  </a:cubicBezTo>
                  <a:cubicBezTo>
                    <a:pt x="35947" y="27867"/>
                    <a:pt x="35947" y="27867"/>
                    <a:pt x="35947" y="27867"/>
                  </a:cubicBezTo>
                  <a:cubicBezTo>
                    <a:pt x="35947" y="27867"/>
                    <a:pt x="36475" y="28436"/>
                    <a:pt x="36475" y="27867"/>
                  </a:cubicBezTo>
                  <a:cubicBezTo>
                    <a:pt x="36475" y="27867"/>
                    <a:pt x="36475" y="27298"/>
                    <a:pt x="36475" y="27298"/>
                  </a:cubicBezTo>
                  <a:cubicBezTo>
                    <a:pt x="37004" y="27867"/>
                    <a:pt x="37533" y="28436"/>
                    <a:pt x="37533" y="28436"/>
                  </a:cubicBezTo>
                  <a:cubicBezTo>
                    <a:pt x="38061" y="29573"/>
                    <a:pt x="38061" y="29573"/>
                    <a:pt x="38061" y="29573"/>
                  </a:cubicBezTo>
                  <a:cubicBezTo>
                    <a:pt x="38061" y="29573"/>
                    <a:pt x="37004" y="29573"/>
                    <a:pt x="37004" y="29573"/>
                  </a:cubicBezTo>
                  <a:cubicBezTo>
                    <a:pt x="37004" y="29573"/>
                    <a:pt x="36475" y="30142"/>
                    <a:pt x="36475" y="30142"/>
                  </a:cubicBezTo>
                  <a:cubicBezTo>
                    <a:pt x="35947" y="30710"/>
                    <a:pt x="35947" y="30710"/>
                    <a:pt x="35947" y="30710"/>
                  </a:cubicBezTo>
                  <a:cubicBezTo>
                    <a:pt x="35947" y="31279"/>
                    <a:pt x="35947" y="31279"/>
                    <a:pt x="35947" y="31848"/>
                  </a:cubicBezTo>
                  <a:cubicBezTo>
                    <a:pt x="35947" y="31848"/>
                    <a:pt x="35947" y="32417"/>
                    <a:pt x="35947" y="32417"/>
                  </a:cubicBezTo>
                  <a:cubicBezTo>
                    <a:pt x="36475" y="32417"/>
                    <a:pt x="37004" y="33554"/>
                    <a:pt x="37004" y="33554"/>
                  </a:cubicBezTo>
                  <a:cubicBezTo>
                    <a:pt x="37004" y="33554"/>
                    <a:pt x="37533" y="34123"/>
                    <a:pt x="37533" y="34123"/>
                  </a:cubicBezTo>
                  <a:cubicBezTo>
                    <a:pt x="37533" y="34123"/>
                    <a:pt x="37533" y="34691"/>
                    <a:pt x="37533" y="34691"/>
                  </a:cubicBezTo>
                  <a:cubicBezTo>
                    <a:pt x="37533" y="34691"/>
                    <a:pt x="37004" y="35260"/>
                    <a:pt x="36475" y="35260"/>
                  </a:cubicBezTo>
                  <a:cubicBezTo>
                    <a:pt x="36475" y="35260"/>
                    <a:pt x="35418" y="35260"/>
                    <a:pt x="35418" y="35260"/>
                  </a:cubicBezTo>
                  <a:cubicBezTo>
                    <a:pt x="35418" y="35260"/>
                    <a:pt x="34889" y="36398"/>
                    <a:pt x="34889" y="36398"/>
                  </a:cubicBezTo>
                  <a:cubicBezTo>
                    <a:pt x="34889" y="36398"/>
                    <a:pt x="34361" y="36398"/>
                    <a:pt x="33832" y="36398"/>
                  </a:cubicBezTo>
                  <a:cubicBezTo>
                    <a:pt x="33832" y="36398"/>
                    <a:pt x="34889" y="36966"/>
                    <a:pt x="33832" y="36398"/>
                  </a:cubicBezTo>
                  <a:cubicBezTo>
                    <a:pt x="32246" y="35829"/>
                    <a:pt x="32246" y="35260"/>
                    <a:pt x="32246" y="35260"/>
                  </a:cubicBezTo>
                  <a:cubicBezTo>
                    <a:pt x="32246" y="35260"/>
                    <a:pt x="31718" y="34691"/>
                    <a:pt x="31718" y="34691"/>
                  </a:cubicBezTo>
                  <a:cubicBezTo>
                    <a:pt x="31189" y="34691"/>
                    <a:pt x="30660" y="34691"/>
                    <a:pt x="30660" y="34691"/>
                  </a:cubicBezTo>
                  <a:cubicBezTo>
                    <a:pt x="29603" y="34691"/>
                    <a:pt x="29603" y="34691"/>
                    <a:pt x="29603" y="34691"/>
                  </a:cubicBezTo>
                  <a:cubicBezTo>
                    <a:pt x="29074" y="34123"/>
                    <a:pt x="29074" y="34123"/>
                    <a:pt x="29074" y="34123"/>
                  </a:cubicBezTo>
                  <a:cubicBezTo>
                    <a:pt x="28546" y="35260"/>
                    <a:pt x="28546" y="35260"/>
                    <a:pt x="28546" y="35260"/>
                  </a:cubicBezTo>
                  <a:cubicBezTo>
                    <a:pt x="28546" y="35260"/>
                    <a:pt x="28546" y="35829"/>
                    <a:pt x="28017" y="35829"/>
                  </a:cubicBezTo>
                  <a:cubicBezTo>
                    <a:pt x="27488" y="36398"/>
                    <a:pt x="28017" y="36398"/>
                    <a:pt x="27488" y="36398"/>
                  </a:cubicBezTo>
                  <a:cubicBezTo>
                    <a:pt x="26431" y="36398"/>
                    <a:pt x="25903" y="35260"/>
                    <a:pt x="25903" y="35260"/>
                  </a:cubicBezTo>
                  <a:cubicBezTo>
                    <a:pt x="25903" y="35260"/>
                    <a:pt x="24845" y="34691"/>
                    <a:pt x="24845" y="34691"/>
                  </a:cubicBezTo>
                  <a:cubicBezTo>
                    <a:pt x="24317" y="34123"/>
                    <a:pt x="24317" y="34123"/>
                    <a:pt x="24317" y="34123"/>
                  </a:cubicBezTo>
                  <a:cubicBezTo>
                    <a:pt x="23788" y="34123"/>
                    <a:pt x="23788" y="34691"/>
                    <a:pt x="23788" y="33554"/>
                  </a:cubicBezTo>
                  <a:cubicBezTo>
                    <a:pt x="23788" y="32985"/>
                    <a:pt x="23788" y="32985"/>
                    <a:pt x="23788" y="32985"/>
                  </a:cubicBezTo>
                  <a:cubicBezTo>
                    <a:pt x="23259" y="32417"/>
                    <a:pt x="23259" y="32985"/>
                    <a:pt x="22731" y="32417"/>
                  </a:cubicBezTo>
                  <a:cubicBezTo>
                    <a:pt x="22731" y="31848"/>
                    <a:pt x="22202" y="31279"/>
                    <a:pt x="22202" y="31279"/>
                  </a:cubicBezTo>
                  <a:cubicBezTo>
                    <a:pt x="21674" y="30142"/>
                    <a:pt x="21674" y="30142"/>
                    <a:pt x="21674" y="30142"/>
                  </a:cubicBezTo>
                  <a:cubicBezTo>
                    <a:pt x="21674" y="30142"/>
                    <a:pt x="21674" y="30142"/>
                    <a:pt x="21674" y="30710"/>
                  </a:cubicBezTo>
                  <a:cubicBezTo>
                    <a:pt x="21145" y="31279"/>
                    <a:pt x="20616" y="31279"/>
                    <a:pt x="20616" y="31279"/>
                  </a:cubicBezTo>
                  <a:cubicBezTo>
                    <a:pt x="20616" y="31848"/>
                    <a:pt x="20088" y="32417"/>
                    <a:pt x="20088" y="32417"/>
                  </a:cubicBezTo>
                  <a:cubicBezTo>
                    <a:pt x="20088" y="32417"/>
                    <a:pt x="19559" y="32985"/>
                    <a:pt x="19559" y="33554"/>
                  </a:cubicBezTo>
                  <a:cubicBezTo>
                    <a:pt x="20088" y="33554"/>
                    <a:pt x="20088" y="33554"/>
                    <a:pt x="20088" y="34123"/>
                  </a:cubicBezTo>
                  <a:cubicBezTo>
                    <a:pt x="20088" y="34123"/>
                    <a:pt x="19559" y="34691"/>
                    <a:pt x="19559" y="34691"/>
                  </a:cubicBezTo>
                  <a:cubicBezTo>
                    <a:pt x="19030" y="35260"/>
                    <a:pt x="19030" y="35260"/>
                    <a:pt x="18502" y="35260"/>
                  </a:cubicBezTo>
                  <a:cubicBezTo>
                    <a:pt x="18502" y="35829"/>
                    <a:pt x="17444" y="36398"/>
                    <a:pt x="17444" y="36398"/>
                  </a:cubicBezTo>
                  <a:cubicBezTo>
                    <a:pt x="16387" y="36398"/>
                    <a:pt x="16387" y="36398"/>
                    <a:pt x="16387" y="36398"/>
                  </a:cubicBezTo>
                  <a:cubicBezTo>
                    <a:pt x="14801" y="35829"/>
                    <a:pt x="14801" y="35829"/>
                    <a:pt x="14801" y="35829"/>
                  </a:cubicBezTo>
                  <a:cubicBezTo>
                    <a:pt x="13744" y="36966"/>
                    <a:pt x="13744" y="36966"/>
                    <a:pt x="13744" y="36966"/>
                  </a:cubicBezTo>
                  <a:cubicBezTo>
                    <a:pt x="13744" y="36966"/>
                    <a:pt x="13215" y="36966"/>
                    <a:pt x="13215" y="36966"/>
                  </a:cubicBezTo>
                  <a:cubicBezTo>
                    <a:pt x="12687" y="36966"/>
                    <a:pt x="12158" y="36966"/>
                    <a:pt x="12158" y="36966"/>
                  </a:cubicBezTo>
                  <a:cubicBezTo>
                    <a:pt x="12158" y="36966"/>
                    <a:pt x="11629" y="36398"/>
                    <a:pt x="11101" y="36398"/>
                  </a:cubicBezTo>
                  <a:cubicBezTo>
                    <a:pt x="11101" y="36398"/>
                    <a:pt x="10572" y="36398"/>
                    <a:pt x="10572" y="36398"/>
                  </a:cubicBezTo>
                  <a:cubicBezTo>
                    <a:pt x="10044" y="36398"/>
                    <a:pt x="9515" y="36398"/>
                    <a:pt x="9515" y="36398"/>
                  </a:cubicBezTo>
                  <a:cubicBezTo>
                    <a:pt x="9515" y="36966"/>
                    <a:pt x="9515" y="36966"/>
                    <a:pt x="9515" y="36966"/>
                  </a:cubicBezTo>
                  <a:cubicBezTo>
                    <a:pt x="9515" y="36966"/>
                    <a:pt x="10044" y="36966"/>
                    <a:pt x="10044" y="36966"/>
                  </a:cubicBezTo>
                  <a:cubicBezTo>
                    <a:pt x="10044" y="37535"/>
                    <a:pt x="10044" y="38104"/>
                    <a:pt x="10044" y="38104"/>
                  </a:cubicBezTo>
                  <a:cubicBezTo>
                    <a:pt x="10044" y="38104"/>
                    <a:pt x="9515" y="38104"/>
                    <a:pt x="9515" y="38104"/>
                  </a:cubicBezTo>
                  <a:cubicBezTo>
                    <a:pt x="9515" y="38672"/>
                    <a:pt x="8458" y="38672"/>
                    <a:pt x="8458" y="38672"/>
                  </a:cubicBezTo>
                  <a:cubicBezTo>
                    <a:pt x="8458" y="38672"/>
                    <a:pt x="8458" y="39241"/>
                    <a:pt x="8458" y="39241"/>
                  </a:cubicBezTo>
                  <a:cubicBezTo>
                    <a:pt x="8458" y="39241"/>
                    <a:pt x="8458" y="39241"/>
                    <a:pt x="7929" y="39241"/>
                  </a:cubicBezTo>
                  <a:cubicBezTo>
                    <a:pt x="7400" y="39241"/>
                    <a:pt x="7400" y="39241"/>
                    <a:pt x="6872" y="39241"/>
                  </a:cubicBezTo>
                  <a:cubicBezTo>
                    <a:pt x="6872" y="38672"/>
                    <a:pt x="6343" y="38672"/>
                    <a:pt x="5814" y="38672"/>
                  </a:cubicBezTo>
                  <a:cubicBezTo>
                    <a:pt x="5814" y="38672"/>
                    <a:pt x="4229" y="38104"/>
                    <a:pt x="4229" y="38104"/>
                  </a:cubicBezTo>
                  <a:cubicBezTo>
                    <a:pt x="4229" y="38104"/>
                    <a:pt x="3700" y="38672"/>
                    <a:pt x="3700" y="38672"/>
                  </a:cubicBezTo>
                  <a:cubicBezTo>
                    <a:pt x="3171" y="38672"/>
                    <a:pt x="2643" y="38672"/>
                    <a:pt x="2114" y="38104"/>
                  </a:cubicBezTo>
                  <a:cubicBezTo>
                    <a:pt x="2114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6966"/>
                    <a:pt x="1585" y="36966"/>
                    <a:pt x="1585" y="36966"/>
                  </a:cubicBezTo>
                  <a:cubicBezTo>
                    <a:pt x="0" y="38104"/>
                    <a:pt x="0" y="38104"/>
                    <a:pt x="0" y="38104"/>
                  </a:cubicBezTo>
                  <a:cubicBezTo>
                    <a:pt x="1057" y="40379"/>
                    <a:pt x="1057" y="40379"/>
                    <a:pt x="1057" y="40379"/>
                  </a:cubicBezTo>
                  <a:cubicBezTo>
                    <a:pt x="528" y="40947"/>
                    <a:pt x="528" y="40947"/>
                    <a:pt x="528" y="40947"/>
                  </a:cubicBezTo>
                  <a:cubicBezTo>
                    <a:pt x="528" y="40947"/>
                    <a:pt x="1057" y="41516"/>
                    <a:pt x="1057" y="41516"/>
                  </a:cubicBezTo>
                  <a:cubicBezTo>
                    <a:pt x="1057" y="42085"/>
                    <a:pt x="1585" y="42085"/>
                    <a:pt x="1585" y="42654"/>
                  </a:cubicBezTo>
                  <a:cubicBezTo>
                    <a:pt x="1585" y="43222"/>
                    <a:pt x="1585" y="43791"/>
                    <a:pt x="1585" y="43791"/>
                  </a:cubicBezTo>
                  <a:cubicBezTo>
                    <a:pt x="2114" y="43791"/>
                    <a:pt x="2114" y="43791"/>
                    <a:pt x="2114" y="43791"/>
                  </a:cubicBezTo>
                  <a:cubicBezTo>
                    <a:pt x="2643" y="44928"/>
                    <a:pt x="2643" y="44928"/>
                    <a:pt x="2643" y="44928"/>
                  </a:cubicBezTo>
                  <a:cubicBezTo>
                    <a:pt x="2643" y="45497"/>
                    <a:pt x="2643" y="45497"/>
                    <a:pt x="2643" y="45497"/>
                  </a:cubicBezTo>
                  <a:cubicBezTo>
                    <a:pt x="2643" y="46635"/>
                    <a:pt x="2643" y="46635"/>
                    <a:pt x="2643" y="46635"/>
                  </a:cubicBezTo>
                  <a:cubicBezTo>
                    <a:pt x="2643" y="46635"/>
                    <a:pt x="3171" y="47203"/>
                    <a:pt x="3171" y="47772"/>
                  </a:cubicBezTo>
                  <a:cubicBezTo>
                    <a:pt x="3171" y="47772"/>
                    <a:pt x="3171" y="48341"/>
                    <a:pt x="3171" y="48909"/>
                  </a:cubicBezTo>
                  <a:cubicBezTo>
                    <a:pt x="3171" y="48909"/>
                    <a:pt x="4229" y="50047"/>
                    <a:pt x="4229" y="50047"/>
                  </a:cubicBezTo>
                  <a:cubicBezTo>
                    <a:pt x="4229" y="51184"/>
                    <a:pt x="4229" y="51184"/>
                    <a:pt x="4229" y="51184"/>
                  </a:cubicBezTo>
                  <a:cubicBezTo>
                    <a:pt x="4229" y="51184"/>
                    <a:pt x="4757" y="51753"/>
                    <a:pt x="5286" y="52322"/>
                  </a:cubicBezTo>
                  <a:cubicBezTo>
                    <a:pt x="5286" y="52322"/>
                    <a:pt x="5814" y="52890"/>
                    <a:pt x="5814" y="52890"/>
                  </a:cubicBezTo>
                  <a:cubicBezTo>
                    <a:pt x="6343" y="54028"/>
                    <a:pt x="6343" y="54028"/>
                    <a:pt x="6343" y="54028"/>
                  </a:cubicBezTo>
                  <a:cubicBezTo>
                    <a:pt x="6872" y="55165"/>
                    <a:pt x="6872" y="55165"/>
                    <a:pt x="6872" y="55165"/>
                  </a:cubicBezTo>
                  <a:cubicBezTo>
                    <a:pt x="7400" y="55734"/>
                    <a:pt x="7400" y="55734"/>
                    <a:pt x="7400" y="55734"/>
                  </a:cubicBezTo>
                  <a:cubicBezTo>
                    <a:pt x="7929" y="56872"/>
                    <a:pt x="7929" y="56872"/>
                    <a:pt x="7929" y="56872"/>
                  </a:cubicBezTo>
                  <a:cubicBezTo>
                    <a:pt x="8458" y="57440"/>
                    <a:pt x="8458" y="57440"/>
                    <a:pt x="8458" y="57440"/>
                  </a:cubicBezTo>
                  <a:cubicBezTo>
                    <a:pt x="8986" y="58009"/>
                    <a:pt x="8986" y="58009"/>
                    <a:pt x="8986" y="58009"/>
                  </a:cubicBezTo>
                  <a:cubicBezTo>
                    <a:pt x="8986" y="58009"/>
                    <a:pt x="8986" y="58578"/>
                    <a:pt x="9515" y="58578"/>
                  </a:cubicBezTo>
                  <a:cubicBezTo>
                    <a:pt x="10044" y="58578"/>
                    <a:pt x="10572" y="58578"/>
                    <a:pt x="10572" y="58578"/>
                  </a:cubicBezTo>
                  <a:cubicBezTo>
                    <a:pt x="11101" y="58578"/>
                    <a:pt x="11101" y="59146"/>
                    <a:pt x="11629" y="57440"/>
                  </a:cubicBezTo>
                  <a:cubicBezTo>
                    <a:pt x="11629" y="56303"/>
                    <a:pt x="11629" y="55734"/>
                    <a:pt x="11629" y="55734"/>
                  </a:cubicBezTo>
                  <a:cubicBezTo>
                    <a:pt x="11629" y="55734"/>
                    <a:pt x="12158" y="55734"/>
                    <a:pt x="12158" y="55165"/>
                  </a:cubicBezTo>
                  <a:cubicBezTo>
                    <a:pt x="12687" y="55165"/>
                    <a:pt x="13215" y="55165"/>
                    <a:pt x="13215" y="54597"/>
                  </a:cubicBezTo>
                  <a:cubicBezTo>
                    <a:pt x="13215" y="53459"/>
                    <a:pt x="12158" y="52890"/>
                    <a:pt x="12158" y="52890"/>
                  </a:cubicBezTo>
                  <a:cubicBezTo>
                    <a:pt x="12158" y="52890"/>
                    <a:pt x="13215" y="52322"/>
                    <a:pt x="13744" y="52890"/>
                  </a:cubicBezTo>
                  <a:cubicBezTo>
                    <a:pt x="13744" y="53459"/>
                    <a:pt x="13744" y="54028"/>
                    <a:pt x="14273" y="53459"/>
                  </a:cubicBezTo>
                  <a:cubicBezTo>
                    <a:pt x="14801" y="52322"/>
                    <a:pt x="14801" y="52322"/>
                    <a:pt x="14801" y="52322"/>
                  </a:cubicBezTo>
                  <a:cubicBezTo>
                    <a:pt x="14273" y="51753"/>
                    <a:pt x="14273" y="51184"/>
                    <a:pt x="14273" y="50616"/>
                  </a:cubicBezTo>
                  <a:cubicBezTo>
                    <a:pt x="14273" y="50616"/>
                    <a:pt x="14801" y="50047"/>
                    <a:pt x="14801" y="49478"/>
                  </a:cubicBezTo>
                  <a:cubicBezTo>
                    <a:pt x="15330" y="48909"/>
                    <a:pt x="15330" y="48341"/>
                    <a:pt x="15330" y="47772"/>
                  </a:cubicBezTo>
                  <a:cubicBezTo>
                    <a:pt x="15330" y="46635"/>
                    <a:pt x="15330" y="47203"/>
                    <a:pt x="15859" y="46066"/>
                  </a:cubicBezTo>
                  <a:cubicBezTo>
                    <a:pt x="15859" y="45497"/>
                    <a:pt x="15859" y="46066"/>
                    <a:pt x="15859" y="43791"/>
                  </a:cubicBezTo>
                  <a:cubicBezTo>
                    <a:pt x="16387" y="42085"/>
                    <a:pt x="16387" y="41516"/>
                    <a:pt x="16916" y="41516"/>
                  </a:cubicBezTo>
                  <a:cubicBezTo>
                    <a:pt x="16916" y="41516"/>
                    <a:pt x="21145" y="43222"/>
                    <a:pt x="21145" y="43222"/>
                  </a:cubicBezTo>
                  <a:cubicBezTo>
                    <a:pt x="21145" y="43222"/>
                    <a:pt x="21674" y="44360"/>
                    <a:pt x="21674" y="44360"/>
                  </a:cubicBezTo>
                  <a:cubicBezTo>
                    <a:pt x="21674" y="44928"/>
                    <a:pt x="21674" y="45497"/>
                    <a:pt x="21674" y="45497"/>
                  </a:cubicBezTo>
                  <a:cubicBezTo>
                    <a:pt x="21674" y="46066"/>
                    <a:pt x="21145" y="47203"/>
                    <a:pt x="21145" y="47203"/>
                  </a:cubicBezTo>
                  <a:cubicBezTo>
                    <a:pt x="21145" y="47772"/>
                    <a:pt x="21145" y="47772"/>
                    <a:pt x="21145" y="47772"/>
                  </a:cubicBezTo>
                  <a:cubicBezTo>
                    <a:pt x="21145" y="47772"/>
                    <a:pt x="20088" y="47772"/>
                    <a:pt x="20088" y="48909"/>
                  </a:cubicBezTo>
                  <a:cubicBezTo>
                    <a:pt x="19559" y="49478"/>
                    <a:pt x="19559" y="49478"/>
                    <a:pt x="20088" y="50047"/>
                  </a:cubicBezTo>
                  <a:cubicBezTo>
                    <a:pt x="20616" y="50616"/>
                    <a:pt x="21145" y="51184"/>
                    <a:pt x="21145" y="51184"/>
                  </a:cubicBezTo>
                  <a:cubicBezTo>
                    <a:pt x="21674" y="51184"/>
                    <a:pt x="22202" y="50616"/>
                    <a:pt x="22731" y="50616"/>
                  </a:cubicBezTo>
                  <a:cubicBezTo>
                    <a:pt x="22731" y="50616"/>
                    <a:pt x="23259" y="50616"/>
                    <a:pt x="23259" y="50616"/>
                  </a:cubicBezTo>
                  <a:cubicBezTo>
                    <a:pt x="23259" y="51184"/>
                    <a:pt x="23259" y="51753"/>
                    <a:pt x="23788" y="52322"/>
                  </a:cubicBezTo>
                  <a:cubicBezTo>
                    <a:pt x="24317" y="52322"/>
                    <a:pt x="24845" y="52890"/>
                    <a:pt x="24845" y="52890"/>
                  </a:cubicBezTo>
                  <a:cubicBezTo>
                    <a:pt x="25374" y="52890"/>
                    <a:pt x="25903" y="52890"/>
                    <a:pt x="25903" y="52890"/>
                  </a:cubicBezTo>
                  <a:cubicBezTo>
                    <a:pt x="25903" y="52890"/>
                    <a:pt x="26431" y="52322"/>
                    <a:pt x="26960" y="52322"/>
                  </a:cubicBezTo>
                  <a:cubicBezTo>
                    <a:pt x="26960" y="52322"/>
                    <a:pt x="28546" y="54028"/>
                    <a:pt x="27488" y="51753"/>
                  </a:cubicBezTo>
                  <a:cubicBezTo>
                    <a:pt x="25903" y="50047"/>
                    <a:pt x="25903" y="50047"/>
                    <a:pt x="25903" y="49478"/>
                  </a:cubicBezTo>
                  <a:cubicBezTo>
                    <a:pt x="25374" y="49478"/>
                    <a:pt x="24845" y="48909"/>
                    <a:pt x="24845" y="48909"/>
                  </a:cubicBezTo>
                  <a:cubicBezTo>
                    <a:pt x="24317" y="48909"/>
                    <a:pt x="24317" y="48909"/>
                    <a:pt x="24317" y="48909"/>
                  </a:cubicBezTo>
                  <a:cubicBezTo>
                    <a:pt x="24317" y="48909"/>
                    <a:pt x="24317" y="48341"/>
                    <a:pt x="24317" y="47772"/>
                  </a:cubicBezTo>
                  <a:cubicBezTo>
                    <a:pt x="24845" y="47203"/>
                    <a:pt x="24845" y="47203"/>
                    <a:pt x="25374" y="47203"/>
                  </a:cubicBezTo>
                  <a:cubicBezTo>
                    <a:pt x="25903" y="47203"/>
                    <a:pt x="25903" y="46635"/>
                    <a:pt x="26960" y="47772"/>
                  </a:cubicBezTo>
                  <a:cubicBezTo>
                    <a:pt x="27488" y="48341"/>
                    <a:pt x="27488" y="48341"/>
                    <a:pt x="27488" y="48909"/>
                  </a:cubicBezTo>
                  <a:cubicBezTo>
                    <a:pt x="28017" y="50047"/>
                    <a:pt x="28546" y="50616"/>
                    <a:pt x="29074" y="51184"/>
                  </a:cubicBezTo>
                  <a:cubicBezTo>
                    <a:pt x="29074" y="51184"/>
                    <a:pt x="29603" y="51184"/>
                    <a:pt x="29603" y="52322"/>
                  </a:cubicBezTo>
                  <a:cubicBezTo>
                    <a:pt x="29603" y="53459"/>
                    <a:pt x="29603" y="54597"/>
                    <a:pt x="29603" y="55165"/>
                  </a:cubicBezTo>
                  <a:cubicBezTo>
                    <a:pt x="29603" y="55165"/>
                    <a:pt x="29603" y="57440"/>
                    <a:pt x="29603" y="57440"/>
                  </a:cubicBezTo>
                  <a:cubicBezTo>
                    <a:pt x="29603" y="57440"/>
                    <a:pt x="29603" y="58578"/>
                    <a:pt x="29603" y="59146"/>
                  </a:cubicBezTo>
                  <a:cubicBezTo>
                    <a:pt x="29603" y="59715"/>
                    <a:pt x="32246" y="63696"/>
                    <a:pt x="32246" y="63696"/>
                  </a:cubicBezTo>
                  <a:cubicBezTo>
                    <a:pt x="32246" y="63696"/>
                    <a:pt x="33303" y="65402"/>
                    <a:pt x="33832" y="65402"/>
                  </a:cubicBezTo>
                  <a:cubicBezTo>
                    <a:pt x="33832" y="65402"/>
                    <a:pt x="34361" y="67109"/>
                    <a:pt x="34889" y="67677"/>
                  </a:cubicBezTo>
                  <a:cubicBezTo>
                    <a:pt x="35947" y="67677"/>
                    <a:pt x="38061" y="68815"/>
                    <a:pt x="38061" y="68815"/>
                  </a:cubicBezTo>
                  <a:cubicBezTo>
                    <a:pt x="41762" y="71090"/>
                    <a:pt x="41762" y="71090"/>
                    <a:pt x="41762" y="71090"/>
                  </a:cubicBezTo>
                  <a:cubicBezTo>
                    <a:pt x="41762" y="71090"/>
                    <a:pt x="42819" y="72796"/>
                    <a:pt x="43348" y="72796"/>
                  </a:cubicBezTo>
                  <a:cubicBezTo>
                    <a:pt x="43348" y="72796"/>
                    <a:pt x="45991" y="72796"/>
                    <a:pt x="43876" y="72796"/>
                  </a:cubicBezTo>
                  <a:cubicBezTo>
                    <a:pt x="42290" y="72796"/>
                    <a:pt x="40176" y="71658"/>
                    <a:pt x="40176" y="71658"/>
                  </a:cubicBezTo>
                  <a:cubicBezTo>
                    <a:pt x="40176" y="71658"/>
                    <a:pt x="39647" y="70521"/>
                    <a:pt x="39647" y="70521"/>
                  </a:cubicBezTo>
                  <a:cubicBezTo>
                    <a:pt x="39118" y="70521"/>
                    <a:pt x="37004" y="69952"/>
                    <a:pt x="36475" y="69383"/>
                  </a:cubicBezTo>
                  <a:cubicBezTo>
                    <a:pt x="36475" y="69383"/>
                    <a:pt x="35947" y="68815"/>
                    <a:pt x="35418" y="68246"/>
                  </a:cubicBezTo>
                  <a:cubicBezTo>
                    <a:pt x="34889" y="67109"/>
                    <a:pt x="33832" y="66540"/>
                    <a:pt x="33832" y="66540"/>
                  </a:cubicBezTo>
                  <a:cubicBezTo>
                    <a:pt x="33832" y="66540"/>
                    <a:pt x="33303" y="65971"/>
                    <a:pt x="32775" y="64834"/>
                  </a:cubicBezTo>
                  <a:cubicBezTo>
                    <a:pt x="32246" y="64265"/>
                    <a:pt x="32246" y="64265"/>
                    <a:pt x="32246" y="63696"/>
                  </a:cubicBezTo>
                  <a:cubicBezTo>
                    <a:pt x="31718" y="63696"/>
                    <a:pt x="32246" y="63696"/>
                    <a:pt x="31189" y="63127"/>
                  </a:cubicBezTo>
                  <a:cubicBezTo>
                    <a:pt x="30132" y="62559"/>
                    <a:pt x="29603" y="61990"/>
                    <a:pt x="29603" y="61990"/>
                  </a:cubicBezTo>
                  <a:cubicBezTo>
                    <a:pt x="29074" y="61990"/>
                    <a:pt x="28017" y="61421"/>
                    <a:pt x="28017" y="61421"/>
                  </a:cubicBezTo>
                  <a:cubicBezTo>
                    <a:pt x="28017" y="61421"/>
                    <a:pt x="26960" y="60284"/>
                    <a:pt x="26960" y="60284"/>
                  </a:cubicBezTo>
                  <a:cubicBezTo>
                    <a:pt x="26960" y="60284"/>
                    <a:pt x="26431" y="61421"/>
                    <a:pt x="27488" y="61990"/>
                  </a:cubicBezTo>
                  <a:cubicBezTo>
                    <a:pt x="28017" y="61990"/>
                    <a:pt x="29074" y="63127"/>
                    <a:pt x="29074" y="63127"/>
                  </a:cubicBezTo>
                  <a:cubicBezTo>
                    <a:pt x="29074" y="63127"/>
                    <a:pt x="30132" y="63696"/>
                    <a:pt x="30132" y="63696"/>
                  </a:cubicBezTo>
                  <a:cubicBezTo>
                    <a:pt x="30132" y="63696"/>
                    <a:pt x="30132" y="64834"/>
                    <a:pt x="30132" y="64834"/>
                  </a:cubicBezTo>
                  <a:cubicBezTo>
                    <a:pt x="30132" y="64834"/>
                    <a:pt x="28546" y="64265"/>
                    <a:pt x="30132" y="64834"/>
                  </a:cubicBezTo>
                  <a:cubicBezTo>
                    <a:pt x="31189" y="65402"/>
                    <a:pt x="32246" y="65402"/>
                    <a:pt x="32246" y="65402"/>
                  </a:cubicBezTo>
                  <a:cubicBezTo>
                    <a:pt x="32246" y="65402"/>
                    <a:pt x="31189" y="65971"/>
                    <a:pt x="30660" y="65971"/>
                  </a:cubicBezTo>
                  <a:cubicBezTo>
                    <a:pt x="30660" y="66540"/>
                    <a:pt x="31718" y="68246"/>
                    <a:pt x="31718" y="67677"/>
                  </a:cubicBezTo>
                  <a:cubicBezTo>
                    <a:pt x="32246" y="67677"/>
                    <a:pt x="32775" y="68246"/>
                    <a:pt x="33303" y="68246"/>
                  </a:cubicBezTo>
                  <a:cubicBezTo>
                    <a:pt x="33303" y="68246"/>
                    <a:pt x="34361" y="68246"/>
                    <a:pt x="34361" y="68815"/>
                  </a:cubicBezTo>
                  <a:cubicBezTo>
                    <a:pt x="34889" y="68815"/>
                    <a:pt x="34889" y="68815"/>
                    <a:pt x="34889" y="69383"/>
                  </a:cubicBezTo>
                  <a:cubicBezTo>
                    <a:pt x="34361" y="69383"/>
                    <a:pt x="34889" y="70521"/>
                    <a:pt x="34889" y="70521"/>
                  </a:cubicBezTo>
                  <a:cubicBezTo>
                    <a:pt x="35947" y="71090"/>
                    <a:pt x="35947" y="71090"/>
                    <a:pt x="35947" y="71090"/>
                  </a:cubicBezTo>
                  <a:cubicBezTo>
                    <a:pt x="35947" y="71090"/>
                    <a:pt x="34361" y="71090"/>
                    <a:pt x="34361" y="70521"/>
                  </a:cubicBezTo>
                  <a:cubicBezTo>
                    <a:pt x="33832" y="70521"/>
                    <a:pt x="33832" y="69952"/>
                    <a:pt x="33303" y="70521"/>
                  </a:cubicBezTo>
                  <a:cubicBezTo>
                    <a:pt x="32775" y="71090"/>
                    <a:pt x="32775" y="71090"/>
                    <a:pt x="32775" y="71658"/>
                  </a:cubicBezTo>
                  <a:cubicBezTo>
                    <a:pt x="33303" y="72227"/>
                    <a:pt x="33832" y="72796"/>
                    <a:pt x="34361" y="72227"/>
                  </a:cubicBezTo>
                  <a:cubicBezTo>
                    <a:pt x="34361" y="72227"/>
                    <a:pt x="34361" y="72227"/>
                    <a:pt x="34889" y="71658"/>
                  </a:cubicBezTo>
                  <a:cubicBezTo>
                    <a:pt x="34889" y="71658"/>
                    <a:pt x="34889" y="71658"/>
                    <a:pt x="35418" y="71658"/>
                  </a:cubicBezTo>
                  <a:cubicBezTo>
                    <a:pt x="35418" y="71658"/>
                    <a:pt x="35947" y="71658"/>
                    <a:pt x="35947" y="71658"/>
                  </a:cubicBezTo>
                  <a:cubicBezTo>
                    <a:pt x="36475" y="71090"/>
                    <a:pt x="36475" y="71090"/>
                    <a:pt x="36475" y="71090"/>
                  </a:cubicBezTo>
                  <a:cubicBezTo>
                    <a:pt x="36475" y="71090"/>
                    <a:pt x="36475" y="71090"/>
                    <a:pt x="36475" y="71658"/>
                  </a:cubicBezTo>
                  <a:cubicBezTo>
                    <a:pt x="36475" y="71658"/>
                    <a:pt x="37004" y="71658"/>
                    <a:pt x="36475" y="72227"/>
                  </a:cubicBezTo>
                  <a:cubicBezTo>
                    <a:pt x="36475" y="72796"/>
                    <a:pt x="35947" y="72796"/>
                    <a:pt x="35947" y="72796"/>
                  </a:cubicBezTo>
                  <a:cubicBezTo>
                    <a:pt x="35947" y="73364"/>
                    <a:pt x="35418" y="72796"/>
                    <a:pt x="35947" y="73933"/>
                  </a:cubicBezTo>
                  <a:cubicBezTo>
                    <a:pt x="35947" y="74502"/>
                    <a:pt x="35947" y="75071"/>
                    <a:pt x="35947" y="75071"/>
                  </a:cubicBezTo>
                  <a:cubicBezTo>
                    <a:pt x="35947" y="75071"/>
                    <a:pt x="36475" y="75071"/>
                    <a:pt x="36475" y="75071"/>
                  </a:cubicBezTo>
                  <a:cubicBezTo>
                    <a:pt x="37004" y="75639"/>
                    <a:pt x="37004" y="76208"/>
                    <a:pt x="37004" y="76777"/>
                  </a:cubicBezTo>
                  <a:cubicBezTo>
                    <a:pt x="37533" y="76777"/>
                    <a:pt x="38590" y="78483"/>
                    <a:pt x="38590" y="78483"/>
                  </a:cubicBezTo>
                  <a:cubicBezTo>
                    <a:pt x="38590" y="78483"/>
                    <a:pt x="40176" y="79620"/>
                    <a:pt x="40176" y="79620"/>
                  </a:cubicBezTo>
                  <a:cubicBezTo>
                    <a:pt x="40176" y="79620"/>
                    <a:pt x="40704" y="80189"/>
                    <a:pt x="40704" y="80189"/>
                  </a:cubicBezTo>
                  <a:cubicBezTo>
                    <a:pt x="40704" y="80189"/>
                    <a:pt x="40704" y="80758"/>
                    <a:pt x="40176" y="80189"/>
                  </a:cubicBezTo>
                  <a:cubicBezTo>
                    <a:pt x="39647" y="79620"/>
                    <a:pt x="38590" y="79052"/>
                    <a:pt x="38590" y="79052"/>
                  </a:cubicBezTo>
                  <a:cubicBezTo>
                    <a:pt x="38590" y="80189"/>
                    <a:pt x="38590" y="80189"/>
                    <a:pt x="38590" y="80189"/>
                  </a:cubicBezTo>
                  <a:cubicBezTo>
                    <a:pt x="38590" y="80189"/>
                    <a:pt x="39118" y="80758"/>
                    <a:pt x="39647" y="80758"/>
                  </a:cubicBezTo>
                  <a:cubicBezTo>
                    <a:pt x="39647" y="81327"/>
                    <a:pt x="39647" y="81327"/>
                    <a:pt x="40176" y="81895"/>
                  </a:cubicBezTo>
                  <a:cubicBezTo>
                    <a:pt x="40704" y="81895"/>
                    <a:pt x="41233" y="81895"/>
                    <a:pt x="41762" y="81895"/>
                  </a:cubicBezTo>
                  <a:cubicBezTo>
                    <a:pt x="41762" y="82464"/>
                    <a:pt x="41762" y="81327"/>
                    <a:pt x="41762" y="81327"/>
                  </a:cubicBezTo>
                  <a:cubicBezTo>
                    <a:pt x="41762" y="81327"/>
                    <a:pt x="42290" y="81327"/>
                    <a:pt x="42290" y="81327"/>
                  </a:cubicBezTo>
                  <a:cubicBezTo>
                    <a:pt x="42290" y="81895"/>
                    <a:pt x="42819" y="82464"/>
                    <a:pt x="42290" y="83033"/>
                  </a:cubicBezTo>
                  <a:cubicBezTo>
                    <a:pt x="42290" y="83033"/>
                    <a:pt x="42290" y="83601"/>
                    <a:pt x="41762" y="83033"/>
                  </a:cubicBezTo>
                  <a:cubicBezTo>
                    <a:pt x="41233" y="83033"/>
                    <a:pt x="40704" y="82464"/>
                    <a:pt x="40176" y="82464"/>
                  </a:cubicBezTo>
                  <a:cubicBezTo>
                    <a:pt x="40176" y="82464"/>
                    <a:pt x="39647" y="81895"/>
                    <a:pt x="39118" y="82464"/>
                  </a:cubicBezTo>
                  <a:cubicBezTo>
                    <a:pt x="39118" y="82464"/>
                    <a:pt x="38061" y="81895"/>
                    <a:pt x="38061" y="82464"/>
                  </a:cubicBezTo>
                  <a:cubicBezTo>
                    <a:pt x="38061" y="83033"/>
                    <a:pt x="38061" y="83601"/>
                    <a:pt x="38061" y="83601"/>
                  </a:cubicBezTo>
                  <a:cubicBezTo>
                    <a:pt x="38061" y="83601"/>
                    <a:pt x="37533" y="81327"/>
                    <a:pt x="37004" y="81327"/>
                  </a:cubicBezTo>
                  <a:cubicBezTo>
                    <a:pt x="36475" y="81327"/>
                    <a:pt x="35418" y="80758"/>
                    <a:pt x="35418" y="80758"/>
                  </a:cubicBezTo>
                  <a:cubicBezTo>
                    <a:pt x="34889" y="79620"/>
                    <a:pt x="34889" y="79620"/>
                    <a:pt x="34889" y="79620"/>
                  </a:cubicBezTo>
                  <a:cubicBezTo>
                    <a:pt x="34889" y="79620"/>
                    <a:pt x="35418" y="79620"/>
                    <a:pt x="35418" y="79620"/>
                  </a:cubicBezTo>
                  <a:cubicBezTo>
                    <a:pt x="35947" y="80189"/>
                    <a:pt x="35418" y="80189"/>
                    <a:pt x="35947" y="80189"/>
                  </a:cubicBezTo>
                  <a:cubicBezTo>
                    <a:pt x="36475" y="80189"/>
                    <a:pt x="35418" y="79052"/>
                    <a:pt x="36475" y="79052"/>
                  </a:cubicBezTo>
                  <a:cubicBezTo>
                    <a:pt x="37533" y="79052"/>
                    <a:pt x="37533" y="79052"/>
                    <a:pt x="37533" y="79052"/>
                  </a:cubicBezTo>
                  <a:cubicBezTo>
                    <a:pt x="37533" y="78483"/>
                    <a:pt x="38590" y="78483"/>
                    <a:pt x="37533" y="77914"/>
                  </a:cubicBezTo>
                  <a:cubicBezTo>
                    <a:pt x="36475" y="77345"/>
                    <a:pt x="36475" y="77345"/>
                    <a:pt x="36475" y="77345"/>
                  </a:cubicBezTo>
                  <a:cubicBezTo>
                    <a:pt x="35947" y="77345"/>
                    <a:pt x="35947" y="77345"/>
                    <a:pt x="35947" y="76777"/>
                  </a:cubicBezTo>
                  <a:cubicBezTo>
                    <a:pt x="35418" y="76208"/>
                    <a:pt x="35418" y="75639"/>
                    <a:pt x="34889" y="75639"/>
                  </a:cubicBezTo>
                  <a:cubicBezTo>
                    <a:pt x="34889" y="75639"/>
                    <a:pt x="33303" y="75639"/>
                    <a:pt x="33303" y="75639"/>
                  </a:cubicBezTo>
                  <a:cubicBezTo>
                    <a:pt x="33303" y="75639"/>
                    <a:pt x="32775" y="75071"/>
                    <a:pt x="32246" y="75071"/>
                  </a:cubicBezTo>
                  <a:cubicBezTo>
                    <a:pt x="31718" y="75071"/>
                    <a:pt x="30660" y="73933"/>
                    <a:pt x="30660" y="73933"/>
                  </a:cubicBezTo>
                  <a:cubicBezTo>
                    <a:pt x="30132" y="73364"/>
                    <a:pt x="28546" y="72796"/>
                    <a:pt x="28546" y="72796"/>
                  </a:cubicBezTo>
                  <a:cubicBezTo>
                    <a:pt x="28546" y="72796"/>
                    <a:pt x="28017" y="72227"/>
                    <a:pt x="27488" y="72227"/>
                  </a:cubicBezTo>
                  <a:cubicBezTo>
                    <a:pt x="26960" y="72227"/>
                    <a:pt x="26960" y="72227"/>
                    <a:pt x="26431" y="72227"/>
                  </a:cubicBezTo>
                  <a:cubicBezTo>
                    <a:pt x="25903" y="71658"/>
                    <a:pt x="25374" y="71090"/>
                    <a:pt x="25374" y="71090"/>
                  </a:cubicBezTo>
                  <a:cubicBezTo>
                    <a:pt x="24845" y="70521"/>
                    <a:pt x="24317" y="70521"/>
                    <a:pt x="24317" y="70521"/>
                  </a:cubicBezTo>
                  <a:cubicBezTo>
                    <a:pt x="24845" y="71090"/>
                    <a:pt x="24317" y="71090"/>
                    <a:pt x="25374" y="71658"/>
                  </a:cubicBezTo>
                  <a:cubicBezTo>
                    <a:pt x="25903" y="72227"/>
                    <a:pt x="26431" y="72227"/>
                    <a:pt x="26431" y="72227"/>
                  </a:cubicBezTo>
                  <a:cubicBezTo>
                    <a:pt x="26431" y="72227"/>
                    <a:pt x="26960" y="72796"/>
                    <a:pt x="26960" y="72796"/>
                  </a:cubicBezTo>
                  <a:cubicBezTo>
                    <a:pt x="26960" y="73364"/>
                    <a:pt x="27488" y="72796"/>
                    <a:pt x="28017" y="72796"/>
                  </a:cubicBezTo>
                  <a:cubicBezTo>
                    <a:pt x="28017" y="73364"/>
                    <a:pt x="28546" y="73364"/>
                    <a:pt x="28546" y="73933"/>
                  </a:cubicBezTo>
                  <a:cubicBezTo>
                    <a:pt x="28546" y="73933"/>
                    <a:pt x="30132" y="73933"/>
                    <a:pt x="30132" y="74502"/>
                  </a:cubicBezTo>
                  <a:cubicBezTo>
                    <a:pt x="30132" y="75071"/>
                    <a:pt x="30660" y="75639"/>
                    <a:pt x="30132" y="75639"/>
                  </a:cubicBezTo>
                  <a:cubicBezTo>
                    <a:pt x="30132" y="75639"/>
                    <a:pt x="29603" y="76208"/>
                    <a:pt x="29603" y="76208"/>
                  </a:cubicBezTo>
                  <a:cubicBezTo>
                    <a:pt x="30132" y="76208"/>
                    <a:pt x="30660" y="76777"/>
                    <a:pt x="31189" y="76777"/>
                  </a:cubicBezTo>
                  <a:cubicBezTo>
                    <a:pt x="31718" y="76777"/>
                    <a:pt x="31189" y="76777"/>
                    <a:pt x="32246" y="77345"/>
                  </a:cubicBezTo>
                  <a:cubicBezTo>
                    <a:pt x="33303" y="77345"/>
                    <a:pt x="33303" y="78483"/>
                    <a:pt x="33303" y="78483"/>
                  </a:cubicBezTo>
                  <a:cubicBezTo>
                    <a:pt x="33303" y="79052"/>
                    <a:pt x="34361" y="79620"/>
                    <a:pt x="34361" y="79620"/>
                  </a:cubicBezTo>
                  <a:cubicBezTo>
                    <a:pt x="34361" y="79620"/>
                    <a:pt x="33832" y="79620"/>
                    <a:pt x="34361" y="80189"/>
                  </a:cubicBezTo>
                  <a:cubicBezTo>
                    <a:pt x="34361" y="80189"/>
                    <a:pt x="33832" y="80189"/>
                    <a:pt x="34361" y="80758"/>
                  </a:cubicBezTo>
                  <a:cubicBezTo>
                    <a:pt x="34889" y="80758"/>
                    <a:pt x="35418" y="80758"/>
                    <a:pt x="35418" y="80758"/>
                  </a:cubicBezTo>
                  <a:cubicBezTo>
                    <a:pt x="35418" y="81327"/>
                    <a:pt x="35418" y="81327"/>
                    <a:pt x="35418" y="81895"/>
                  </a:cubicBezTo>
                  <a:cubicBezTo>
                    <a:pt x="35418" y="81895"/>
                    <a:pt x="34361" y="83033"/>
                    <a:pt x="35947" y="83033"/>
                  </a:cubicBezTo>
                  <a:cubicBezTo>
                    <a:pt x="37004" y="83033"/>
                    <a:pt x="37004" y="83033"/>
                    <a:pt x="37004" y="83033"/>
                  </a:cubicBezTo>
                  <a:cubicBezTo>
                    <a:pt x="37533" y="83601"/>
                    <a:pt x="37533" y="83601"/>
                    <a:pt x="37533" y="83601"/>
                  </a:cubicBezTo>
                  <a:cubicBezTo>
                    <a:pt x="37533" y="83601"/>
                    <a:pt x="37004" y="84170"/>
                    <a:pt x="37533" y="84739"/>
                  </a:cubicBezTo>
                  <a:cubicBezTo>
                    <a:pt x="37533" y="85308"/>
                    <a:pt x="39647" y="85308"/>
                    <a:pt x="39647" y="85308"/>
                  </a:cubicBezTo>
                  <a:cubicBezTo>
                    <a:pt x="39647" y="84739"/>
                    <a:pt x="39647" y="84739"/>
                    <a:pt x="39647" y="84739"/>
                  </a:cubicBezTo>
                  <a:cubicBezTo>
                    <a:pt x="39647" y="84739"/>
                    <a:pt x="40704" y="85308"/>
                    <a:pt x="40176" y="85308"/>
                  </a:cubicBezTo>
                  <a:cubicBezTo>
                    <a:pt x="40176" y="85876"/>
                    <a:pt x="39647" y="85876"/>
                    <a:pt x="39647" y="85876"/>
                  </a:cubicBezTo>
                  <a:cubicBezTo>
                    <a:pt x="39647" y="85876"/>
                    <a:pt x="39647" y="87014"/>
                    <a:pt x="40176" y="87014"/>
                  </a:cubicBezTo>
                  <a:cubicBezTo>
                    <a:pt x="40704" y="87014"/>
                    <a:pt x="41233" y="87582"/>
                    <a:pt x="41233" y="87582"/>
                  </a:cubicBezTo>
                  <a:cubicBezTo>
                    <a:pt x="41233" y="87582"/>
                    <a:pt x="41762" y="87582"/>
                    <a:pt x="41762" y="88151"/>
                  </a:cubicBezTo>
                  <a:cubicBezTo>
                    <a:pt x="42290" y="88151"/>
                    <a:pt x="42290" y="88720"/>
                    <a:pt x="42290" y="88720"/>
                  </a:cubicBezTo>
                  <a:cubicBezTo>
                    <a:pt x="42819" y="88720"/>
                    <a:pt x="43348" y="88720"/>
                    <a:pt x="43348" y="89289"/>
                  </a:cubicBezTo>
                  <a:cubicBezTo>
                    <a:pt x="43876" y="89289"/>
                    <a:pt x="44405" y="89857"/>
                    <a:pt x="44405" y="89289"/>
                  </a:cubicBezTo>
                  <a:cubicBezTo>
                    <a:pt x="44405" y="88720"/>
                    <a:pt x="44933" y="88720"/>
                    <a:pt x="44405" y="88151"/>
                  </a:cubicBezTo>
                  <a:cubicBezTo>
                    <a:pt x="43876" y="87582"/>
                    <a:pt x="43348" y="87582"/>
                    <a:pt x="42819" y="87582"/>
                  </a:cubicBezTo>
                  <a:cubicBezTo>
                    <a:pt x="42819" y="87582"/>
                    <a:pt x="42290" y="87582"/>
                    <a:pt x="42290" y="87014"/>
                  </a:cubicBezTo>
                  <a:cubicBezTo>
                    <a:pt x="41762" y="87014"/>
                    <a:pt x="41762" y="87014"/>
                    <a:pt x="41762" y="86445"/>
                  </a:cubicBezTo>
                  <a:cubicBezTo>
                    <a:pt x="41762" y="85876"/>
                    <a:pt x="41233" y="85308"/>
                    <a:pt x="41233" y="85308"/>
                  </a:cubicBezTo>
                  <a:cubicBezTo>
                    <a:pt x="41233" y="85308"/>
                    <a:pt x="41233" y="84170"/>
                    <a:pt x="41233" y="84170"/>
                  </a:cubicBezTo>
                  <a:cubicBezTo>
                    <a:pt x="40704" y="84170"/>
                    <a:pt x="40704" y="84170"/>
                    <a:pt x="40176" y="84170"/>
                  </a:cubicBezTo>
                  <a:cubicBezTo>
                    <a:pt x="40176" y="84170"/>
                    <a:pt x="39647" y="83601"/>
                    <a:pt x="39647" y="83601"/>
                  </a:cubicBezTo>
                  <a:cubicBezTo>
                    <a:pt x="39118" y="83601"/>
                    <a:pt x="38590" y="83601"/>
                    <a:pt x="38590" y="83601"/>
                  </a:cubicBezTo>
                  <a:cubicBezTo>
                    <a:pt x="38590" y="83033"/>
                    <a:pt x="39118" y="83033"/>
                    <a:pt x="39118" y="83033"/>
                  </a:cubicBezTo>
                  <a:cubicBezTo>
                    <a:pt x="39118" y="83033"/>
                    <a:pt x="39647" y="83033"/>
                    <a:pt x="40176" y="83033"/>
                  </a:cubicBezTo>
                  <a:cubicBezTo>
                    <a:pt x="40704" y="83601"/>
                    <a:pt x="40704" y="83033"/>
                    <a:pt x="41233" y="83601"/>
                  </a:cubicBezTo>
                  <a:cubicBezTo>
                    <a:pt x="41762" y="83601"/>
                    <a:pt x="41233" y="84170"/>
                    <a:pt x="41762" y="84170"/>
                  </a:cubicBezTo>
                  <a:cubicBezTo>
                    <a:pt x="42819" y="84170"/>
                    <a:pt x="42819" y="83601"/>
                    <a:pt x="42819" y="83601"/>
                  </a:cubicBezTo>
                  <a:cubicBezTo>
                    <a:pt x="43876" y="83033"/>
                    <a:pt x="43876" y="83033"/>
                    <a:pt x="43876" y="83033"/>
                  </a:cubicBezTo>
                  <a:cubicBezTo>
                    <a:pt x="43876" y="83033"/>
                    <a:pt x="43876" y="83033"/>
                    <a:pt x="44405" y="83601"/>
                  </a:cubicBezTo>
                  <a:cubicBezTo>
                    <a:pt x="44933" y="83601"/>
                    <a:pt x="43876" y="84170"/>
                    <a:pt x="44933" y="84170"/>
                  </a:cubicBezTo>
                  <a:cubicBezTo>
                    <a:pt x="45991" y="84170"/>
                    <a:pt x="46519" y="84170"/>
                    <a:pt x="46519" y="84170"/>
                  </a:cubicBezTo>
                  <a:cubicBezTo>
                    <a:pt x="46519" y="84739"/>
                    <a:pt x="46519" y="85308"/>
                    <a:pt x="46519" y="85308"/>
                  </a:cubicBezTo>
                  <a:cubicBezTo>
                    <a:pt x="46519" y="85308"/>
                    <a:pt x="46519" y="85876"/>
                    <a:pt x="46519" y="85876"/>
                  </a:cubicBezTo>
                  <a:cubicBezTo>
                    <a:pt x="47048" y="85876"/>
                    <a:pt x="48105" y="85876"/>
                    <a:pt x="48105" y="85876"/>
                  </a:cubicBezTo>
                  <a:cubicBezTo>
                    <a:pt x="48105" y="85876"/>
                    <a:pt x="48634" y="85876"/>
                    <a:pt x="48634" y="86445"/>
                  </a:cubicBezTo>
                  <a:cubicBezTo>
                    <a:pt x="49162" y="87014"/>
                    <a:pt x="47577" y="87582"/>
                    <a:pt x="47577" y="87582"/>
                  </a:cubicBezTo>
                  <a:cubicBezTo>
                    <a:pt x="47577" y="87582"/>
                    <a:pt x="47048" y="87014"/>
                    <a:pt x="47048" y="87582"/>
                  </a:cubicBezTo>
                  <a:cubicBezTo>
                    <a:pt x="47048" y="88151"/>
                    <a:pt x="46519" y="88151"/>
                    <a:pt x="47048" y="88720"/>
                  </a:cubicBezTo>
                  <a:cubicBezTo>
                    <a:pt x="47577" y="88720"/>
                    <a:pt x="47048" y="88720"/>
                    <a:pt x="47048" y="88720"/>
                  </a:cubicBezTo>
                  <a:cubicBezTo>
                    <a:pt x="46519" y="88720"/>
                    <a:pt x="45991" y="88151"/>
                    <a:pt x="46519" y="89289"/>
                  </a:cubicBezTo>
                  <a:cubicBezTo>
                    <a:pt x="46519" y="89857"/>
                    <a:pt x="47048" y="90426"/>
                    <a:pt x="47048" y="90426"/>
                  </a:cubicBezTo>
                  <a:cubicBezTo>
                    <a:pt x="47577" y="90426"/>
                    <a:pt x="48634" y="90426"/>
                    <a:pt x="48634" y="90426"/>
                  </a:cubicBezTo>
                  <a:cubicBezTo>
                    <a:pt x="49162" y="90426"/>
                    <a:pt x="49691" y="90426"/>
                    <a:pt x="49162" y="90426"/>
                  </a:cubicBezTo>
                  <a:cubicBezTo>
                    <a:pt x="48634" y="89857"/>
                    <a:pt x="48105" y="89857"/>
                    <a:pt x="48105" y="89857"/>
                  </a:cubicBezTo>
                  <a:cubicBezTo>
                    <a:pt x="48105" y="89857"/>
                    <a:pt x="48105" y="89857"/>
                    <a:pt x="48105" y="89289"/>
                  </a:cubicBezTo>
                  <a:cubicBezTo>
                    <a:pt x="48105" y="89289"/>
                    <a:pt x="48634" y="89289"/>
                    <a:pt x="48634" y="89289"/>
                  </a:cubicBezTo>
                  <a:cubicBezTo>
                    <a:pt x="48634" y="88720"/>
                    <a:pt x="49162" y="88151"/>
                    <a:pt x="49162" y="88151"/>
                  </a:cubicBezTo>
                  <a:cubicBezTo>
                    <a:pt x="49162" y="88151"/>
                    <a:pt x="49691" y="87014"/>
                    <a:pt x="50220" y="87582"/>
                  </a:cubicBezTo>
                  <a:cubicBezTo>
                    <a:pt x="50220" y="88151"/>
                    <a:pt x="50220" y="88151"/>
                    <a:pt x="50748" y="88151"/>
                  </a:cubicBezTo>
                  <a:cubicBezTo>
                    <a:pt x="50748" y="88151"/>
                    <a:pt x="52334" y="86445"/>
                    <a:pt x="52334" y="86445"/>
                  </a:cubicBezTo>
                  <a:cubicBezTo>
                    <a:pt x="52334" y="86445"/>
                    <a:pt x="52863" y="86445"/>
                    <a:pt x="52334" y="87014"/>
                  </a:cubicBezTo>
                  <a:cubicBezTo>
                    <a:pt x="52334" y="87582"/>
                    <a:pt x="51806" y="88151"/>
                    <a:pt x="52334" y="88720"/>
                  </a:cubicBezTo>
                  <a:cubicBezTo>
                    <a:pt x="52334" y="89289"/>
                    <a:pt x="52334" y="89289"/>
                    <a:pt x="52334" y="89289"/>
                  </a:cubicBezTo>
                  <a:cubicBezTo>
                    <a:pt x="52863" y="89857"/>
                    <a:pt x="52334" y="89857"/>
                    <a:pt x="52863" y="90426"/>
                  </a:cubicBezTo>
                  <a:cubicBezTo>
                    <a:pt x="52863" y="90995"/>
                    <a:pt x="52863" y="90426"/>
                    <a:pt x="52863" y="90995"/>
                  </a:cubicBezTo>
                  <a:cubicBezTo>
                    <a:pt x="53392" y="91563"/>
                    <a:pt x="53920" y="92701"/>
                    <a:pt x="53920" y="92701"/>
                  </a:cubicBezTo>
                  <a:cubicBezTo>
                    <a:pt x="53920" y="92701"/>
                    <a:pt x="53392" y="93270"/>
                    <a:pt x="53920" y="93270"/>
                  </a:cubicBezTo>
                  <a:cubicBezTo>
                    <a:pt x="54449" y="93838"/>
                    <a:pt x="55506" y="93838"/>
                    <a:pt x="55506" y="93838"/>
                  </a:cubicBezTo>
                  <a:cubicBezTo>
                    <a:pt x="55506" y="93838"/>
                    <a:pt x="55506" y="93838"/>
                    <a:pt x="55506" y="93838"/>
                  </a:cubicBezTo>
                  <a:cubicBezTo>
                    <a:pt x="55506" y="93838"/>
                    <a:pt x="56035" y="94407"/>
                    <a:pt x="56563" y="93838"/>
                  </a:cubicBezTo>
                  <a:cubicBezTo>
                    <a:pt x="56563" y="93270"/>
                    <a:pt x="57092" y="93270"/>
                    <a:pt x="57092" y="93270"/>
                  </a:cubicBezTo>
                  <a:cubicBezTo>
                    <a:pt x="57621" y="93270"/>
                    <a:pt x="57092" y="93270"/>
                    <a:pt x="58149" y="93270"/>
                  </a:cubicBezTo>
                  <a:cubicBezTo>
                    <a:pt x="59207" y="93270"/>
                    <a:pt x="59207" y="93838"/>
                    <a:pt x="59735" y="93270"/>
                  </a:cubicBezTo>
                  <a:cubicBezTo>
                    <a:pt x="60264" y="92701"/>
                    <a:pt x="59735" y="92701"/>
                    <a:pt x="60792" y="92701"/>
                  </a:cubicBezTo>
                  <a:cubicBezTo>
                    <a:pt x="61850" y="92701"/>
                    <a:pt x="62907" y="92132"/>
                    <a:pt x="62907" y="92132"/>
                  </a:cubicBezTo>
                  <a:cubicBezTo>
                    <a:pt x="62907" y="92132"/>
                    <a:pt x="64493" y="92132"/>
                    <a:pt x="64493" y="92132"/>
                  </a:cubicBezTo>
                  <a:cubicBezTo>
                    <a:pt x="65550" y="92701"/>
                    <a:pt x="65550" y="92701"/>
                    <a:pt x="65550" y="92701"/>
                  </a:cubicBezTo>
                  <a:cubicBezTo>
                    <a:pt x="65550" y="92701"/>
                    <a:pt x="66079" y="93270"/>
                    <a:pt x="66607" y="93270"/>
                  </a:cubicBezTo>
                  <a:cubicBezTo>
                    <a:pt x="66607" y="93270"/>
                    <a:pt x="67136" y="93270"/>
                    <a:pt x="67665" y="93270"/>
                  </a:cubicBezTo>
                  <a:cubicBezTo>
                    <a:pt x="67665" y="93270"/>
                    <a:pt x="69779" y="93838"/>
                    <a:pt x="69779" y="93838"/>
                  </a:cubicBezTo>
                  <a:cubicBezTo>
                    <a:pt x="71894" y="94407"/>
                    <a:pt x="71894" y="94407"/>
                    <a:pt x="71894" y="94407"/>
                  </a:cubicBezTo>
                  <a:cubicBezTo>
                    <a:pt x="72951" y="94976"/>
                    <a:pt x="72951" y="94976"/>
                    <a:pt x="72951" y="94976"/>
                  </a:cubicBezTo>
                  <a:cubicBezTo>
                    <a:pt x="75066" y="96682"/>
                    <a:pt x="75066" y="96682"/>
                    <a:pt x="75066" y="96682"/>
                  </a:cubicBezTo>
                  <a:cubicBezTo>
                    <a:pt x="77180" y="98957"/>
                    <a:pt x="77180" y="98957"/>
                    <a:pt x="77180" y="98957"/>
                  </a:cubicBezTo>
                  <a:cubicBezTo>
                    <a:pt x="79823" y="100094"/>
                    <a:pt x="79823" y="100094"/>
                    <a:pt x="79823" y="100094"/>
                  </a:cubicBezTo>
                  <a:cubicBezTo>
                    <a:pt x="81409" y="101232"/>
                    <a:pt x="81409" y="101232"/>
                    <a:pt x="81409" y="101232"/>
                  </a:cubicBezTo>
                  <a:cubicBezTo>
                    <a:pt x="82466" y="102369"/>
                    <a:pt x="82466" y="102369"/>
                    <a:pt x="82466" y="102369"/>
                  </a:cubicBezTo>
                  <a:cubicBezTo>
                    <a:pt x="82466" y="102369"/>
                    <a:pt x="84052" y="103507"/>
                    <a:pt x="84052" y="103507"/>
                  </a:cubicBezTo>
                  <a:cubicBezTo>
                    <a:pt x="84581" y="103507"/>
                    <a:pt x="86167" y="104644"/>
                    <a:pt x="86167" y="104644"/>
                  </a:cubicBezTo>
                  <a:cubicBezTo>
                    <a:pt x="87753" y="105781"/>
                    <a:pt x="87753" y="105781"/>
                    <a:pt x="87753" y="105781"/>
                  </a:cubicBezTo>
                  <a:cubicBezTo>
                    <a:pt x="87753" y="105781"/>
                    <a:pt x="88281" y="106919"/>
                    <a:pt x="88281" y="106919"/>
                  </a:cubicBezTo>
                  <a:cubicBezTo>
                    <a:pt x="88281" y="107488"/>
                    <a:pt x="87753" y="106919"/>
                    <a:pt x="87224" y="106919"/>
                  </a:cubicBezTo>
                  <a:cubicBezTo>
                    <a:pt x="86696" y="107488"/>
                    <a:pt x="84581" y="106350"/>
                    <a:pt x="84581" y="106350"/>
                  </a:cubicBezTo>
                  <a:cubicBezTo>
                    <a:pt x="83524" y="105213"/>
                    <a:pt x="83524" y="105213"/>
                    <a:pt x="83524" y="105213"/>
                  </a:cubicBezTo>
                  <a:cubicBezTo>
                    <a:pt x="81938" y="105213"/>
                    <a:pt x="81938" y="105213"/>
                    <a:pt x="81938" y="105213"/>
                  </a:cubicBezTo>
                  <a:cubicBezTo>
                    <a:pt x="80881" y="104644"/>
                    <a:pt x="80881" y="104644"/>
                    <a:pt x="80881" y="104644"/>
                  </a:cubicBezTo>
                  <a:cubicBezTo>
                    <a:pt x="78766" y="105213"/>
                    <a:pt x="78766" y="105213"/>
                    <a:pt x="78766" y="105213"/>
                  </a:cubicBezTo>
                  <a:cubicBezTo>
                    <a:pt x="77180" y="104644"/>
                    <a:pt x="77180" y="104644"/>
                    <a:pt x="77180" y="104644"/>
                  </a:cubicBezTo>
                  <a:cubicBezTo>
                    <a:pt x="77180" y="104644"/>
                    <a:pt x="76651" y="104644"/>
                    <a:pt x="77180" y="105213"/>
                  </a:cubicBezTo>
                  <a:cubicBezTo>
                    <a:pt x="77180" y="105213"/>
                    <a:pt x="77180" y="105781"/>
                    <a:pt x="77180" y="105781"/>
                  </a:cubicBezTo>
                  <a:cubicBezTo>
                    <a:pt x="75594" y="106919"/>
                    <a:pt x="75594" y="106919"/>
                    <a:pt x="75594" y="106919"/>
                  </a:cubicBezTo>
                  <a:cubicBezTo>
                    <a:pt x="73480" y="107488"/>
                    <a:pt x="73480" y="107488"/>
                    <a:pt x="73480" y="107488"/>
                  </a:cubicBezTo>
                  <a:cubicBezTo>
                    <a:pt x="71365" y="107488"/>
                    <a:pt x="71365" y="107488"/>
                    <a:pt x="71365" y="107488"/>
                  </a:cubicBezTo>
                  <a:cubicBezTo>
                    <a:pt x="69779" y="107488"/>
                    <a:pt x="69779" y="107488"/>
                    <a:pt x="69779" y="107488"/>
                  </a:cubicBezTo>
                  <a:cubicBezTo>
                    <a:pt x="69779" y="108625"/>
                    <a:pt x="69779" y="108625"/>
                    <a:pt x="69779" y="108625"/>
                  </a:cubicBezTo>
                  <a:cubicBezTo>
                    <a:pt x="69779" y="108625"/>
                    <a:pt x="67665" y="108625"/>
                    <a:pt x="69779" y="109194"/>
                  </a:cubicBezTo>
                  <a:cubicBezTo>
                    <a:pt x="71894" y="109194"/>
                    <a:pt x="72951" y="109194"/>
                    <a:pt x="72951" y="108625"/>
                  </a:cubicBezTo>
                  <a:cubicBezTo>
                    <a:pt x="73480" y="108625"/>
                    <a:pt x="73480" y="108056"/>
                    <a:pt x="74008" y="108056"/>
                  </a:cubicBezTo>
                  <a:cubicBezTo>
                    <a:pt x="74537" y="108056"/>
                    <a:pt x="75594" y="108056"/>
                    <a:pt x="76123" y="108056"/>
                  </a:cubicBezTo>
                  <a:cubicBezTo>
                    <a:pt x="76123" y="108056"/>
                    <a:pt x="76651" y="108056"/>
                    <a:pt x="77709" y="107488"/>
                  </a:cubicBezTo>
                  <a:cubicBezTo>
                    <a:pt x="78237" y="107488"/>
                    <a:pt x="78237" y="106919"/>
                    <a:pt x="79295" y="107488"/>
                  </a:cubicBezTo>
                  <a:cubicBezTo>
                    <a:pt x="80352" y="108056"/>
                    <a:pt x="79823" y="106350"/>
                    <a:pt x="79823" y="106350"/>
                  </a:cubicBezTo>
                  <a:cubicBezTo>
                    <a:pt x="79823" y="106350"/>
                    <a:pt x="79823" y="105781"/>
                    <a:pt x="80352" y="105781"/>
                  </a:cubicBezTo>
                  <a:cubicBezTo>
                    <a:pt x="81409" y="106350"/>
                    <a:pt x="81409" y="106350"/>
                    <a:pt x="81409" y="106350"/>
                  </a:cubicBezTo>
                  <a:cubicBezTo>
                    <a:pt x="81938" y="106350"/>
                    <a:pt x="82995" y="106919"/>
                    <a:pt x="82995" y="106919"/>
                  </a:cubicBezTo>
                  <a:cubicBezTo>
                    <a:pt x="83524" y="106919"/>
                    <a:pt x="85638" y="107488"/>
                    <a:pt x="85638" y="107488"/>
                  </a:cubicBezTo>
                  <a:cubicBezTo>
                    <a:pt x="85638" y="107488"/>
                    <a:pt x="86167" y="109194"/>
                    <a:pt x="86167" y="109194"/>
                  </a:cubicBezTo>
                  <a:cubicBezTo>
                    <a:pt x="86696" y="109194"/>
                    <a:pt x="88281" y="109194"/>
                    <a:pt x="88810" y="109194"/>
                  </a:cubicBezTo>
                  <a:cubicBezTo>
                    <a:pt x="89339" y="109194"/>
                    <a:pt x="90396" y="109194"/>
                    <a:pt x="90925" y="109763"/>
                  </a:cubicBezTo>
                  <a:cubicBezTo>
                    <a:pt x="91453" y="110331"/>
                    <a:pt x="91982" y="110331"/>
                    <a:pt x="91982" y="110331"/>
                  </a:cubicBezTo>
                  <a:cubicBezTo>
                    <a:pt x="91982" y="110331"/>
                    <a:pt x="92511" y="110900"/>
                    <a:pt x="93039" y="111469"/>
                  </a:cubicBezTo>
                  <a:cubicBezTo>
                    <a:pt x="93039" y="111469"/>
                    <a:pt x="94625" y="112606"/>
                    <a:pt x="94625" y="112606"/>
                  </a:cubicBezTo>
                  <a:cubicBezTo>
                    <a:pt x="94625" y="112606"/>
                    <a:pt x="97268" y="113744"/>
                    <a:pt x="97268" y="113744"/>
                  </a:cubicBezTo>
                  <a:cubicBezTo>
                    <a:pt x="97797" y="113175"/>
                    <a:pt x="97797" y="113175"/>
                    <a:pt x="97797" y="113175"/>
                  </a:cubicBezTo>
                  <a:cubicBezTo>
                    <a:pt x="97797" y="112606"/>
                    <a:pt x="97797" y="112037"/>
                    <a:pt x="97797" y="112037"/>
                  </a:cubicBezTo>
                  <a:cubicBezTo>
                    <a:pt x="97268" y="111469"/>
                    <a:pt x="95154" y="110900"/>
                    <a:pt x="95154" y="110900"/>
                  </a:cubicBezTo>
                  <a:cubicBezTo>
                    <a:pt x="95154" y="110900"/>
                    <a:pt x="94096" y="110331"/>
                    <a:pt x="94096" y="110331"/>
                  </a:cubicBezTo>
                  <a:cubicBezTo>
                    <a:pt x="93568" y="107488"/>
                    <a:pt x="94096" y="109763"/>
                    <a:pt x="92511" y="109194"/>
                  </a:cubicBezTo>
                  <a:cubicBezTo>
                    <a:pt x="92511" y="109194"/>
                    <a:pt x="92511" y="109194"/>
                    <a:pt x="92511" y="109194"/>
                  </a:cubicBezTo>
                  <a:cubicBezTo>
                    <a:pt x="92511" y="109194"/>
                    <a:pt x="92511" y="109194"/>
                    <a:pt x="92511" y="109194"/>
                  </a:cubicBezTo>
                  <a:cubicBezTo>
                    <a:pt x="91453" y="109763"/>
                    <a:pt x="91453" y="109194"/>
                    <a:pt x="91453" y="109194"/>
                  </a:cubicBezTo>
                  <a:cubicBezTo>
                    <a:pt x="91453" y="108625"/>
                    <a:pt x="91453" y="108625"/>
                    <a:pt x="91453" y="108625"/>
                  </a:cubicBezTo>
                  <a:cubicBezTo>
                    <a:pt x="90925" y="108056"/>
                    <a:pt x="90925" y="108056"/>
                    <a:pt x="90925" y="108056"/>
                  </a:cubicBezTo>
                  <a:cubicBezTo>
                    <a:pt x="90925" y="108056"/>
                    <a:pt x="90396" y="106919"/>
                    <a:pt x="90925" y="106350"/>
                  </a:cubicBezTo>
                  <a:cubicBezTo>
                    <a:pt x="91453" y="106350"/>
                    <a:pt x="90396" y="109194"/>
                    <a:pt x="92511" y="105781"/>
                  </a:cubicBezTo>
                  <a:cubicBezTo>
                    <a:pt x="92511" y="105781"/>
                    <a:pt x="92511" y="105213"/>
                    <a:pt x="92511" y="105213"/>
                  </a:cubicBezTo>
                  <a:cubicBezTo>
                    <a:pt x="91982" y="105213"/>
                    <a:pt x="91982" y="105213"/>
                    <a:pt x="91982" y="105213"/>
                  </a:cubicBezTo>
                  <a:cubicBezTo>
                    <a:pt x="90396" y="105213"/>
                    <a:pt x="90396" y="105213"/>
                    <a:pt x="90396" y="105213"/>
                  </a:cubicBezTo>
                  <a:cubicBezTo>
                    <a:pt x="90396" y="105213"/>
                    <a:pt x="90396" y="105781"/>
                    <a:pt x="89867" y="106350"/>
                  </a:cubicBezTo>
                  <a:cubicBezTo>
                    <a:pt x="89339" y="106919"/>
                    <a:pt x="89339" y="106350"/>
                    <a:pt x="89339" y="106350"/>
                  </a:cubicBezTo>
                  <a:cubicBezTo>
                    <a:pt x="89339" y="105781"/>
                    <a:pt x="89339" y="105781"/>
                    <a:pt x="89339" y="105781"/>
                  </a:cubicBezTo>
                  <a:cubicBezTo>
                    <a:pt x="89867" y="105213"/>
                    <a:pt x="89867" y="105213"/>
                    <a:pt x="89867" y="105213"/>
                  </a:cubicBezTo>
                  <a:cubicBezTo>
                    <a:pt x="89867" y="105213"/>
                    <a:pt x="89867" y="103507"/>
                    <a:pt x="89867" y="102938"/>
                  </a:cubicBezTo>
                  <a:cubicBezTo>
                    <a:pt x="89867" y="102938"/>
                    <a:pt x="89867" y="102938"/>
                    <a:pt x="89867" y="102938"/>
                  </a:cubicBezTo>
                  <a:cubicBezTo>
                    <a:pt x="88281" y="101800"/>
                    <a:pt x="88281" y="101800"/>
                    <a:pt x="88281" y="101800"/>
                  </a:cubicBezTo>
                  <a:cubicBezTo>
                    <a:pt x="87224" y="100663"/>
                    <a:pt x="87224" y="100663"/>
                    <a:pt x="87224" y="100663"/>
                  </a:cubicBezTo>
                  <a:cubicBezTo>
                    <a:pt x="85638" y="99526"/>
                    <a:pt x="85638" y="99526"/>
                    <a:pt x="85638" y="99526"/>
                  </a:cubicBezTo>
                  <a:cubicBezTo>
                    <a:pt x="83524" y="97251"/>
                    <a:pt x="83524" y="97251"/>
                    <a:pt x="83524" y="97251"/>
                  </a:cubicBezTo>
                  <a:cubicBezTo>
                    <a:pt x="82466" y="96682"/>
                    <a:pt x="82466" y="96682"/>
                    <a:pt x="82466" y="96682"/>
                  </a:cubicBezTo>
                  <a:cubicBezTo>
                    <a:pt x="81409" y="95545"/>
                    <a:pt x="81409" y="95545"/>
                    <a:pt x="81409" y="95545"/>
                  </a:cubicBezTo>
                  <a:cubicBezTo>
                    <a:pt x="81409" y="94407"/>
                    <a:pt x="81409" y="94407"/>
                    <a:pt x="81409" y="94407"/>
                  </a:cubicBezTo>
                  <a:cubicBezTo>
                    <a:pt x="80881" y="92132"/>
                    <a:pt x="80881" y="92132"/>
                    <a:pt x="80881" y="92132"/>
                  </a:cubicBezTo>
                  <a:cubicBezTo>
                    <a:pt x="80881" y="92132"/>
                    <a:pt x="80881" y="92132"/>
                    <a:pt x="80881" y="92132"/>
                  </a:cubicBezTo>
                  <a:cubicBezTo>
                    <a:pt x="80881" y="92132"/>
                    <a:pt x="78766" y="91563"/>
                    <a:pt x="77709" y="90995"/>
                  </a:cubicBezTo>
                  <a:cubicBezTo>
                    <a:pt x="76651" y="90426"/>
                    <a:pt x="76651" y="90426"/>
                    <a:pt x="76651" y="90426"/>
                  </a:cubicBezTo>
                  <a:cubicBezTo>
                    <a:pt x="75594" y="88720"/>
                    <a:pt x="75594" y="88720"/>
                    <a:pt x="75594" y="88720"/>
                  </a:cubicBezTo>
                  <a:cubicBezTo>
                    <a:pt x="75066" y="88151"/>
                    <a:pt x="75066" y="88151"/>
                    <a:pt x="75066" y="88151"/>
                  </a:cubicBezTo>
                  <a:cubicBezTo>
                    <a:pt x="73480" y="86445"/>
                    <a:pt x="73480" y="86445"/>
                    <a:pt x="73480" y="86445"/>
                  </a:cubicBezTo>
                  <a:cubicBezTo>
                    <a:pt x="72951" y="86445"/>
                    <a:pt x="72951" y="86445"/>
                    <a:pt x="72951" y="86445"/>
                  </a:cubicBezTo>
                  <a:cubicBezTo>
                    <a:pt x="70308" y="85308"/>
                    <a:pt x="70308" y="85308"/>
                    <a:pt x="70308" y="85308"/>
                  </a:cubicBezTo>
                  <a:cubicBezTo>
                    <a:pt x="69779" y="84170"/>
                    <a:pt x="69779" y="84170"/>
                    <a:pt x="69779" y="84170"/>
                  </a:cubicBezTo>
                  <a:cubicBezTo>
                    <a:pt x="68722" y="83601"/>
                    <a:pt x="68722" y="83601"/>
                    <a:pt x="68722" y="83601"/>
                  </a:cubicBezTo>
                  <a:cubicBezTo>
                    <a:pt x="68193" y="82464"/>
                    <a:pt x="68193" y="82464"/>
                    <a:pt x="68193" y="82464"/>
                  </a:cubicBezTo>
                  <a:cubicBezTo>
                    <a:pt x="66607" y="81895"/>
                    <a:pt x="66607" y="81895"/>
                    <a:pt x="66607" y="81895"/>
                  </a:cubicBezTo>
                  <a:cubicBezTo>
                    <a:pt x="66079" y="80758"/>
                    <a:pt x="66079" y="80758"/>
                    <a:pt x="66079" y="80758"/>
                  </a:cubicBezTo>
                  <a:cubicBezTo>
                    <a:pt x="65550" y="80189"/>
                    <a:pt x="65550" y="80189"/>
                    <a:pt x="65550" y="80189"/>
                  </a:cubicBezTo>
                  <a:cubicBezTo>
                    <a:pt x="63964" y="77914"/>
                    <a:pt x="63964" y="77914"/>
                    <a:pt x="63964" y="77914"/>
                  </a:cubicBezTo>
                  <a:cubicBezTo>
                    <a:pt x="62378" y="76777"/>
                    <a:pt x="62378" y="76777"/>
                    <a:pt x="62378" y="76777"/>
                  </a:cubicBezTo>
                  <a:cubicBezTo>
                    <a:pt x="61850" y="76208"/>
                    <a:pt x="61850" y="76208"/>
                    <a:pt x="61850" y="76208"/>
                  </a:cubicBezTo>
                  <a:cubicBezTo>
                    <a:pt x="61321" y="75639"/>
                    <a:pt x="61321" y="75639"/>
                    <a:pt x="61321" y="75639"/>
                  </a:cubicBezTo>
                  <a:cubicBezTo>
                    <a:pt x="60264" y="73933"/>
                    <a:pt x="60264" y="73933"/>
                    <a:pt x="60264" y="73933"/>
                  </a:cubicBezTo>
                  <a:cubicBezTo>
                    <a:pt x="58678" y="72227"/>
                    <a:pt x="58678" y="72227"/>
                    <a:pt x="58678" y="72227"/>
                  </a:cubicBezTo>
                  <a:cubicBezTo>
                    <a:pt x="57621" y="71090"/>
                    <a:pt x="57621" y="71090"/>
                    <a:pt x="57621" y="71090"/>
                  </a:cubicBezTo>
                  <a:cubicBezTo>
                    <a:pt x="56563" y="69383"/>
                    <a:pt x="56563" y="69383"/>
                    <a:pt x="56563" y="69383"/>
                  </a:cubicBezTo>
                  <a:cubicBezTo>
                    <a:pt x="57621" y="68246"/>
                    <a:pt x="57621" y="68246"/>
                    <a:pt x="57621" y="68246"/>
                  </a:cubicBezTo>
                  <a:cubicBezTo>
                    <a:pt x="57092" y="67677"/>
                    <a:pt x="56563" y="67677"/>
                    <a:pt x="56563" y="67109"/>
                  </a:cubicBezTo>
                  <a:cubicBezTo>
                    <a:pt x="56035" y="67109"/>
                    <a:pt x="54977" y="66540"/>
                    <a:pt x="55506" y="65971"/>
                  </a:cubicBezTo>
                  <a:cubicBezTo>
                    <a:pt x="55506" y="65402"/>
                    <a:pt x="54977" y="64834"/>
                    <a:pt x="54977" y="63696"/>
                  </a:cubicBezTo>
                  <a:cubicBezTo>
                    <a:pt x="54977" y="63127"/>
                    <a:pt x="54977" y="62559"/>
                    <a:pt x="54449" y="62559"/>
                  </a:cubicBezTo>
                  <a:cubicBezTo>
                    <a:pt x="53920" y="61990"/>
                    <a:pt x="53920" y="61990"/>
                    <a:pt x="53920" y="61990"/>
                  </a:cubicBezTo>
                  <a:cubicBezTo>
                    <a:pt x="53392" y="61990"/>
                    <a:pt x="52863" y="61990"/>
                    <a:pt x="52863" y="61990"/>
                  </a:cubicBezTo>
                  <a:cubicBezTo>
                    <a:pt x="52334" y="61990"/>
                    <a:pt x="52334" y="61990"/>
                    <a:pt x="52334" y="61990"/>
                  </a:cubicBezTo>
                  <a:cubicBezTo>
                    <a:pt x="52334" y="61990"/>
                    <a:pt x="52863" y="60853"/>
                    <a:pt x="52863" y="59715"/>
                  </a:cubicBezTo>
                  <a:cubicBezTo>
                    <a:pt x="50748" y="59146"/>
                    <a:pt x="50748" y="59146"/>
                    <a:pt x="50748" y="59146"/>
                  </a:cubicBezTo>
                  <a:cubicBezTo>
                    <a:pt x="50748" y="59146"/>
                    <a:pt x="50748" y="57440"/>
                    <a:pt x="49691" y="56872"/>
                  </a:cubicBezTo>
                  <a:cubicBezTo>
                    <a:pt x="48634" y="56872"/>
                    <a:pt x="48634" y="56872"/>
                    <a:pt x="48634" y="56872"/>
                  </a:cubicBezTo>
                  <a:cubicBezTo>
                    <a:pt x="48105" y="57440"/>
                    <a:pt x="48105" y="58009"/>
                    <a:pt x="48105" y="58009"/>
                  </a:cubicBezTo>
                  <a:cubicBezTo>
                    <a:pt x="45991" y="55734"/>
                    <a:pt x="45991" y="55734"/>
                    <a:pt x="45991" y="55734"/>
                  </a:cubicBezTo>
                  <a:cubicBezTo>
                    <a:pt x="45991" y="55734"/>
                    <a:pt x="45991" y="55165"/>
                    <a:pt x="46519" y="54028"/>
                  </a:cubicBezTo>
                  <a:cubicBezTo>
                    <a:pt x="47577" y="52890"/>
                    <a:pt x="46519" y="52322"/>
                    <a:pt x="46519" y="52322"/>
                  </a:cubicBezTo>
                  <a:cubicBezTo>
                    <a:pt x="45991" y="50616"/>
                    <a:pt x="45991" y="50616"/>
                    <a:pt x="45991" y="50616"/>
                  </a:cubicBezTo>
                  <a:cubicBezTo>
                    <a:pt x="46519" y="49478"/>
                    <a:pt x="46519" y="49478"/>
                    <a:pt x="46519" y="49478"/>
                  </a:cubicBezTo>
                  <a:cubicBezTo>
                    <a:pt x="45991" y="48909"/>
                    <a:pt x="45991" y="48909"/>
                    <a:pt x="45991" y="48909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6519" y="46066"/>
                    <a:pt x="46519" y="46066"/>
                    <a:pt x="46519" y="46066"/>
                  </a:cubicBezTo>
                  <a:cubicBezTo>
                    <a:pt x="46519" y="46066"/>
                    <a:pt x="45991" y="43791"/>
                    <a:pt x="46519" y="43222"/>
                  </a:cubicBezTo>
                  <a:cubicBezTo>
                    <a:pt x="46519" y="43222"/>
                    <a:pt x="46519" y="43222"/>
                    <a:pt x="46519" y="43222"/>
                  </a:cubicBezTo>
                  <a:cubicBezTo>
                    <a:pt x="46519" y="42654"/>
                    <a:pt x="46519" y="42654"/>
                    <a:pt x="47048" y="42654"/>
                  </a:cubicBezTo>
                  <a:cubicBezTo>
                    <a:pt x="47048" y="42085"/>
                    <a:pt x="49691" y="41516"/>
                    <a:pt x="49691" y="41516"/>
                  </a:cubicBezTo>
                  <a:cubicBezTo>
                    <a:pt x="50748" y="40947"/>
                    <a:pt x="50748" y="40947"/>
                    <a:pt x="50748" y="40947"/>
                  </a:cubicBezTo>
                  <a:cubicBezTo>
                    <a:pt x="52863" y="43791"/>
                    <a:pt x="52863" y="43791"/>
                    <a:pt x="52863" y="43791"/>
                  </a:cubicBezTo>
                  <a:cubicBezTo>
                    <a:pt x="54977" y="46066"/>
                    <a:pt x="54977" y="46066"/>
                    <a:pt x="54977" y="46066"/>
                  </a:cubicBezTo>
                  <a:cubicBezTo>
                    <a:pt x="56563" y="47203"/>
                    <a:pt x="56563" y="47203"/>
                    <a:pt x="56563" y="47203"/>
                  </a:cubicBezTo>
                  <a:cubicBezTo>
                    <a:pt x="56563" y="47203"/>
                    <a:pt x="57092" y="46635"/>
                    <a:pt x="57621" y="46635"/>
                  </a:cubicBezTo>
                  <a:cubicBezTo>
                    <a:pt x="57621" y="46066"/>
                    <a:pt x="57621" y="44928"/>
                    <a:pt x="57621" y="44928"/>
                  </a:cubicBezTo>
                  <a:cubicBezTo>
                    <a:pt x="58678" y="43791"/>
                    <a:pt x="58678" y="43791"/>
                    <a:pt x="58678" y="43791"/>
                  </a:cubicBezTo>
                  <a:cubicBezTo>
                    <a:pt x="59207" y="42654"/>
                    <a:pt x="59207" y="42654"/>
                    <a:pt x="59207" y="42654"/>
                  </a:cubicBezTo>
                  <a:cubicBezTo>
                    <a:pt x="59207" y="41516"/>
                    <a:pt x="59207" y="41516"/>
                    <a:pt x="59207" y="41516"/>
                  </a:cubicBezTo>
                  <a:cubicBezTo>
                    <a:pt x="60264" y="40947"/>
                    <a:pt x="60264" y="40947"/>
                    <a:pt x="60264" y="40947"/>
                  </a:cubicBezTo>
                  <a:cubicBezTo>
                    <a:pt x="61850" y="40379"/>
                    <a:pt x="61850" y="40379"/>
                    <a:pt x="61850" y="40379"/>
                  </a:cubicBezTo>
                  <a:cubicBezTo>
                    <a:pt x="63964" y="39810"/>
                    <a:pt x="63964" y="39810"/>
                    <a:pt x="63964" y="39810"/>
                  </a:cubicBezTo>
                  <a:cubicBezTo>
                    <a:pt x="63964" y="39810"/>
                    <a:pt x="65550" y="40379"/>
                    <a:pt x="66079" y="40379"/>
                  </a:cubicBezTo>
                  <a:cubicBezTo>
                    <a:pt x="66079" y="40379"/>
                    <a:pt x="66607" y="40379"/>
                    <a:pt x="66607" y="40379"/>
                  </a:cubicBezTo>
                  <a:cubicBezTo>
                    <a:pt x="67665" y="38672"/>
                    <a:pt x="67665" y="38672"/>
                    <a:pt x="67665" y="38672"/>
                  </a:cubicBezTo>
                  <a:cubicBezTo>
                    <a:pt x="67665" y="38672"/>
                    <a:pt x="67665" y="38672"/>
                    <a:pt x="67665" y="38672"/>
                  </a:cubicBezTo>
                  <a:cubicBezTo>
                    <a:pt x="68193" y="37535"/>
                    <a:pt x="68193" y="37535"/>
                    <a:pt x="68193" y="37535"/>
                  </a:cubicBezTo>
                  <a:cubicBezTo>
                    <a:pt x="70837" y="38672"/>
                    <a:pt x="70837" y="38672"/>
                    <a:pt x="70837" y="38672"/>
                  </a:cubicBezTo>
                  <a:cubicBezTo>
                    <a:pt x="71894" y="39810"/>
                    <a:pt x="71894" y="39810"/>
                    <a:pt x="71894" y="39810"/>
                  </a:cubicBezTo>
                  <a:cubicBezTo>
                    <a:pt x="74537" y="40379"/>
                    <a:pt x="74537" y="40379"/>
                    <a:pt x="74537" y="40379"/>
                  </a:cubicBezTo>
                  <a:cubicBezTo>
                    <a:pt x="74537" y="40379"/>
                    <a:pt x="74537" y="40379"/>
                    <a:pt x="74537" y="40379"/>
                  </a:cubicBezTo>
                  <a:cubicBezTo>
                    <a:pt x="75594" y="40379"/>
                    <a:pt x="75594" y="40379"/>
                    <a:pt x="75594" y="40379"/>
                  </a:cubicBezTo>
                  <a:cubicBezTo>
                    <a:pt x="75594" y="39810"/>
                    <a:pt x="75594" y="39810"/>
                    <a:pt x="75594" y="39810"/>
                  </a:cubicBezTo>
                  <a:cubicBezTo>
                    <a:pt x="77709" y="39810"/>
                    <a:pt x="77709" y="39810"/>
                    <a:pt x="77709" y="39810"/>
                  </a:cubicBezTo>
                  <a:cubicBezTo>
                    <a:pt x="80352" y="40379"/>
                    <a:pt x="80352" y="40379"/>
                    <a:pt x="80352" y="40379"/>
                  </a:cubicBezTo>
                  <a:cubicBezTo>
                    <a:pt x="81938" y="40379"/>
                    <a:pt x="81938" y="40379"/>
                    <a:pt x="81938" y="40379"/>
                  </a:cubicBezTo>
                  <a:cubicBezTo>
                    <a:pt x="84581" y="40379"/>
                    <a:pt x="84581" y="40379"/>
                    <a:pt x="84581" y="40379"/>
                  </a:cubicBezTo>
                  <a:cubicBezTo>
                    <a:pt x="86167" y="40947"/>
                    <a:pt x="86167" y="40947"/>
                    <a:pt x="86167" y="40947"/>
                  </a:cubicBezTo>
                  <a:cubicBezTo>
                    <a:pt x="87224" y="41516"/>
                    <a:pt x="87224" y="41516"/>
                    <a:pt x="87224" y="41516"/>
                  </a:cubicBezTo>
                  <a:cubicBezTo>
                    <a:pt x="87224" y="41516"/>
                    <a:pt x="87224" y="41516"/>
                    <a:pt x="87753" y="40947"/>
                  </a:cubicBezTo>
                  <a:cubicBezTo>
                    <a:pt x="87753" y="40947"/>
                    <a:pt x="89339" y="40947"/>
                    <a:pt x="89339" y="40947"/>
                  </a:cubicBezTo>
                  <a:cubicBezTo>
                    <a:pt x="89867" y="39241"/>
                    <a:pt x="89867" y="39241"/>
                    <a:pt x="89867" y="39241"/>
                  </a:cubicBezTo>
                  <a:cubicBezTo>
                    <a:pt x="90396" y="40379"/>
                    <a:pt x="90396" y="40379"/>
                    <a:pt x="90396" y="40379"/>
                  </a:cubicBezTo>
                  <a:cubicBezTo>
                    <a:pt x="90925" y="40379"/>
                    <a:pt x="91982" y="40379"/>
                    <a:pt x="91982" y="40379"/>
                  </a:cubicBezTo>
                  <a:cubicBezTo>
                    <a:pt x="92511" y="38672"/>
                    <a:pt x="92511" y="38672"/>
                    <a:pt x="92511" y="38672"/>
                  </a:cubicBezTo>
                  <a:cubicBezTo>
                    <a:pt x="93039" y="39241"/>
                    <a:pt x="93039" y="39241"/>
                    <a:pt x="93039" y="39241"/>
                  </a:cubicBezTo>
                  <a:cubicBezTo>
                    <a:pt x="93568" y="39241"/>
                    <a:pt x="93568" y="39241"/>
                    <a:pt x="94096" y="39241"/>
                  </a:cubicBezTo>
                  <a:cubicBezTo>
                    <a:pt x="94625" y="39241"/>
                    <a:pt x="95154" y="38672"/>
                    <a:pt x="95154" y="38672"/>
                  </a:cubicBezTo>
                  <a:cubicBezTo>
                    <a:pt x="95154" y="38672"/>
                    <a:pt x="95682" y="39241"/>
                    <a:pt x="95682" y="39241"/>
                  </a:cubicBezTo>
                  <a:cubicBezTo>
                    <a:pt x="95682" y="39241"/>
                    <a:pt x="96211" y="38672"/>
                    <a:pt x="96740" y="38672"/>
                  </a:cubicBezTo>
                  <a:cubicBezTo>
                    <a:pt x="97797" y="38672"/>
                    <a:pt x="98325" y="38104"/>
                    <a:pt x="98325" y="38104"/>
                  </a:cubicBezTo>
                  <a:cubicBezTo>
                    <a:pt x="98325" y="38104"/>
                    <a:pt x="98854" y="39241"/>
                    <a:pt x="99911" y="39810"/>
                  </a:cubicBezTo>
                  <a:cubicBezTo>
                    <a:pt x="99911" y="39810"/>
                    <a:pt x="99911" y="39810"/>
                    <a:pt x="99911" y="39810"/>
                  </a:cubicBezTo>
                  <a:cubicBezTo>
                    <a:pt x="100969" y="39810"/>
                    <a:pt x="100969" y="39810"/>
                    <a:pt x="100969" y="39810"/>
                  </a:cubicBezTo>
                  <a:cubicBezTo>
                    <a:pt x="100969" y="39810"/>
                    <a:pt x="100969" y="39810"/>
                    <a:pt x="100969" y="39810"/>
                  </a:cubicBezTo>
                  <a:cubicBezTo>
                    <a:pt x="100969" y="39810"/>
                    <a:pt x="101497" y="39241"/>
                    <a:pt x="102026" y="39241"/>
                  </a:cubicBezTo>
                  <a:cubicBezTo>
                    <a:pt x="103083" y="39241"/>
                    <a:pt x="103612" y="39241"/>
                    <a:pt x="104140" y="39241"/>
                  </a:cubicBezTo>
                  <a:cubicBezTo>
                    <a:pt x="105198" y="39241"/>
                    <a:pt x="105726" y="40379"/>
                    <a:pt x="105726" y="40379"/>
                  </a:cubicBezTo>
                  <a:cubicBezTo>
                    <a:pt x="107312" y="42085"/>
                    <a:pt x="107312" y="42085"/>
                    <a:pt x="107312" y="42085"/>
                  </a:cubicBezTo>
                  <a:cubicBezTo>
                    <a:pt x="107312" y="42085"/>
                    <a:pt x="107841" y="43222"/>
                    <a:pt x="107841" y="43791"/>
                  </a:cubicBezTo>
                  <a:cubicBezTo>
                    <a:pt x="108370" y="44360"/>
                    <a:pt x="108370" y="44928"/>
                    <a:pt x="108370" y="44928"/>
                  </a:cubicBezTo>
                  <a:cubicBezTo>
                    <a:pt x="108370" y="44928"/>
                    <a:pt x="112599" y="46635"/>
                    <a:pt x="113127" y="46635"/>
                  </a:cubicBezTo>
                  <a:cubicBezTo>
                    <a:pt x="113127" y="46635"/>
                    <a:pt x="113656" y="46635"/>
                    <a:pt x="113656" y="46635"/>
                  </a:cubicBezTo>
                  <a:close/>
                  <a:moveTo>
                    <a:pt x="92511" y="108625"/>
                  </a:moveTo>
                  <a:cubicBezTo>
                    <a:pt x="92511" y="108625"/>
                    <a:pt x="92511" y="108625"/>
                    <a:pt x="92511" y="108625"/>
                  </a:cubicBezTo>
                  <a:cubicBezTo>
                    <a:pt x="93039" y="108625"/>
                    <a:pt x="93039" y="108056"/>
                    <a:pt x="93039" y="108056"/>
                  </a:cubicBezTo>
                  <a:cubicBezTo>
                    <a:pt x="94625" y="108056"/>
                    <a:pt x="94625" y="108056"/>
                    <a:pt x="94625" y="108056"/>
                  </a:cubicBezTo>
                  <a:cubicBezTo>
                    <a:pt x="94625" y="108056"/>
                    <a:pt x="94625" y="108056"/>
                    <a:pt x="94625" y="108056"/>
                  </a:cubicBezTo>
                  <a:cubicBezTo>
                    <a:pt x="96211" y="108625"/>
                    <a:pt x="96211" y="108625"/>
                    <a:pt x="96211" y="108625"/>
                  </a:cubicBezTo>
                  <a:cubicBezTo>
                    <a:pt x="97268" y="109763"/>
                    <a:pt x="97268" y="109763"/>
                    <a:pt x="97268" y="109763"/>
                  </a:cubicBezTo>
                  <a:cubicBezTo>
                    <a:pt x="97797" y="110900"/>
                    <a:pt x="97797" y="110900"/>
                    <a:pt x="97797" y="110900"/>
                  </a:cubicBezTo>
                  <a:cubicBezTo>
                    <a:pt x="98854" y="112037"/>
                    <a:pt x="98854" y="112037"/>
                    <a:pt x="98854" y="112037"/>
                  </a:cubicBezTo>
                  <a:cubicBezTo>
                    <a:pt x="101497" y="113744"/>
                    <a:pt x="101497" y="113744"/>
                    <a:pt x="101497" y="113744"/>
                  </a:cubicBezTo>
                  <a:cubicBezTo>
                    <a:pt x="104669" y="115450"/>
                    <a:pt x="104669" y="115450"/>
                    <a:pt x="104669" y="115450"/>
                  </a:cubicBezTo>
                  <a:cubicBezTo>
                    <a:pt x="104669" y="115450"/>
                    <a:pt x="106784" y="116587"/>
                    <a:pt x="107312" y="116587"/>
                  </a:cubicBezTo>
                  <a:cubicBezTo>
                    <a:pt x="107312" y="116587"/>
                    <a:pt x="107312" y="117156"/>
                    <a:pt x="107841" y="117156"/>
                  </a:cubicBezTo>
                  <a:cubicBezTo>
                    <a:pt x="107841" y="117725"/>
                    <a:pt x="108898" y="119431"/>
                    <a:pt x="108898" y="119431"/>
                  </a:cubicBezTo>
                  <a:cubicBezTo>
                    <a:pt x="109427" y="120000"/>
                    <a:pt x="107841" y="118862"/>
                    <a:pt x="107841" y="118862"/>
                  </a:cubicBezTo>
                  <a:cubicBezTo>
                    <a:pt x="107841" y="118862"/>
                    <a:pt x="107312" y="117725"/>
                    <a:pt x="106784" y="117156"/>
                  </a:cubicBezTo>
                  <a:cubicBezTo>
                    <a:pt x="105726" y="117156"/>
                    <a:pt x="104669" y="117156"/>
                    <a:pt x="104140" y="116587"/>
                  </a:cubicBezTo>
                  <a:cubicBezTo>
                    <a:pt x="103612" y="116018"/>
                    <a:pt x="103612" y="115450"/>
                    <a:pt x="103612" y="115450"/>
                  </a:cubicBezTo>
                  <a:cubicBezTo>
                    <a:pt x="103083" y="115450"/>
                    <a:pt x="103083" y="114312"/>
                    <a:pt x="101497" y="114312"/>
                  </a:cubicBezTo>
                  <a:cubicBezTo>
                    <a:pt x="99911" y="113744"/>
                    <a:pt x="99911" y="114312"/>
                    <a:pt x="99383" y="113175"/>
                  </a:cubicBezTo>
                  <a:cubicBezTo>
                    <a:pt x="98854" y="111469"/>
                    <a:pt x="98854" y="112606"/>
                    <a:pt x="98325" y="111469"/>
                  </a:cubicBezTo>
                  <a:cubicBezTo>
                    <a:pt x="97268" y="110900"/>
                    <a:pt x="97797" y="111469"/>
                    <a:pt x="95682" y="110900"/>
                  </a:cubicBezTo>
                  <a:cubicBezTo>
                    <a:pt x="94096" y="109763"/>
                    <a:pt x="95154" y="110331"/>
                    <a:pt x="95154" y="109763"/>
                  </a:cubicBezTo>
                  <a:cubicBezTo>
                    <a:pt x="94625" y="108625"/>
                    <a:pt x="95154" y="109194"/>
                    <a:pt x="94096" y="109194"/>
                  </a:cubicBezTo>
                  <a:cubicBezTo>
                    <a:pt x="93568" y="108625"/>
                    <a:pt x="94096" y="108625"/>
                    <a:pt x="93568" y="108625"/>
                  </a:cubicBezTo>
                  <a:cubicBezTo>
                    <a:pt x="93568" y="108625"/>
                    <a:pt x="93039" y="109194"/>
                    <a:pt x="92511" y="109194"/>
                  </a:cubicBezTo>
                  <a:cubicBezTo>
                    <a:pt x="92511" y="108625"/>
                    <a:pt x="92511" y="108625"/>
                    <a:pt x="92511" y="108625"/>
                  </a:cubicBezTo>
                  <a:close/>
                  <a:moveTo>
                    <a:pt x="89339" y="112606"/>
                  </a:moveTo>
                  <a:cubicBezTo>
                    <a:pt x="89339" y="112606"/>
                    <a:pt x="89339" y="112606"/>
                    <a:pt x="89339" y="112606"/>
                  </a:cubicBezTo>
                  <a:cubicBezTo>
                    <a:pt x="89339" y="112606"/>
                    <a:pt x="88281" y="112606"/>
                    <a:pt x="87753" y="112606"/>
                  </a:cubicBezTo>
                  <a:cubicBezTo>
                    <a:pt x="87753" y="112606"/>
                    <a:pt x="87224" y="112037"/>
                    <a:pt x="86696" y="112037"/>
                  </a:cubicBezTo>
                  <a:cubicBezTo>
                    <a:pt x="86167" y="112037"/>
                    <a:pt x="85110" y="112037"/>
                    <a:pt x="85110" y="112037"/>
                  </a:cubicBezTo>
                  <a:cubicBezTo>
                    <a:pt x="84581" y="112037"/>
                    <a:pt x="84052" y="111469"/>
                    <a:pt x="84052" y="111469"/>
                  </a:cubicBezTo>
                  <a:cubicBezTo>
                    <a:pt x="84052" y="111469"/>
                    <a:pt x="84052" y="110900"/>
                    <a:pt x="84052" y="110900"/>
                  </a:cubicBezTo>
                  <a:cubicBezTo>
                    <a:pt x="84052" y="110900"/>
                    <a:pt x="85110" y="110331"/>
                    <a:pt x="85110" y="110331"/>
                  </a:cubicBezTo>
                  <a:cubicBezTo>
                    <a:pt x="85110" y="110900"/>
                    <a:pt x="88281" y="111469"/>
                    <a:pt x="88281" y="111469"/>
                  </a:cubicBezTo>
                  <a:cubicBezTo>
                    <a:pt x="90396" y="111469"/>
                    <a:pt x="90396" y="111469"/>
                    <a:pt x="90396" y="111469"/>
                  </a:cubicBezTo>
                  <a:cubicBezTo>
                    <a:pt x="90396" y="111469"/>
                    <a:pt x="90925" y="111469"/>
                    <a:pt x="90925" y="111469"/>
                  </a:cubicBezTo>
                  <a:cubicBezTo>
                    <a:pt x="90925" y="111469"/>
                    <a:pt x="91453" y="111469"/>
                    <a:pt x="91982" y="112037"/>
                  </a:cubicBezTo>
                  <a:cubicBezTo>
                    <a:pt x="92511" y="112037"/>
                    <a:pt x="92511" y="112037"/>
                    <a:pt x="92511" y="112606"/>
                  </a:cubicBezTo>
                  <a:cubicBezTo>
                    <a:pt x="92511" y="112606"/>
                    <a:pt x="93039" y="113175"/>
                    <a:pt x="92511" y="113175"/>
                  </a:cubicBezTo>
                  <a:cubicBezTo>
                    <a:pt x="92511" y="113175"/>
                    <a:pt x="91982" y="113175"/>
                    <a:pt x="91982" y="113175"/>
                  </a:cubicBezTo>
                  <a:cubicBezTo>
                    <a:pt x="91982" y="113175"/>
                    <a:pt x="90925" y="112606"/>
                    <a:pt x="90925" y="112606"/>
                  </a:cubicBezTo>
                  <a:cubicBezTo>
                    <a:pt x="89867" y="112606"/>
                    <a:pt x="89867" y="112606"/>
                    <a:pt x="89867" y="112606"/>
                  </a:cubicBezTo>
                  <a:cubicBezTo>
                    <a:pt x="89339" y="112606"/>
                    <a:pt x="89339" y="112606"/>
                    <a:pt x="89339" y="112606"/>
                  </a:cubicBezTo>
                  <a:close/>
                  <a:moveTo>
                    <a:pt x="72951" y="113175"/>
                  </a:moveTo>
                  <a:cubicBezTo>
                    <a:pt x="72951" y="113175"/>
                    <a:pt x="72951" y="113175"/>
                    <a:pt x="72951" y="113175"/>
                  </a:cubicBezTo>
                  <a:cubicBezTo>
                    <a:pt x="72951" y="113175"/>
                    <a:pt x="75066" y="112606"/>
                    <a:pt x="75066" y="112606"/>
                  </a:cubicBezTo>
                  <a:cubicBezTo>
                    <a:pt x="76123" y="113175"/>
                    <a:pt x="76123" y="113175"/>
                    <a:pt x="76123" y="113175"/>
                  </a:cubicBezTo>
                  <a:cubicBezTo>
                    <a:pt x="76123" y="113175"/>
                    <a:pt x="76123" y="113744"/>
                    <a:pt x="75594" y="113744"/>
                  </a:cubicBezTo>
                  <a:cubicBezTo>
                    <a:pt x="75594" y="113744"/>
                    <a:pt x="74537" y="114881"/>
                    <a:pt x="74537" y="114881"/>
                  </a:cubicBezTo>
                  <a:cubicBezTo>
                    <a:pt x="72951" y="113744"/>
                    <a:pt x="72951" y="113744"/>
                    <a:pt x="72951" y="113744"/>
                  </a:cubicBezTo>
                  <a:cubicBezTo>
                    <a:pt x="72951" y="113175"/>
                    <a:pt x="72951" y="113175"/>
                    <a:pt x="72951" y="113175"/>
                  </a:cubicBezTo>
                  <a:close/>
                  <a:moveTo>
                    <a:pt x="56563" y="110331"/>
                  </a:moveTo>
                  <a:cubicBezTo>
                    <a:pt x="56563" y="110331"/>
                    <a:pt x="56563" y="110331"/>
                    <a:pt x="56563" y="110331"/>
                  </a:cubicBezTo>
                  <a:cubicBezTo>
                    <a:pt x="57092" y="110331"/>
                    <a:pt x="57621" y="109763"/>
                    <a:pt x="57621" y="110331"/>
                  </a:cubicBezTo>
                  <a:cubicBezTo>
                    <a:pt x="57621" y="110900"/>
                    <a:pt x="57092" y="111469"/>
                    <a:pt x="57092" y="111469"/>
                  </a:cubicBezTo>
                  <a:cubicBezTo>
                    <a:pt x="57092" y="111469"/>
                    <a:pt x="56563" y="111469"/>
                    <a:pt x="56563" y="111469"/>
                  </a:cubicBezTo>
                  <a:cubicBezTo>
                    <a:pt x="56563" y="110900"/>
                    <a:pt x="56563" y="110331"/>
                    <a:pt x="56563" y="110331"/>
                  </a:cubicBezTo>
                  <a:close/>
                  <a:moveTo>
                    <a:pt x="59735" y="107488"/>
                  </a:moveTo>
                  <a:cubicBezTo>
                    <a:pt x="59735" y="107488"/>
                    <a:pt x="59735" y="107488"/>
                    <a:pt x="59735" y="107488"/>
                  </a:cubicBezTo>
                  <a:cubicBezTo>
                    <a:pt x="59735" y="107488"/>
                    <a:pt x="60792" y="106919"/>
                    <a:pt x="60792" y="106919"/>
                  </a:cubicBezTo>
                  <a:cubicBezTo>
                    <a:pt x="61321" y="107488"/>
                    <a:pt x="61850" y="107488"/>
                    <a:pt x="61321" y="108056"/>
                  </a:cubicBezTo>
                  <a:cubicBezTo>
                    <a:pt x="61321" y="108056"/>
                    <a:pt x="61321" y="108056"/>
                    <a:pt x="60792" y="108625"/>
                  </a:cubicBezTo>
                  <a:cubicBezTo>
                    <a:pt x="60264" y="109194"/>
                    <a:pt x="59207" y="109763"/>
                    <a:pt x="59207" y="109763"/>
                  </a:cubicBezTo>
                  <a:cubicBezTo>
                    <a:pt x="59207" y="109763"/>
                    <a:pt x="59207" y="109763"/>
                    <a:pt x="58678" y="109763"/>
                  </a:cubicBezTo>
                  <a:cubicBezTo>
                    <a:pt x="57621" y="109194"/>
                    <a:pt x="57092" y="108625"/>
                    <a:pt x="57092" y="108625"/>
                  </a:cubicBezTo>
                  <a:cubicBezTo>
                    <a:pt x="57092" y="108625"/>
                    <a:pt x="56563" y="108056"/>
                    <a:pt x="57621" y="108056"/>
                  </a:cubicBezTo>
                  <a:cubicBezTo>
                    <a:pt x="58149" y="107488"/>
                    <a:pt x="58678" y="107488"/>
                    <a:pt x="58678" y="107488"/>
                  </a:cubicBezTo>
                  <a:cubicBezTo>
                    <a:pt x="59207" y="107488"/>
                    <a:pt x="59735" y="107488"/>
                    <a:pt x="59735" y="107488"/>
                  </a:cubicBezTo>
                  <a:close/>
                  <a:moveTo>
                    <a:pt x="65550" y="101232"/>
                  </a:moveTo>
                  <a:cubicBezTo>
                    <a:pt x="65550" y="101232"/>
                    <a:pt x="65550" y="101232"/>
                    <a:pt x="65550" y="101232"/>
                  </a:cubicBezTo>
                  <a:cubicBezTo>
                    <a:pt x="65550" y="101232"/>
                    <a:pt x="66607" y="100663"/>
                    <a:pt x="66607" y="100663"/>
                  </a:cubicBezTo>
                  <a:cubicBezTo>
                    <a:pt x="66607" y="100663"/>
                    <a:pt x="66607" y="100663"/>
                    <a:pt x="67136" y="100663"/>
                  </a:cubicBezTo>
                  <a:cubicBezTo>
                    <a:pt x="67136" y="100663"/>
                    <a:pt x="67136" y="100663"/>
                    <a:pt x="67665" y="100663"/>
                  </a:cubicBezTo>
                  <a:cubicBezTo>
                    <a:pt x="67665" y="100663"/>
                    <a:pt x="68193" y="100094"/>
                    <a:pt x="68722" y="100663"/>
                  </a:cubicBezTo>
                  <a:cubicBezTo>
                    <a:pt x="69251" y="100663"/>
                    <a:pt x="69251" y="101232"/>
                    <a:pt x="69779" y="101232"/>
                  </a:cubicBezTo>
                  <a:cubicBezTo>
                    <a:pt x="69779" y="101232"/>
                    <a:pt x="70308" y="101232"/>
                    <a:pt x="70308" y="101232"/>
                  </a:cubicBezTo>
                  <a:cubicBezTo>
                    <a:pt x="70837" y="101232"/>
                    <a:pt x="70837" y="101232"/>
                    <a:pt x="71894" y="101232"/>
                  </a:cubicBezTo>
                  <a:cubicBezTo>
                    <a:pt x="72951" y="101232"/>
                    <a:pt x="74537" y="101232"/>
                    <a:pt x="74537" y="101232"/>
                  </a:cubicBezTo>
                  <a:cubicBezTo>
                    <a:pt x="74537" y="101800"/>
                    <a:pt x="75066" y="101232"/>
                    <a:pt x="75594" y="101232"/>
                  </a:cubicBezTo>
                  <a:cubicBezTo>
                    <a:pt x="76651" y="101800"/>
                    <a:pt x="76651" y="101800"/>
                    <a:pt x="76651" y="101800"/>
                  </a:cubicBezTo>
                  <a:cubicBezTo>
                    <a:pt x="77180" y="101800"/>
                    <a:pt x="76651" y="102369"/>
                    <a:pt x="77709" y="101800"/>
                  </a:cubicBezTo>
                  <a:cubicBezTo>
                    <a:pt x="78237" y="101800"/>
                    <a:pt x="78237" y="101800"/>
                    <a:pt x="78237" y="101800"/>
                  </a:cubicBezTo>
                  <a:cubicBezTo>
                    <a:pt x="78237" y="101800"/>
                    <a:pt x="78237" y="101800"/>
                    <a:pt x="78766" y="101232"/>
                  </a:cubicBezTo>
                  <a:cubicBezTo>
                    <a:pt x="79295" y="101232"/>
                    <a:pt x="79823" y="100663"/>
                    <a:pt x="79823" y="100663"/>
                  </a:cubicBezTo>
                  <a:cubicBezTo>
                    <a:pt x="80352" y="100663"/>
                    <a:pt x="80352" y="100663"/>
                    <a:pt x="80352" y="100663"/>
                  </a:cubicBezTo>
                  <a:cubicBezTo>
                    <a:pt x="80352" y="102369"/>
                    <a:pt x="80352" y="102369"/>
                    <a:pt x="80352" y="102369"/>
                  </a:cubicBezTo>
                  <a:cubicBezTo>
                    <a:pt x="80352" y="102369"/>
                    <a:pt x="80352" y="102369"/>
                    <a:pt x="80352" y="102938"/>
                  </a:cubicBezTo>
                  <a:cubicBezTo>
                    <a:pt x="80352" y="102938"/>
                    <a:pt x="79823" y="103507"/>
                    <a:pt x="79295" y="103507"/>
                  </a:cubicBezTo>
                  <a:cubicBezTo>
                    <a:pt x="79295" y="103507"/>
                    <a:pt x="78766" y="102938"/>
                    <a:pt x="78766" y="102938"/>
                  </a:cubicBezTo>
                  <a:cubicBezTo>
                    <a:pt x="78766" y="102369"/>
                    <a:pt x="78237" y="102369"/>
                    <a:pt x="78237" y="102369"/>
                  </a:cubicBezTo>
                  <a:cubicBezTo>
                    <a:pt x="77709" y="102369"/>
                    <a:pt x="77180" y="102938"/>
                    <a:pt x="76651" y="102938"/>
                  </a:cubicBezTo>
                  <a:cubicBezTo>
                    <a:pt x="76651" y="102938"/>
                    <a:pt x="76123" y="102369"/>
                    <a:pt x="76123" y="102369"/>
                  </a:cubicBezTo>
                  <a:cubicBezTo>
                    <a:pt x="76123" y="102369"/>
                    <a:pt x="75066" y="102369"/>
                    <a:pt x="74537" y="102369"/>
                  </a:cubicBezTo>
                  <a:cubicBezTo>
                    <a:pt x="74537" y="102369"/>
                    <a:pt x="74008" y="102369"/>
                    <a:pt x="73480" y="102369"/>
                  </a:cubicBezTo>
                  <a:cubicBezTo>
                    <a:pt x="72951" y="102369"/>
                    <a:pt x="72422" y="102369"/>
                    <a:pt x="71894" y="102369"/>
                  </a:cubicBezTo>
                  <a:cubicBezTo>
                    <a:pt x="71365" y="102938"/>
                    <a:pt x="70308" y="102369"/>
                    <a:pt x="70308" y="102938"/>
                  </a:cubicBezTo>
                  <a:cubicBezTo>
                    <a:pt x="70308" y="102938"/>
                    <a:pt x="70308" y="103507"/>
                    <a:pt x="70308" y="103507"/>
                  </a:cubicBezTo>
                  <a:cubicBezTo>
                    <a:pt x="70308" y="103507"/>
                    <a:pt x="70837" y="104075"/>
                    <a:pt x="70308" y="104075"/>
                  </a:cubicBezTo>
                  <a:cubicBezTo>
                    <a:pt x="69251" y="104075"/>
                    <a:pt x="69251" y="104075"/>
                    <a:pt x="69251" y="103507"/>
                  </a:cubicBezTo>
                  <a:cubicBezTo>
                    <a:pt x="68722" y="102938"/>
                    <a:pt x="69779" y="102369"/>
                    <a:pt x="68193" y="102938"/>
                  </a:cubicBezTo>
                  <a:cubicBezTo>
                    <a:pt x="67136" y="102938"/>
                    <a:pt x="67136" y="102369"/>
                    <a:pt x="66607" y="102369"/>
                  </a:cubicBezTo>
                  <a:cubicBezTo>
                    <a:pt x="66607" y="102938"/>
                    <a:pt x="65550" y="101800"/>
                    <a:pt x="65022" y="102369"/>
                  </a:cubicBezTo>
                  <a:cubicBezTo>
                    <a:pt x="65022" y="102369"/>
                    <a:pt x="64493" y="102938"/>
                    <a:pt x="64493" y="102938"/>
                  </a:cubicBezTo>
                  <a:cubicBezTo>
                    <a:pt x="64493" y="102938"/>
                    <a:pt x="62907" y="102938"/>
                    <a:pt x="62907" y="102938"/>
                  </a:cubicBezTo>
                  <a:cubicBezTo>
                    <a:pt x="62907" y="102938"/>
                    <a:pt x="63436" y="101232"/>
                    <a:pt x="63436" y="101232"/>
                  </a:cubicBezTo>
                  <a:cubicBezTo>
                    <a:pt x="63436" y="101232"/>
                    <a:pt x="63436" y="101232"/>
                    <a:pt x="63964" y="101232"/>
                  </a:cubicBezTo>
                  <a:cubicBezTo>
                    <a:pt x="64493" y="101232"/>
                    <a:pt x="65022" y="101232"/>
                    <a:pt x="65022" y="101232"/>
                  </a:cubicBezTo>
                  <a:cubicBezTo>
                    <a:pt x="65550" y="101232"/>
                    <a:pt x="65550" y="101232"/>
                    <a:pt x="65550" y="101232"/>
                  </a:cubicBezTo>
                  <a:close/>
                  <a:moveTo>
                    <a:pt x="63436" y="97819"/>
                  </a:moveTo>
                  <a:cubicBezTo>
                    <a:pt x="63436" y="97819"/>
                    <a:pt x="63436" y="97819"/>
                    <a:pt x="63436" y="97819"/>
                  </a:cubicBezTo>
                  <a:cubicBezTo>
                    <a:pt x="63436" y="97819"/>
                    <a:pt x="61321" y="96682"/>
                    <a:pt x="61321" y="96682"/>
                  </a:cubicBezTo>
                  <a:cubicBezTo>
                    <a:pt x="60792" y="96682"/>
                    <a:pt x="60264" y="96682"/>
                    <a:pt x="59735" y="96682"/>
                  </a:cubicBezTo>
                  <a:cubicBezTo>
                    <a:pt x="59735" y="96682"/>
                    <a:pt x="58678" y="96113"/>
                    <a:pt x="59207" y="95545"/>
                  </a:cubicBezTo>
                  <a:cubicBezTo>
                    <a:pt x="59207" y="95545"/>
                    <a:pt x="59735" y="94976"/>
                    <a:pt x="60264" y="95545"/>
                  </a:cubicBezTo>
                  <a:cubicBezTo>
                    <a:pt x="60792" y="96113"/>
                    <a:pt x="61321" y="96113"/>
                    <a:pt x="61321" y="96682"/>
                  </a:cubicBezTo>
                  <a:cubicBezTo>
                    <a:pt x="61850" y="96682"/>
                    <a:pt x="62907" y="97251"/>
                    <a:pt x="62907" y="97251"/>
                  </a:cubicBezTo>
                  <a:cubicBezTo>
                    <a:pt x="63436" y="97251"/>
                    <a:pt x="63436" y="97819"/>
                    <a:pt x="63436" y="97251"/>
                  </a:cubicBezTo>
                  <a:cubicBezTo>
                    <a:pt x="63964" y="97251"/>
                    <a:pt x="63964" y="96113"/>
                    <a:pt x="63964" y="96113"/>
                  </a:cubicBezTo>
                  <a:cubicBezTo>
                    <a:pt x="63964" y="95545"/>
                    <a:pt x="63436" y="95545"/>
                    <a:pt x="63436" y="95545"/>
                  </a:cubicBezTo>
                  <a:cubicBezTo>
                    <a:pt x="63964" y="95545"/>
                    <a:pt x="65022" y="94976"/>
                    <a:pt x="65022" y="94976"/>
                  </a:cubicBezTo>
                  <a:cubicBezTo>
                    <a:pt x="65550" y="95545"/>
                    <a:pt x="66079" y="95545"/>
                    <a:pt x="66607" y="95545"/>
                  </a:cubicBezTo>
                  <a:cubicBezTo>
                    <a:pt x="66607" y="95545"/>
                    <a:pt x="66079" y="95545"/>
                    <a:pt x="68193" y="95545"/>
                  </a:cubicBezTo>
                  <a:cubicBezTo>
                    <a:pt x="69779" y="95545"/>
                    <a:pt x="69251" y="95545"/>
                    <a:pt x="70308" y="95545"/>
                  </a:cubicBezTo>
                  <a:cubicBezTo>
                    <a:pt x="70837" y="95545"/>
                    <a:pt x="71894" y="95545"/>
                    <a:pt x="71894" y="95545"/>
                  </a:cubicBezTo>
                  <a:cubicBezTo>
                    <a:pt x="71894" y="96113"/>
                    <a:pt x="72951" y="96682"/>
                    <a:pt x="72951" y="96682"/>
                  </a:cubicBezTo>
                  <a:cubicBezTo>
                    <a:pt x="72951" y="97251"/>
                    <a:pt x="73480" y="97251"/>
                    <a:pt x="72951" y="97819"/>
                  </a:cubicBezTo>
                  <a:cubicBezTo>
                    <a:pt x="71894" y="98388"/>
                    <a:pt x="71894" y="98388"/>
                    <a:pt x="70837" y="98388"/>
                  </a:cubicBezTo>
                  <a:cubicBezTo>
                    <a:pt x="70308" y="98388"/>
                    <a:pt x="70837" y="98388"/>
                    <a:pt x="69779" y="98957"/>
                  </a:cubicBezTo>
                  <a:cubicBezTo>
                    <a:pt x="68193" y="98957"/>
                    <a:pt x="67136" y="98957"/>
                    <a:pt x="67136" y="98957"/>
                  </a:cubicBezTo>
                  <a:cubicBezTo>
                    <a:pt x="67136" y="98957"/>
                    <a:pt x="67665" y="98957"/>
                    <a:pt x="66079" y="98957"/>
                  </a:cubicBezTo>
                  <a:cubicBezTo>
                    <a:pt x="65022" y="98388"/>
                    <a:pt x="64493" y="98957"/>
                    <a:pt x="63964" y="98388"/>
                  </a:cubicBezTo>
                  <a:cubicBezTo>
                    <a:pt x="63964" y="98388"/>
                    <a:pt x="63436" y="97819"/>
                    <a:pt x="63436" y="97819"/>
                  </a:cubicBezTo>
                  <a:close/>
                  <a:moveTo>
                    <a:pt x="26431" y="53459"/>
                  </a:moveTo>
                  <a:cubicBezTo>
                    <a:pt x="26431" y="53459"/>
                    <a:pt x="26431" y="53459"/>
                    <a:pt x="26431" y="53459"/>
                  </a:cubicBezTo>
                  <a:cubicBezTo>
                    <a:pt x="26431" y="53459"/>
                    <a:pt x="26431" y="52890"/>
                    <a:pt x="26431" y="52890"/>
                  </a:cubicBezTo>
                  <a:cubicBezTo>
                    <a:pt x="26431" y="52890"/>
                    <a:pt x="26431" y="52890"/>
                    <a:pt x="26431" y="52890"/>
                  </a:cubicBezTo>
                  <a:cubicBezTo>
                    <a:pt x="26431" y="52890"/>
                    <a:pt x="26960" y="52890"/>
                    <a:pt x="26960" y="52890"/>
                  </a:cubicBezTo>
                  <a:cubicBezTo>
                    <a:pt x="26960" y="53459"/>
                    <a:pt x="26960" y="53459"/>
                    <a:pt x="27488" y="53459"/>
                  </a:cubicBezTo>
                  <a:cubicBezTo>
                    <a:pt x="27488" y="53459"/>
                    <a:pt x="27488" y="53459"/>
                    <a:pt x="28017" y="53459"/>
                  </a:cubicBezTo>
                  <a:cubicBezTo>
                    <a:pt x="28017" y="54028"/>
                    <a:pt x="28017" y="54028"/>
                    <a:pt x="28017" y="54028"/>
                  </a:cubicBezTo>
                  <a:cubicBezTo>
                    <a:pt x="28017" y="54028"/>
                    <a:pt x="28017" y="55165"/>
                    <a:pt x="27488" y="54597"/>
                  </a:cubicBezTo>
                  <a:cubicBezTo>
                    <a:pt x="26960" y="54597"/>
                    <a:pt x="26431" y="54597"/>
                    <a:pt x="26431" y="54028"/>
                  </a:cubicBezTo>
                  <a:cubicBezTo>
                    <a:pt x="26431" y="54028"/>
                    <a:pt x="26431" y="53459"/>
                    <a:pt x="26431" y="53459"/>
                  </a:cubicBezTo>
                  <a:close/>
                  <a:moveTo>
                    <a:pt x="26960" y="58578"/>
                  </a:moveTo>
                  <a:cubicBezTo>
                    <a:pt x="26960" y="58578"/>
                    <a:pt x="26960" y="58578"/>
                    <a:pt x="26960" y="58578"/>
                  </a:cubicBezTo>
                  <a:cubicBezTo>
                    <a:pt x="26960" y="58578"/>
                    <a:pt x="26431" y="58578"/>
                    <a:pt x="26431" y="58578"/>
                  </a:cubicBezTo>
                  <a:cubicBezTo>
                    <a:pt x="26431" y="58578"/>
                    <a:pt x="25374" y="58009"/>
                    <a:pt x="24845" y="58009"/>
                  </a:cubicBezTo>
                  <a:cubicBezTo>
                    <a:pt x="24845" y="57440"/>
                    <a:pt x="24845" y="57440"/>
                    <a:pt x="25374" y="57440"/>
                  </a:cubicBezTo>
                  <a:cubicBezTo>
                    <a:pt x="25374" y="56872"/>
                    <a:pt x="25374" y="56303"/>
                    <a:pt x="25374" y="56303"/>
                  </a:cubicBezTo>
                  <a:cubicBezTo>
                    <a:pt x="25374" y="56303"/>
                    <a:pt x="25903" y="55734"/>
                    <a:pt x="25903" y="55734"/>
                  </a:cubicBezTo>
                  <a:cubicBezTo>
                    <a:pt x="26431" y="55734"/>
                    <a:pt x="26431" y="55734"/>
                    <a:pt x="26431" y="55734"/>
                  </a:cubicBezTo>
                  <a:cubicBezTo>
                    <a:pt x="26431" y="55734"/>
                    <a:pt x="26431" y="55165"/>
                    <a:pt x="26431" y="55165"/>
                  </a:cubicBezTo>
                  <a:cubicBezTo>
                    <a:pt x="26431" y="54597"/>
                    <a:pt x="26960" y="54597"/>
                    <a:pt x="26960" y="54597"/>
                  </a:cubicBezTo>
                  <a:cubicBezTo>
                    <a:pt x="26960" y="54597"/>
                    <a:pt x="28017" y="55734"/>
                    <a:pt x="28017" y="56303"/>
                  </a:cubicBezTo>
                  <a:cubicBezTo>
                    <a:pt x="28017" y="56303"/>
                    <a:pt x="26431" y="56303"/>
                    <a:pt x="26431" y="56303"/>
                  </a:cubicBezTo>
                  <a:cubicBezTo>
                    <a:pt x="26431" y="56303"/>
                    <a:pt x="26431" y="56303"/>
                    <a:pt x="26960" y="57440"/>
                  </a:cubicBezTo>
                  <a:cubicBezTo>
                    <a:pt x="27488" y="58009"/>
                    <a:pt x="27488" y="57440"/>
                    <a:pt x="27488" y="57440"/>
                  </a:cubicBezTo>
                  <a:cubicBezTo>
                    <a:pt x="27488" y="58009"/>
                    <a:pt x="27488" y="58009"/>
                    <a:pt x="28546" y="58009"/>
                  </a:cubicBezTo>
                  <a:cubicBezTo>
                    <a:pt x="29074" y="58578"/>
                    <a:pt x="28546" y="58578"/>
                    <a:pt x="29074" y="59146"/>
                  </a:cubicBezTo>
                  <a:cubicBezTo>
                    <a:pt x="29074" y="59146"/>
                    <a:pt x="28546" y="59715"/>
                    <a:pt x="28546" y="59715"/>
                  </a:cubicBezTo>
                  <a:cubicBezTo>
                    <a:pt x="28017" y="60284"/>
                    <a:pt x="28017" y="59715"/>
                    <a:pt x="28017" y="59715"/>
                  </a:cubicBezTo>
                  <a:cubicBezTo>
                    <a:pt x="28017" y="59715"/>
                    <a:pt x="27488" y="58578"/>
                    <a:pt x="26960" y="58578"/>
                  </a:cubicBezTo>
                  <a:close/>
                  <a:moveTo>
                    <a:pt x="29074" y="66540"/>
                  </a:moveTo>
                  <a:cubicBezTo>
                    <a:pt x="29074" y="66540"/>
                    <a:pt x="29074" y="66540"/>
                    <a:pt x="29074" y="66540"/>
                  </a:cubicBezTo>
                  <a:cubicBezTo>
                    <a:pt x="29074" y="66540"/>
                    <a:pt x="29603" y="65971"/>
                    <a:pt x="29603" y="66540"/>
                  </a:cubicBezTo>
                  <a:cubicBezTo>
                    <a:pt x="30132" y="66540"/>
                    <a:pt x="30132" y="67109"/>
                    <a:pt x="30132" y="67109"/>
                  </a:cubicBezTo>
                  <a:cubicBezTo>
                    <a:pt x="30660" y="67677"/>
                    <a:pt x="31189" y="67677"/>
                    <a:pt x="31718" y="67677"/>
                  </a:cubicBezTo>
                  <a:cubicBezTo>
                    <a:pt x="31718" y="68246"/>
                    <a:pt x="31718" y="68815"/>
                    <a:pt x="31718" y="68815"/>
                  </a:cubicBezTo>
                  <a:cubicBezTo>
                    <a:pt x="31718" y="68815"/>
                    <a:pt x="31189" y="69383"/>
                    <a:pt x="31189" y="68815"/>
                  </a:cubicBezTo>
                  <a:cubicBezTo>
                    <a:pt x="30660" y="68246"/>
                    <a:pt x="30660" y="68246"/>
                    <a:pt x="30660" y="68246"/>
                  </a:cubicBezTo>
                  <a:cubicBezTo>
                    <a:pt x="30660" y="68246"/>
                    <a:pt x="30132" y="67677"/>
                    <a:pt x="30132" y="67677"/>
                  </a:cubicBezTo>
                  <a:cubicBezTo>
                    <a:pt x="30132" y="67677"/>
                    <a:pt x="29074" y="66540"/>
                    <a:pt x="29074" y="66540"/>
                  </a:cubicBezTo>
                  <a:close/>
                  <a:moveTo>
                    <a:pt x="28017" y="68815"/>
                  </a:moveTo>
                  <a:cubicBezTo>
                    <a:pt x="28017" y="68815"/>
                    <a:pt x="28017" y="68815"/>
                    <a:pt x="28017" y="68815"/>
                  </a:cubicBezTo>
                  <a:cubicBezTo>
                    <a:pt x="28017" y="68815"/>
                    <a:pt x="28017" y="68246"/>
                    <a:pt x="28017" y="68246"/>
                  </a:cubicBezTo>
                  <a:cubicBezTo>
                    <a:pt x="28017" y="68246"/>
                    <a:pt x="28546" y="68246"/>
                    <a:pt x="28546" y="68815"/>
                  </a:cubicBezTo>
                  <a:cubicBezTo>
                    <a:pt x="28546" y="68815"/>
                    <a:pt x="29074" y="69383"/>
                    <a:pt x="29074" y="69383"/>
                  </a:cubicBezTo>
                  <a:cubicBezTo>
                    <a:pt x="29074" y="69952"/>
                    <a:pt x="28546" y="69952"/>
                    <a:pt x="28546" y="69952"/>
                  </a:cubicBezTo>
                  <a:cubicBezTo>
                    <a:pt x="28546" y="70521"/>
                    <a:pt x="29074" y="70521"/>
                    <a:pt x="28546" y="70521"/>
                  </a:cubicBezTo>
                  <a:cubicBezTo>
                    <a:pt x="28017" y="70521"/>
                    <a:pt x="28017" y="70521"/>
                    <a:pt x="28017" y="70521"/>
                  </a:cubicBezTo>
                  <a:cubicBezTo>
                    <a:pt x="28017" y="70521"/>
                    <a:pt x="28017" y="69952"/>
                    <a:pt x="28017" y="69952"/>
                  </a:cubicBezTo>
                  <a:cubicBezTo>
                    <a:pt x="28017" y="69383"/>
                    <a:pt x="28017" y="68815"/>
                    <a:pt x="28017" y="68815"/>
                  </a:cubicBezTo>
                  <a:close/>
                  <a:moveTo>
                    <a:pt x="25903" y="68815"/>
                  </a:moveTo>
                  <a:cubicBezTo>
                    <a:pt x="25903" y="68815"/>
                    <a:pt x="25903" y="68815"/>
                    <a:pt x="25903" y="68815"/>
                  </a:cubicBezTo>
                  <a:cubicBezTo>
                    <a:pt x="25903" y="68815"/>
                    <a:pt x="26431" y="68815"/>
                    <a:pt x="26431" y="69383"/>
                  </a:cubicBezTo>
                  <a:cubicBezTo>
                    <a:pt x="26431" y="69383"/>
                    <a:pt x="26960" y="69383"/>
                    <a:pt x="26960" y="69952"/>
                  </a:cubicBezTo>
                  <a:cubicBezTo>
                    <a:pt x="26960" y="69952"/>
                    <a:pt x="26960" y="69952"/>
                    <a:pt x="26960" y="70521"/>
                  </a:cubicBezTo>
                  <a:cubicBezTo>
                    <a:pt x="26960" y="71090"/>
                    <a:pt x="27488" y="71090"/>
                    <a:pt x="26960" y="71090"/>
                  </a:cubicBezTo>
                  <a:cubicBezTo>
                    <a:pt x="26431" y="70521"/>
                    <a:pt x="26431" y="70521"/>
                    <a:pt x="26431" y="70521"/>
                  </a:cubicBezTo>
                  <a:cubicBezTo>
                    <a:pt x="25903" y="69952"/>
                    <a:pt x="25903" y="69952"/>
                    <a:pt x="25903" y="69952"/>
                  </a:cubicBezTo>
                  <a:cubicBezTo>
                    <a:pt x="25903" y="69383"/>
                    <a:pt x="25903" y="69383"/>
                    <a:pt x="25903" y="69383"/>
                  </a:cubicBezTo>
                  <a:cubicBezTo>
                    <a:pt x="25903" y="68815"/>
                    <a:pt x="25903" y="68815"/>
                    <a:pt x="25903" y="68815"/>
                  </a:cubicBezTo>
                  <a:close/>
                  <a:moveTo>
                    <a:pt x="17973" y="65971"/>
                  </a:moveTo>
                  <a:cubicBezTo>
                    <a:pt x="17973" y="65971"/>
                    <a:pt x="17973" y="65971"/>
                    <a:pt x="17973" y="65971"/>
                  </a:cubicBezTo>
                  <a:cubicBezTo>
                    <a:pt x="17973" y="65971"/>
                    <a:pt x="18502" y="65971"/>
                    <a:pt x="18502" y="65971"/>
                  </a:cubicBezTo>
                  <a:cubicBezTo>
                    <a:pt x="19030" y="66540"/>
                    <a:pt x="18502" y="66540"/>
                    <a:pt x="19030" y="67109"/>
                  </a:cubicBezTo>
                  <a:cubicBezTo>
                    <a:pt x="19030" y="67109"/>
                    <a:pt x="18502" y="67677"/>
                    <a:pt x="18502" y="67677"/>
                  </a:cubicBezTo>
                  <a:cubicBezTo>
                    <a:pt x="17973" y="67109"/>
                    <a:pt x="17973" y="67109"/>
                    <a:pt x="17973" y="67109"/>
                  </a:cubicBezTo>
                  <a:cubicBezTo>
                    <a:pt x="17973" y="65971"/>
                    <a:pt x="17973" y="65971"/>
                    <a:pt x="17973" y="65971"/>
                  </a:cubicBezTo>
                  <a:close/>
                  <a:moveTo>
                    <a:pt x="17973" y="63696"/>
                  </a:moveTo>
                  <a:cubicBezTo>
                    <a:pt x="17973" y="63696"/>
                    <a:pt x="17973" y="63696"/>
                    <a:pt x="17973" y="63696"/>
                  </a:cubicBezTo>
                  <a:cubicBezTo>
                    <a:pt x="17973" y="63696"/>
                    <a:pt x="16916" y="63696"/>
                    <a:pt x="16916" y="63696"/>
                  </a:cubicBezTo>
                  <a:cubicBezTo>
                    <a:pt x="16916" y="63696"/>
                    <a:pt x="16387" y="63696"/>
                    <a:pt x="16387" y="63127"/>
                  </a:cubicBezTo>
                  <a:cubicBezTo>
                    <a:pt x="16387" y="63127"/>
                    <a:pt x="16387" y="62559"/>
                    <a:pt x="16916" y="62559"/>
                  </a:cubicBezTo>
                  <a:cubicBezTo>
                    <a:pt x="16916" y="62559"/>
                    <a:pt x="16916" y="61990"/>
                    <a:pt x="16916" y="61421"/>
                  </a:cubicBezTo>
                  <a:cubicBezTo>
                    <a:pt x="16916" y="61421"/>
                    <a:pt x="17444" y="61421"/>
                    <a:pt x="17444" y="61421"/>
                  </a:cubicBezTo>
                  <a:cubicBezTo>
                    <a:pt x="17444" y="61421"/>
                    <a:pt x="17973" y="61990"/>
                    <a:pt x="17973" y="61990"/>
                  </a:cubicBezTo>
                  <a:cubicBezTo>
                    <a:pt x="17973" y="61990"/>
                    <a:pt x="17973" y="63127"/>
                    <a:pt x="17973" y="63696"/>
                  </a:cubicBezTo>
                  <a:close/>
                  <a:moveTo>
                    <a:pt x="17973" y="50616"/>
                  </a:moveTo>
                  <a:cubicBezTo>
                    <a:pt x="17973" y="50616"/>
                    <a:pt x="17973" y="50616"/>
                    <a:pt x="17973" y="50616"/>
                  </a:cubicBezTo>
                  <a:cubicBezTo>
                    <a:pt x="17973" y="50616"/>
                    <a:pt x="19030" y="50616"/>
                    <a:pt x="19030" y="50616"/>
                  </a:cubicBezTo>
                  <a:cubicBezTo>
                    <a:pt x="19030" y="50616"/>
                    <a:pt x="19030" y="51184"/>
                    <a:pt x="19030" y="51753"/>
                  </a:cubicBezTo>
                  <a:cubicBezTo>
                    <a:pt x="19559" y="51753"/>
                    <a:pt x="19559" y="52322"/>
                    <a:pt x="19559" y="52322"/>
                  </a:cubicBezTo>
                  <a:cubicBezTo>
                    <a:pt x="20088" y="52322"/>
                    <a:pt x="20088" y="52322"/>
                    <a:pt x="20088" y="52322"/>
                  </a:cubicBezTo>
                  <a:cubicBezTo>
                    <a:pt x="20088" y="52322"/>
                    <a:pt x="20616" y="51753"/>
                    <a:pt x="20616" y="52322"/>
                  </a:cubicBezTo>
                  <a:cubicBezTo>
                    <a:pt x="21145" y="52322"/>
                    <a:pt x="21674" y="51753"/>
                    <a:pt x="21674" y="51753"/>
                  </a:cubicBezTo>
                  <a:cubicBezTo>
                    <a:pt x="21674" y="51753"/>
                    <a:pt x="22202" y="52322"/>
                    <a:pt x="22202" y="52322"/>
                  </a:cubicBezTo>
                  <a:cubicBezTo>
                    <a:pt x="22202" y="52890"/>
                    <a:pt x="21674" y="53459"/>
                    <a:pt x="21674" y="53459"/>
                  </a:cubicBezTo>
                  <a:cubicBezTo>
                    <a:pt x="21145" y="53459"/>
                    <a:pt x="20616" y="52890"/>
                    <a:pt x="20616" y="52890"/>
                  </a:cubicBezTo>
                  <a:cubicBezTo>
                    <a:pt x="20616" y="52890"/>
                    <a:pt x="20088" y="52322"/>
                    <a:pt x="20088" y="52890"/>
                  </a:cubicBezTo>
                  <a:cubicBezTo>
                    <a:pt x="20088" y="52890"/>
                    <a:pt x="20088" y="53459"/>
                    <a:pt x="20088" y="54028"/>
                  </a:cubicBezTo>
                  <a:cubicBezTo>
                    <a:pt x="20616" y="54028"/>
                    <a:pt x="20616" y="54028"/>
                    <a:pt x="20616" y="54597"/>
                  </a:cubicBezTo>
                  <a:cubicBezTo>
                    <a:pt x="20088" y="54597"/>
                    <a:pt x="20088" y="55165"/>
                    <a:pt x="20088" y="55165"/>
                  </a:cubicBezTo>
                  <a:cubicBezTo>
                    <a:pt x="20088" y="55734"/>
                    <a:pt x="20616" y="56303"/>
                    <a:pt x="20616" y="56303"/>
                  </a:cubicBezTo>
                  <a:cubicBezTo>
                    <a:pt x="20616" y="56303"/>
                    <a:pt x="20616" y="56303"/>
                    <a:pt x="20616" y="56872"/>
                  </a:cubicBezTo>
                  <a:cubicBezTo>
                    <a:pt x="20616" y="56872"/>
                    <a:pt x="21145" y="57440"/>
                    <a:pt x="21145" y="57440"/>
                  </a:cubicBezTo>
                  <a:cubicBezTo>
                    <a:pt x="21145" y="58009"/>
                    <a:pt x="21145" y="58578"/>
                    <a:pt x="21145" y="58578"/>
                  </a:cubicBezTo>
                  <a:cubicBezTo>
                    <a:pt x="21674" y="59146"/>
                    <a:pt x="21674" y="59146"/>
                    <a:pt x="21674" y="59146"/>
                  </a:cubicBezTo>
                  <a:cubicBezTo>
                    <a:pt x="21145" y="60284"/>
                    <a:pt x="21145" y="60284"/>
                    <a:pt x="21145" y="60284"/>
                  </a:cubicBezTo>
                  <a:cubicBezTo>
                    <a:pt x="21145" y="60284"/>
                    <a:pt x="21674" y="60853"/>
                    <a:pt x="21674" y="60853"/>
                  </a:cubicBezTo>
                  <a:cubicBezTo>
                    <a:pt x="21674" y="61421"/>
                    <a:pt x="22731" y="61990"/>
                    <a:pt x="22731" y="62559"/>
                  </a:cubicBezTo>
                  <a:cubicBezTo>
                    <a:pt x="22731" y="62559"/>
                    <a:pt x="22731" y="63696"/>
                    <a:pt x="22202" y="63696"/>
                  </a:cubicBezTo>
                  <a:cubicBezTo>
                    <a:pt x="22202" y="63696"/>
                    <a:pt x="21674" y="64265"/>
                    <a:pt x="21674" y="63696"/>
                  </a:cubicBezTo>
                  <a:cubicBezTo>
                    <a:pt x="21145" y="63127"/>
                    <a:pt x="20616" y="61990"/>
                    <a:pt x="20616" y="61990"/>
                  </a:cubicBezTo>
                  <a:cubicBezTo>
                    <a:pt x="20616" y="61990"/>
                    <a:pt x="20616" y="61990"/>
                    <a:pt x="20616" y="61990"/>
                  </a:cubicBezTo>
                  <a:cubicBezTo>
                    <a:pt x="20616" y="62559"/>
                    <a:pt x="20088" y="63127"/>
                    <a:pt x="20088" y="63127"/>
                  </a:cubicBezTo>
                  <a:cubicBezTo>
                    <a:pt x="20088" y="63696"/>
                    <a:pt x="21145" y="64265"/>
                    <a:pt x="21145" y="64265"/>
                  </a:cubicBezTo>
                  <a:cubicBezTo>
                    <a:pt x="21145" y="64265"/>
                    <a:pt x="20616" y="63127"/>
                    <a:pt x="21145" y="64265"/>
                  </a:cubicBezTo>
                  <a:cubicBezTo>
                    <a:pt x="21674" y="65402"/>
                    <a:pt x="22202" y="65971"/>
                    <a:pt x="22202" y="65971"/>
                  </a:cubicBezTo>
                  <a:cubicBezTo>
                    <a:pt x="22202" y="65971"/>
                    <a:pt x="22731" y="66540"/>
                    <a:pt x="23259" y="66540"/>
                  </a:cubicBezTo>
                  <a:cubicBezTo>
                    <a:pt x="23259" y="67109"/>
                    <a:pt x="23259" y="67109"/>
                    <a:pt x="23788" y="67677"/>
                  </a:cubicBezTo>
                  <a:cubicBezTo>
                    <a:pt x="23788" y="67677"/>
                    <a:pt x="24317" y="68246"/>
                    <a:pt x="23788" y="68246"/>
                  </a:cubicBezTo>
                  <a:cubicBezTo>
                    <a:pt x="23259" y="68815"/>
                    <a:pt x="23788" y="68815"/>
                    <a:pt x="23259" y="68815"/>
                  </a:cubicBezTo>
                  <a:cubicBezTo>
                    <a:pt x="23259" y="68246"/>
                    <a:pt x="22731" y="68246"/>
                    <a:pt x="22731" y="67677"/>
                  </a:cubicBezTo>
                  <a:cubicBezTo>
                    <a:pt x="22731" y="67109"/>
                    <a:pt x="22202" y="66540"/>
                    <a:pt x="22202" y="65971"/>
                  </a:cubicBezTo>
                  <a:cubicBezTo>
                    <a:pt x="21674" y="65971"/>
                    <a:pt x="21145" y="65402"/>
                    <a:pt x="21145" y="65402"/>
                  </a:cubicBezTo>
                  <a:cubicBezTo>
                    <a:pt x="20616" y="65402"/>
                    <a:pt x="20616" y="64834"/>
                    <a:pt x="20616" y="64834"/>
                  </a:cubicBezTo>
                  <a:cubicBezTo>
                    <a:pt x="20616" y="64834"/>
                    <a:pt x="20088" y="64834"/>
                    <a:pt x="20088" y="64834"/>
                  </a:cubicBezTo>
                  <a:cubicBezTo>
                    <a:pt x="20088" y="64834"/>
                    <a:pt x="19030" y="64834"/>
                    <a:pt x="19030" y="64834"/>
                  </a:cubicBezTo>
                  <a:cubicBezTo>
                    <a:pt x="19030" y="64265"/>
                    <a:pt x="19030" y="64265"/>
                    <a:pt x="19559" y="63696"/>
                  </a:cubicBezTo>
                  <a:cubicBezTo>
                    <a:pt x="19559" y="63696"/>
                    <a:pt x="20088" y="63696"/>
                    <a:pt x="20088" y="63696"/>
                  </a:cubicBezTo>
                  <a:cubicBezTo>
                    <a:pt x="20088" y="63696"/>
                    <a:pt x="19559" y="63127"/>
                    <a:pt x="19559" y="63127"/>
                  </a:cubicBezTo>
                  <a:cubicBezTo>
                    <a:pt x="19559" y="63127"/>
                    <a:pt x="19559" y="62559"/>
                    <a:pt x="19559" y="62559"/>
                  </a:cubicBezTo>
                  <a:cubicBezTo>
                    <a:pt x="19030" y="62559"/>
                    <a:pt x="19030" y="63127"/>
                    <a:pt x="19030" y="62559"/>
                  </a:cubicBezTo>
                  <a:cubicBezTo>
                    <a:pt x="19030" y="61990"/>
                    <a:pt x="19030" y="61990"/>
                    <a:pt x="19030" y="61421"/>
                  </a:cubicBezTo>
                  <a:cubicBezTo>
                    <a:pt x="19030" y="61421"/>
                    <a:pt x="19030" y="60284"/>
                    <a:pt x="19030" y="60284"/>
                  </a:cubicBezTo>
                  <a:cubicBezTo>
                    <a:pt x="19559" y="60853"/>
                    <a:pt x="19559" y="60853"/>
                    <a:pt x="19559" y="60853"/>
                  </a:cubicBezTo>
                  <a:cubicBezTo>
                    <a:pt x="20088" y="59715"/>
                    <a:pt x="20088" y="59715"/>
                    <a:pt x="20088" y="59715"/>
                  </a:cubicBezTo>
                  <a:cubicBezTo>
                    <a:pt x="20088" y="59715"/>
                    <a:pt x="20088" y="59715"/>
                    <a:pt x="19559" y="59715"/>
                  </a:cubicBezTo>
                  <a:cubicBezTo>
                    <a:pt x="19030" y="59715"/>
                    <a:pt x="19030" y="58578"/>
                    <a:pt x="19030" y="58578"/>
                  </a:cubicBezTo>
                  <a:cubicBezTo>
                    <a:pt x="19030" y="58578"/>
                    <a:pt x="19030" y="58009"/>
                    <a:pt x="19030" y="58009"/>
                  </a:cubicBezTo>
                  <a:cubicBezTo>
                    <a:pt x="19030" y="58009"/>
                    <a:pt x="18502" y="58009"/>
                    <a:pt x="18502" y="57440"/>
                  </a:cubicBezTo>
                  <a:cubicBezTo>
                    <a:pt x="17973" y="56872"/>
                    <a:pt x="17973" y="56303"/>
                    <a:pt x="17973" y="56303"/>
                  </a:cubicBezTo>
                  <a:cubicBezTo>
                    <a:pt x="17973" y="56303"/>
                    <a:pt x="18502" y="56303"/>
                    <a:pt x="17973" y="55734"/>
                  </a:cubicBezTo>
                  <a:cubicBezTo>
                    <a:pt x="17973" y="55165"/>
                    <a:pt x="17973" y="55165"/>
                    <a:pt x="17444" y="55165"/>
                  </a:cubicBezTo>
                  <a:cubicBezTo>
                    <a:pt x="17444" y="54597"/>
                    <a:pt x="17444" y="54028"/>
                    <a:pt x="17973" y="54028"/>
                  </a:cubicBezTo>
                  <a:cubicBezTo>
                    <a:pt x="17973" y="54028"/>
                    <a:pt x="17973" y="54028"/>
                    <a:pt x="18502" y="54028"/>
                  </a:cubicBezTo>
                  <a:cubicBezTo>
                    <a:pt x="18502" y="54597"/>
                    <a:pt x="19030" y="54597"/>
                    <a:pt x="19030" y="54597"/>
                  </a:cubicBezTo>
                  <a:cubicBezTo>
                    <a:pt x="19030" y="54028"/>
                    <a:pt x="19559" y="53459"/>
                    <a:pt x="19030" y="53459"/>
                  </a:cubicBezTo>
                  <a:cubicBezTo>
                    <a:pt x="19030" y="52890"/>
                    <a:pt x="18502" y="52322"/>
                    <a:pt x="18502" y="52322"/>
                  </a:cubicBezTo>
                  <a:cubicBezTo>
                    <a:pt x="17973" y="51753"/>
                    <a:pt x="17973" y="51753"/>
                    <a:pt x="17973" y="51753"/>
                  </a:cubicBezTo>
                  <a:cubicBezTo>
                    <a:pt x="17973" y="51753"/>
                    <a:pt x="17973" y="51753"/>
                    <a:pt x="17973" y="51184"/>
                  </a:cubicBezTo>
                  <a:cubicBezTo>
                    <a:pt x="17973" y="51184"/>
                    <a:pt x="17973" y="50616"/>
                    <a:pt x="17973" y="50616"/>
                  </a:cubicBezTo>
                  <a:close/>
                  <a:moveTo>
                    <a:pt x="17444" y="50616"/>
                  </a:moveTo>
                  <a:cubicBezTo>
                    <a:pt x="17444" y="50616"/>
                    <a:pt x="17444" y="50616"/>
                    <a:pt x="17444" y="50616"/>
                  </a:cubicBezTo>
                  <a:cubicBezTo>
                    <a:pt x="17444" y="50616"/>
                    <a:pt x="16916" y="50047"/>
                    <a:pt x="16916" y="49478"/>
                  </a:cubicBezTo>
                  <a:cubicBezTo>
                    <a:pt x="16916" y="49478"/>
                    <a:pt x="16916" y="49478"/>
                    <a:pt x="16916" y="48909"/>
                  </a:cubicBezTo>
                  <a:cubicBezTo>
                    <a:pt x="16916" y="48341"/>
                    <a:pt x="16387" y="48341"/>
                    <a:pt x="16387" y="47772"/>
                  </a:cubicBezTo>
                  <a:cubicBezTo>
                    <a:pt x="16916" y="47772"/>
                    <a:pt x="16916" y="47203"/>
                    <a:pt x="16916" y="47203"/>
                  </a:cubicBezTo>
                  <a:cubicBezTo>
                    <a:pt x="17444" y="46635"/>
                    <a:pt x="17973" y="46635"/>
                    <a:pt x="17973" y="47203"/>
                  </a:cubicBezTo>
                  <a:cubicBezTo>
                    <a:pt x="17973" y="47203"/>
                    <a:pt x="17973" y="47772"/>
                    <a:pt x="17973" y="48341"/>
                  </a:cubicBezTo>
                  <a:cubicBezTo>
                    <a:pt x="17973" y="48341"/>
                    <a:pt x="17973" y="48909"/>
                    <a:pt x="17973" y="48909"/>
                  </a:cubicBezTo>
                  <a:cubicBezTo>
                    <a:pt x="17973" y="49478"/>
                    <a:pt x="18502" y="49478"/>
                    <a:pt x="18502" y="49478"/>
                  </a:cubicBezTo>
                  <a:cubicBezTo>
                    <a:pt x="18502" y="50047"/>
                    <a:pt x="18502" y="50616"/>
                    <a:pt x="18502" y="50616"/>
                  </a:cubicBezTo>
                  <a:lnTo>
                    <a:pt x="17444" y="50616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2" name="Shape 2023"/>
            <p:cNvSpPr/>
            <p:nvPr/>
          </p:nvSpPr>
          <p:spPr>
            <a:xfrm>
              <a:off x="5794467" y="3262800"/>
              <a:ext cx="424380" cy="4378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096" y="8484"/>
                  </a:moveTo>
                  <a:cubicBezTo>
                    <a:pt x="7096" y="8484"/>
                    <a:pt x="7096" y="8484"/>
                    <a:pt x="7096" y="8484"/>
                  </a:cubicBezTo>
                  <a:cubicBezTo>
                    <a:pt x="7096" y="8484"/>
                    <a:pt x="7096" y="8484"/>
                    <a:pt x="7096" y="8484"/>
                  </a:cubicBezTo>
                  <a:cubicBezTo>
                    <a:pt x="7741" y="8484"/>
                    <a:pt x="7741" y="8484"/>
                    <a:pt x="8387" y="8484"/>
                  </a:cubicBezTo>
                  <a:cubicBezTo>
                    <a:pt x="9677" y="8484"/>
                    <a:pt x="10322" y="8484"/>
                    <a:pt x="10322" y="8484"/>
                  </a:cubicBezTo>
                  <a:cubicBezTo>
                    <a:pt x="10967" y="6666"/>
                    <a:pt x="10967" y="6666"/>
                    <a:pt x="10967" y="6666"/>
                  </a:cubicBezTo>
                  <a:cubicBezTo>
                    <a:pt x="12258" y="6060"/>
                    <a:pt x="12258" y="6060"/>
                    <a:pt x="12258" y="6060"/>
                  </a:cubicBezTo>
                  <a:cubicBezTo>
                    <a:pt x="12258" y="6060"/>
                    <a:pt x="14193" y="3636"/>
                    <a:pt x="14838" y="3636"/>
                  </a:cubicBezTo>
                  <a:cubicBezTo>
                    <a:pt x="16129" y="3636"/>
                    <a:pt x="14838" y="2424"/>
                    <a:pt x="14838" y="2424"/>
                  </a:cubicBezTo>
                  <a:cubicBezTo>
                    <a:pt x="14838" y="2424"/>
                    <a:pt x="18064" y="1212"/>
                    <a:pt x="19354" y="1212"/>
                  </a:cubicBezTo>
                  <a:cubicBezTo>
                    <a:pt x="19354" y="1212"/>
                    <a:pt x="19354" y="1212"/>
                    <a:pt x="20000" y="1212"/>
                  </a:cubicBezTo>
                  <a:cubicBezTo>
                    <a:pt x="20645" y="1212"/>
                    <a:pt x="20645" y="1818"/>
                    <a:pt x="20645" y="1818"/>
                  </a:cubicBezTo>
                  <a:cubicBezTo>
                    <a:pt x="23225" y="606"/>
                    <a:pt x="23225" y="606"/>
                    <a:pt x="23225" y="606"/>
                  </a:cubicBezTo>
                  <a:cubicBezTo>
                    <a:pt x="23225" y="606"/>
                    <a:pt x="27096" y="0"/>
                    <a:pt x="27741" y="0"/>
                  </a:cubicBezTo>
                  <a:cubicBezTo>
                    <a:pt x="28387" y="0"/>
                    <a:pt x="29677" y="606"/>
                    <a:pt x="29677" y="606"/>
                  </a:cubicBezTo>
                  <a:cubicBezTo>
                    <a:pt x="30967" y="606"/>
                    <a:pt x="30967" y="606"/>
                    <a:pt x="30967" y="606"/>
                  </a:cubicBezTo>
                  <a:cubicBezTo>
                    <a:pt x="30967" y="606"/>
                    <a:pt x="31612" y="1212"/>
                    <a:pt x="32258" y="1212"/>
                  </a:cubicBezTo>
                  <a:cubicBezTo>
                    <a:pt x="33548" y="1818"/>
                    <a:pt x="34193" y="3636"/>
                    <a:pt x="34838" y="3636"/>
                  </a:cubicBezTo>
                  <a:cubicBezTo>
                    <a:pt x="36129" y="4242"/>
                    <a:pt x="37419" y="4242"/>
                    <a:pt x="38064" y="4242"/>
                  </a:cubicBezTo>
                  <a:cubicBezTo>
                    <a:pt x="38709" y="4848"/>
                    <a:pt x="40000" y="5454"/>
                    <a:pt x="40000" y="5454"/>
                  </a:cubicBezTo>
                  <a:cubicBezTo>
                    <a:pt x="40000" y="5454"/>
                    <a:pt x="43225" y="8484"/>
                    <a:pt x="43870" y="8484"/>
                  </a:cubicBezTo>
                  <a:cubicBezTo>
                    <a:pt x="44516" y="8484"/>
                    <a:pt x="44516" y="8484"/>
                    <a:pt x="45161" y="9696"/>
                  </a:cubicBezTo>
                  <a:cubicBezTo>
                    <a:pt x="45806" y="10303"/>
                    <a:pt x="47741" y="9696"/>
                    <a:pt x="47741" y="9696"/>
                  </a:cubicBezTo>
                  <a:cubicBezTo>
                    <a:pt x="47741" y="9696"/>
                    <a:pt x="48387" y="11515"/>
                    <a:pt x="47741" y="12121"/>
                  </a:cubicBezTo>
                  <a:cubicBezTo>
                    <a:pt x="47741" y="12727"/>
                    <a:pt x="47741" y="14545"/>
                    <a:pt x="47741" y="14545"/>
                  </a:cubicBezTo>
                  <a:cubicBezTo>
                    <a:pt x="47741" y="14545"/>
                    <a:pt x="47741" y="15151"/>
                    <a:pt x="47741" y="15757"/>
                  </a:cubicBezTo>
                  <a:cubicBezTo>
                    <a:pt x="48387" y="16969"/>
                    <a:pt x="49032" y="16969"/>
                    <a:pt x="49032" y="18181"/>
                  </a:cubicBezTo>
                  <a:cubicBezTo>
                    <a:pt x="49677" y="18787"/>
                    <a:pt x="49032" y="18787"/>
                    <a:pt x="49677" y="19393"/>
                  </a:cubicBezTo>
                  <a:cubicBezTo>
                    <a:pt x="50322" y="20000"/>
                    <a:pt x="50967" y="21212"/>
                    <a:pt x="51612" y="21212"/>
                  </a:cubicBezTo>
                  <a:cubicBezTo>
                    <a:pt x="52258" y="21212"/>
                    <a:pt x="52903" y="21212"/>
                    <a:pt x="54838" y="21818"/>
                  </a:cubicBezTo>
                  <a:cubicBezTo>
                    <a:pt x="56774" y="23030"/>
                    <a:pt x="57419" y="23030"/>
                    <a:pt x="58064" y="23636"/>
                  </a:cubicBezTo>
                  <a:cubicBezTo>
                    <a:pt x="59354" y="24242"/>
                    <a:pt x="58709" y="23636"/>
                    <a:pt x="60645" y="24242"/>
                  </a:cubicBezTo>
                  <a:cubicBezTo>
                    <a:pt x="63225" y="24848"/>
                    <a:pt x="62580" y="24242"/>
                    <a:pt x="63225" y="24848"/>
                  </a:cubicBezTo>
                  <a:cubicBezTo>
                    <a:pt x="63870" y="24848"/>
                    <a:pt x="63225" y="24242"/>
                    <a:pt x="64516" y="24848"/>
                  </a:cubicBezTo>
                  <a:cubicBezTo>
                    <a:pt x="66451" y="24848"/>
                    <a:pt x="67741" y="25454"/>
                    <a:pt x="67741" y="25454"/>
                  </a:cubicBezTo>
                  <a:cubicBezTo>
                    <a:pt x="67741" y="26666"/>
                    <a:pt x="67741" y="26666"/>
                    <a:pt x="67741" y="26666"/>
                  </a:cubicBezTo>
                  <a:cubicBezTo>
                    <a:pt x="66451" y="29090"/>
                    <a:pt x="66451" y="29090"/>
                    <a:pt x="66451" y="29090"/>
                  </a:cubicBezTo>
                  <a:cubicBezTo>
                    <a:pt x="66451" y="30909"/>
                    <a:pt x="66451" y="30909"/>
                    <a:pt x="66451" y="30909"/>
                  </a:cubicBezTo>
                  <a:cubicBezTo>
                    <a:pt x="66451" y="30909"/>
                    <a:pt x="65161" y="30909"/>
                    <a:pt x="66451" y="31515"/>
                  </a:cubicBezTo>
                  <a:cubicBezTo>
                    <a:pt x="67741" y="32121"/>
                    <a:pt x="70322" y="32727"/>
                    <a:pt x="70322" y="32727"/>
                  </a:cubicBezTo>
                  <a:cubicBezTo>
                    <a:pt x="72258" y="33939"/>
                    <a:pt x="72258" y="33939"/>
                    <a:pt x="72258" y="33939"/>
                  </a:cubicBezTo>
                  <a:cubicBezTo>
                    <a:pt x="72258" y="33939"/>
                    <a:pt x="70967" y="35757"/>
                    <a:pt x="70322" y="36363"/>
                  </a:cubicBezTo>
                  <a:cubicBezTo>
                    <a:pt x="69677" y="36363"/>
                    <a:pt x="67741" y="36363"/>
                    <a:pt x="67741" y="36363"/>
                  </a:cubicBezTo>
                  <a:cubicBezTo>
                    <a:pt x="67741" y="36363"/>
                    <a:pt x="67096" y="38181"/>
                    <a:pt x="68387" y="38181"/>
                  </a:cubicBezTo>
                  <a:cubicBezTo>
                    <a:pt x="69032" y="38787"/>
                    <a:pt x="70322" y="38787"/>
                    <a:pt x="70967" y="38787"/>
                  </a:cubicBezTo>
                  <a:cubicBezTo>
                    <a:pt x="71612" y="38787"/>
                    <a:pt x="72903" y="39393"/>
                    <a:pt x="72903" y="39393"/>
                  </a:cubicBezTo>
                  <a:cubicBezTo>
                    <a:pt x="72903" y="39393"/>
                    <a:pt x="73548" y="39393"/>
                    <a:pt x="74193" y="40000"/>
                  </a:cubicBezTo>
                  <a:cubicBezTo>
                    <a:pt x="74193" y="41212"/>
                    <a:pt x="74838" y="41818"/>
                    <a:pt x="75483" y="41818"/>
                  </a:cubicBezTo>
                  <a:cubicBezTo>
                    <a:pt x="76129" y="41818"/>
                    <a:pt x="77419" y="41818"/>
                    <a:pt x="78064" y="41818"/>
                  </a:cubicBezTo>
                  <a:cubicBezTo>
                    <a:pt x="78709" y="41818"/>
                    <a:pt x="78709" y="41212"/>
                    <a:pt x="79354" y="41212"/>
                  </a:cubicBezTo>
                  <a:cubicBezTo>
                    <a:pt x="80000" y="41818"/>
                    <a:pt x="83870" y="41212"/>
                    <a:pt x="83870" y="41212"/>
                  </a:cubicBezTo>
                  <a:cubicBezTo>
                    <a:pt x="83870" y="41212"/>
                    <a:pt x="83870" y="41212"/>
                    <a:pt x="84516" y="42424"/>
                  </a:cubicBezTo>
                  <a:cubicBezTo>
                    <a:pt x="85806" y="44242"/>
                    <a:pt x="87741" y="44848"/>
                    <a:pt x="87741" y="44848"/>
                  </a:cubicBezTo>
                  <a:cubicBezTo>
                    <a:pt x="87741" y="44848"/>
                    <a:pt x="88387" y="45454"/>
                    <a:pt x="88387" y="44848"/>
                  </a:cubicBezTo>
                  <a:cubicBezTo>
                    <a:pt x="88387" y="44242"/>
                    <a:pt x="89032" y="43636"/>
                    <a:pt x="89032" y="43636"/>
                  </a:cubicBezTo>
                  <a:cubicBezTo>
                    <a:pt x="89032" y="43636"/>
                    <a:pt x="90322" y="41818"/>
                    <a:pt x="90322" y="41212"/>
                  </a:cubicBezTo>
                  <a:cubicBezTo>
                    <a:pt x="90967" y="40606"/>
                    <a:pt x="91612" y="38787"/>
                    <a:pt x="92258" y="38787"/>
                  </a:cubicBezTo>
                  <a:cubicBezTo>
                    <a:pt x="92903" y="38181"/>
                    <a:pt x="94838" y="36969"/>
                    <a:pt x="94838" y="36969"/>
                  </a:cubicBezTo>
                  <a:cubicBezTo>
                    <a:pt x="94838" y="36969"/>
                    <a:pt x="94838" y="36363"/>
                    <a:pt x="96129" y="36969"/>
                  </a:cubicBezTo>
                  <a:cubicBezTo>
                    <a:pt x="96774" y="38181"/>
                    <a:pt x="98709" y="39393"/>
                    <a:pt x="98709" y="39393"/>
                  </a:cubicBezTo>
                  <a:cubicBezTo>
                    <a:pt x="101935" y="39393"/>
                    <a:pt x="101935" y="39393"/>
                    <a:pt x="101935" y="39393"/>
                  </a:cubicBezTo>
                  <a:cubicBezTo>
                    <a:pt x="101935" y="39393"/>
                    <a:pt x="103870" y="40000"/>
                    <a:pt x="103870" y="40606"/>
                  </a:cubicBezTo>
                  <a:cubicBezTo>
                    <a:pt x="103870" y="41212"/>
                    <a:pt x="103225" y="41212"/>
                    <a:pt x="101935" y="41818"/>
                  </a:cubicBezTo>
                  <a:cubicBezTo>
                    <a:pt x="101290" y="41818"/>
                    <a:pt x="99354" y="40000"/>
                    <a:pt x="99354" y="40606"/>
                  </a:cubicBezTo>
                  <a:cubicBezTo>
                    <a:pt x="98709" y="41212"/>
                    <a:pt x="98709" y="42424"/>
                    <a:pt x="98709" y="42424"/>
                  </a:cubicBezTo>
                  <a:cubicBezTo>
                    <a:pt x="96129" y="43636"/>
                    <a:pt x="96129" y="43636"/>
                    <a:pt x="96129" y="43636"/>
                  </a:cubicBezTo>
                  <a:cubicBezTo>
                    <a:pt x="96774" y="44848"/>
                    <a:pt x="96774" y="44848"/>
                    <a:pt x="96774" y="44848"/>
                  </a:cubicBezTo>
                  <a:cubicBezTo>
                    <a:pt x="96774" y="44848"/>
                    <a:pt x="100000" y="46060"/>
                    <a:pt x="100000" y="46666"/>
                  </a:cubicBezTo>
                  <a:cubicBezTo>
                    <a:pt x="100000" y="47272"/>
                    <a:pt x="100000" y="48484"/>
                    <a:pt x="100000" y="48484"/>
                  </a:cubicBezTo>
                  <a:cubicBezTo>
                    <a:pt x="101935" y="49090"/>
                    <a:pt x="101935" y="49090"/>
                    <a:pt x="101935" y="49090"/>
                  </a:cubicBezTo>
                  <a:cubicBezTo>
                    <a:pt x="103225" y="48484"/>
                    <a:pt x="103225" y="48484"/>
                    <a:pt x="103225" y="48484"/>
                  </a:cubicBezTo>
                  <a:cubicBezTo>
                    <a:pt x="103225" y="50909"/>
                    <a:pt x="103225" y="50909"/>
                    <a:pt x="103225" y="50909"/>
                  </a:cubicBezTo>
                  <a:cubicBezTo>
                    <a:pt x="103225" y="53333"/>
                    <a:pt x="103225" y="53333"/>
                    <a:pt x="103225" y="53333"/>
                  </a:cubicBezTo>
                  <a:cubicBezTo>
                    <a:pt x="103225" y="55151"/>
                    <a:pt x="103225" y="55151"/>
                    <a:pt x="103225" y="55151"/>
                  </a:cubicBezTo>
                  <a:cubicBezTo>
                    <a:pt x="103225" y="55151"/>
                    <a:pt x="103870" y="56969"/>
                    <a:pt x="103225" y="56969"/>
                  </a:cubicBezTo>
                  <a:cubicBezTo>
                    <a:pt x="102580" y="56969"/>
                    <a:pt x="100645" y="58181"/>
                    <a:pt x="100645" y="58181"/>
                  </a:cubicBezTo>
                  <a:cubicBezTo>
                    <a:pt x="99354" y="59999"/>
                    <a:pt x="99354" y="59999"/>
                    <a:pt x="99354" y="59999"/>
                  </a:cubicBezTo>
                  <a:cubicBezTo>
                    <a:pt x="99354" y="59999"/>
                    <a:pt x="99354" y="62424"/>
                    <a:pt x="99354" y="63030"/>
                  </a:cubicBezTo>
                  <a:cubicBezTo>
                    <a:pt x="100000" y="64242"/>
                    <a:pt x="99354" y="66060"/>
                    <a:pt x="99354" y="66060"/>
                  </a:cubicBezTo>
                  <a:cubicBezTo>
                    <a:pt x="99354" y="66060"/>
                    <a:pt x="99354" y="67272"/>
                    <a:pt x="100000" y="67878"/>
                  </a:cubicBezTo>
                  <a:cubicBezTo>
                    <a:pt x="100645" y="68484"/>
                    <a:pt x="101290" y="69696"/>
                    <a:pt x="101290" y="69696"/>
                  </a:cubicBezTo>
                  <a:cubicBezTo>
                    <a:pt x="101290" y="69696"/>
                    <a:pt x="101935" y="70303"/>
                    <a:pt x="102580" y="71515"/>
                  </a:cubicBezTo>
                  <a:cubicBezTo>
                    <a:pt x="103225" y="72727"/>
                    <a:pt x="105806" y="75757"/>
                    <a:pt x="105806" y="75757"/>
                  </a:cubicBezTo>
                  <a:cubicBezTo>
                    <a:pt x="105806" y="75757"/>
                    <a:pt x="107741" y="76363"/>
                    <a:pt x="108387" y="76363"/>
                  </a:cubicBezTo>
                  <a:cubicBezTo>
                    <a:pt x="108387" y="76363"/>
                    <a:pt x="110967" y="77575"/>
                    <a:pt x="110967" y="77575"/>
                  </a:cubicBezTo>
                  <a:cubicBezTo>
                    <a:pt x="110967" y="77575"/>
                    <a:pt x="112258" y="77575"/>
                    <a:pt x="112258" y="78181"/>
                  </a:cubicBezTo>
                  <a:cubicBezTo>
                    <a:pt x="112258" y="78181"/>
                    <a:pt x="114838" y="81818"/>
                    <a:pt x="114838" y="81818"/>
                  </a:cubicBezTo>
                  <a:cubicBezTo>
                    <a:pt x="117419" y="82424"/>
                    <a:pt x="117419" y="82424"/>
                    <a:pt x="117419" y="82424"/>
                  </a:cubicBezTo>
                  <a:cubicBezTo>
                    <a:pt x="120000" y="82424"/>
                    <a:pt x="120000" y="82424"/>
                    <a:pt x="120000" y="82424"/>
                  </a:cubicBezTo>
                  <a:cubicBezTo>
                    <a:pt x="120000" y="82424"/>
                    <a:pt x="119354" y="85454"/>
                    <a:pt x="118709" y="86060"/>
                  </a:cubicBezTo>
                  <a:cubicBezTo>
                    <a:pt x="118064" y="86666"/>
                    <a:pt x="116129" y="89090"/>
                    <a:pt x="116129" y="89090"/>
                  </a:cubicBezTo>
                  <a:cubicBezTo>
                    <a:pt x="116129" y="89090"/>
                    <a:pt x="114838" y="90303"/>
                    <a:pt x="114838" y="91515"/>
                  </a:cubicBezTo>
                  <a:cubicBezTo>
                    <a:pt x="115483" y="92121"/>
                    <a:pt x="115483" y="93939"/>
                    <a:pt x="115483" y="93939"/>
                  </a:cubicBezTo>
                  <a:cubicBezTo>
                    <a:pt x="115483" y="93939"/>
                    <a:pt x="114193" y="95151"/>
                    <a:pt x="113548" y="95151"/>
                  </a:cubicBezTo>
                  <a:cubicBezTo>
                    <a:pt x="112903" y="95151"/>
                    <a:pt x="111612" y="95151"/>
                    <a:pt x="110967" y="95757"/>
                  </a:cubicBezTo>
                  <a:cubicBezTo>
                    <a:pt x="110322" y="95757"/>
                    <a:pt x="109677" y="96363"/>
                    <a:pt x="109677" y="96363"/>
                  </a:cubicBezTo>
                  <a:cubicBezTo>
                    <a:pt x="109032" y="96969"/>
                    <a:pt x="107741" y="98181"/>
                    <a:pt x="107741" y="98181"/>
                  </a:cubicBezTo>
                  <a:cubicBezTo>
                    <a:pt x="109032" y="99999"/>
                    <a:pt x="109032" y="99999"/>
                    <a:pt x="109032" y="99999"/>
                  </a:cubicBezTo>
                  <a:cubicBezTo>
                    <a:pt x="109677" y="103030"/>
                    <a:pt x="109677" y="103030"/>
                    <a:pt x="109677" y="103030"/>
                  </a:cubicBezTo>
                  <a:cubicBezTo>
                    <a:pt x="109677" y="106060"/>
                    <a:pt x="109677" y="106060"/>
                    <a:pt x="109677" y="106060"/>
                  </a:cubicBezTo>
                  <a:cubicBezTo>
                    <a:pt x="109677" y="106060"/>
                    <a:pt x="111612" y="106666"/>
                    <a:pt x="111612" y="107272"/>
                  </a:cubicBezTo>
                  <a:cubicBezTo>
                    <a:pt x="112258" y="107272"/>
                    <a:pt x="112903" y="109090"/>
                    <a:pt x="112903" y="109090"/>
                  </a:cubicBezTo>
                  <a:cubicBezTo>
                    <a:pt x="112258" y="110303"/>
                    <a:pt x="112258" y="110303"/>
                    <a:pt x="112258" y="110303"/>
                  </a:cubicBezTo>
                  <a:cubicBezTo>
                    <a:pt x="111612" y="112121"/>
                    <a:pt x="111612" y="112121"/>
                    <a:pt x="111612" y="112121"/>
                  </a:cubicBezTo>
                  <a:cubicBezTo>
                    <a:pt x="111612" y="112121"/>
                    <a:pt x="110967" y="113333"/>
                    <a:pt x="110322" y="113939"/>
                  </a:cubicBezTo>
                  <a:cubicBezTo>
                    <a:pt x="109032" y="113939"/>
                    <a:pt x="107096" y="113939"/>
                    <a:pt x="107096" y="113939"/>
                  </a:cubicBezTo>
                  <a:cubicBezTo>
                    <a:pt x="107096" y="113939"/>
                    <a:pt x="107096" y="113333"/>
                    <a:pt x="105806" y="113939"/>
                  </a:cubicBezTo>
                  <a:cubicBezTo>
                    <a:pt x="104516" y="113939"/>
                    <a:pt x="103225" y="115151"/>
                    <a:pt x="103225" y="115151"/>
                  </a:cubicBezTo>
                  <a:cubicBezTo>
                    <a:pt x="103225" y="115151"/>
                    <a:pt x="103225" y="115151"/>
                    <a:pt x="102580" y="115757"/>
                  </a:cubicBezTo>
                  <a:cubicBezTo>
                    <a:pt x="101290" y="115757"/>
                    <a:pt x="100645" y="115757"/>
                    <a:pt x="100000" y="115757"/>
                  </a:cubicBezTo>
                  <a:cubicBezTo>
                    <a:pt x="99354" y="115757"/>
                    <a:pt x="98064" y="115151"/>
                    <a:pt x="98064" y="115151"/>
                  </a:cubicBezTo>
                  <a:cubicBezTo>
                    <a:pt x="96774" y="116969"/>
                    <a:pt x="96774" y="116969"/>
                    <a:pt x="96774" y="116969"/>
                  </a:cubicBezTo>
                  <a:cubicBezTo>
                    <a:pt x="96774" y="116969"/>
                    <a:pt x="95483" y="117575"/>
                    <a:pt x="94838" y="117575"/>
                  </a:cubicBezTo>
                  <a:cubicBezTo>
                    <a:pt x="94838" y="117575"/>
                    <a:pt x="92903" y="119999"/>
                    <a:pt x="92903" y="119999"/>
                  </a:cubicBezTo>
                  <a:cubicBezTo>
                    <a:pt x="92903" y="119999"/>
                    <a:pt x="92903" y="119999"/>
                    <a:pt x="92258" y="119999"/>
                  </a:cubicBezTo>
                  <a:cubicBezTo>
                    <a:pt x="90967" y="119999"/>
                    <a:pt x="89677" y="119393"/>
                    <a:pt x="89677" y="119393"/>
                  </a:cubicBezTo>
                  <a:cubicBezTo>
                    <a:pt x="87741" y="117575"/>
                    <a:pt x="87741" y="117575"/>
                    <a:pt x="87741" y="117575"/>
                  </a:cubicBezTo>
                  <a:cubicBezTo>
                    <a:pt x="87741" y="117575"/>
                    <a:pt x="88387" y="117575"/>
                    <a:pt x="89677" y="116363"/>
                  </a:cubicBezTo>
                  <a:cubicBezTo>
                    <a:pt x="90322" y="115757"/>
                    <a:pt x="90322" y="115757"/>
                    <a:pt x="90322" y="115151"/>
                  </a:cubicBezTo>
                  <a:cubicBezTo>
                    <a:pt x="89677" y="113939"/>
                    <a:pt x="89032" y="112727"/>
                    <a:pt x="89677" y="112727"/>
                  </a:cubicBezTo>
                  <a:cubicBezTo>
                    <a:pt x="90322" y="112121"/>
                    <a:pt x="90967" y="112727"/>
                    <a:pt x="91612" y="111515"/>
                  </a:cubicBezTo>
                  <a:cubicBezTo>
                    <a:pt x="91612" y="110909"/>
                    <a:pt x="91612" y="110303"/>
                    <a:pt x="91612" y="109090"/>
                  </a:cubicBezTo>
                  <a:cubicBezTo>
                    <a:pt x="91612" y="108484"/>
                    <a:pt x="91612" y="107272"/>
                    <a:pt x="92258" y="107272"/>
                  </a:cubicBezTo>
                  <a:cubicBezTo>
                    <a:pt x="92903" y="106666"/>
                    <a:pt x="92903" y="106060"/>
                    <a:pt x="92903" y="106060"/>
                  </a:cubicBezTo>
                  <a:cubicBezTo>
                    <a:pt x="89677" y="105454"/>
                    <a:pt x="89677" y="105454"/>
                    <a:pt x="89677" y="105454"/>
                  </a:cubicBezTo>
                  <a:cubicBezTo>
                    <a:pt x="87741" y="106060"/>
                    <a:pt x="87741" y="106060"/>
                    <a:pt x="87741" y="106060"/>
                  </a:cubicBezTo>
                  <a:cubicBezTo>
                    <a:pt x="87741" y="106060"/>
                    <a:pt x="87741" y="104848"/>
                    <a:pt x="86451" y="104848"/>
                  </a:cubicBezTo>
                  <a:cubicBezTo>
                    <a:pt x="85161" y="104242"/>
                    <a:pt x="82580" y="104242"/>
                    <a:pt x="82580" y="104242"/>
                  </a:cubicBezTo>
                  <a:cubicBezTo>
                    <a:pt x="81935" y="101818"/>
                    <a:pt x="81935" y="101818"/>
                    <a:pt x="81935" y="101818"/>
                  </a:cubicBezTo>
                  <a:cubicBezTo>
                    <a:pt x="76774" y="100606"/>
                    <a:pt x="76774" y="100606"/>
                    <a:pt x="76774" y="100606"/>
                  </a:cubicBezTo>
                  <a:cubicBezTo>
                    <a:pt x="76774" y="100606"/>
                    <a:pt x="76129" y="98181"/>
                    <a:pt x="75483" y="97575"/>
                  </a:cubicBezTo>
                  <a:cubicBezTo>
                    <a:pt x="74838" y="96969"/>
                    <a:pt x="74838" y="96969"/>
                    <a:pt x="74838" y="96969"/>
                  </a:cubicBezTo>
                  <a:cubicBezTo>
                    <a:pt x="71612" y="94545"/>
                    <a:pt x="71612" y="94545"/>
                    <a:pt x="71612" y="94545"/>
                  </a:cubicBezTo>
                  <a:cubicBezTo>
                    <a:pt x="69677" y="94545"/>
                    <a:pt x="69677" y="94545"/>
                    <a:pt x="69677" y="94545"/>
                  </a:cubicBezTo>
                  <a:cubicBezTo>
                    <a:pt x="69677" y="94545"/>
                    <a:pt x="69032" y="94545"/>
                    <a:pt x="67741" y="93939"/>
                  </a:cubicBezTo>
                  <a:cubicBezTo>
                    <a:pt x="65806" y="93333"/>
                    <a:pt x="65161" y="91515"/>
                    <a:pt x="65161" y="91515"/>
                  </a:cubicBezTo>
                  <a:cubicBezTo>
                    <a:pt x="65161" y="91515"/>
                    <a:pt x="65161" y="90303"/>
                    <a:pt x="63870" y="90909"/>
                  </a:cubicBezTo>
                  <a:cubicBezTo>
                    <a:pt x="62580" y="92121"/>
                    <a:pt x="61290" y="92121"/>
                    <a:pt x="60645" y="92727"/>
                  </a:cubicBezTo>
                  <a:cubicBezTo>
                    <a:pt x="60645" y="92727"/>
                    <a:pt x="60000" y="92727"/>
                    <a:pt x="59354" y="93333"/>
                  </a:cubicBezTo>
                  <a:cubicBezTo>
                    <a:pt x="59354" y="93939"/>
                    <a:pt x="58709" y="93939"/>
                    <a:pt x="60000" y="95151"/>
                  </a:cubicBezTo>
                  <a:cubicBezTo>
                    <a:pt x="60645" y="95757"/>
                    <a:pt x="61290" y="96363"/>
                    <a:pt x="61290" y="96363"/>
                  </a:cubicBezTo>
                  <a:cubicBezTo>
                    <a:pt x="60645" y="99393"/>
                    <a:pt x="60645" y="99393"/>
                    <a:pt x="60645" y="99393"/>
                  </a:cubicBezTo>
                  <a:cubicBezTo>
                    <a:pt x="56774" y="103030"/>
                    <a:pt x="56774" y="103030"/>
                    <a:pt x="56774" y="103030"/>
                  </a:cubicBezTo>
                  <a:cubicBezTo>
                    <a:pt x="57419" y="104848"/>
                    <a:pt x="57419" y="104848"/>
                    <a:pt x="57419" y="104848"/>
                  </a:cubicBezTo>
                  <a:cubicBezTo>
                    <a:pt x="57419" y="104848"/>
                    <a:pt x="58709" y="104848"/>
                    <a:pt x="56774" y="105454"/>
                  </a:cubicBezTo>
                  <a:cubicBezTo>
                    <a:pt x="55483" y="106060"/>
                    <a:pt x="55483" y="106666"/>
                    <a:pt x="54838" y="106666"/>
                  </a:cubicBezTo>
                  <a:cubicBezTo>
                    <a:pt x="54838" y="106060"/>
                    <a:pt x="54193" y="105454"/>
                    <a:pt x="52903" y="104848"/>
                  </a:cubicBezTo>
                  <a:cubicBezTo>
                    <a:pt x="52258" y="104242"/>
                    <a:pt x="52258" y="104242"/>
                    <a:pt x="52258" y="104242"/>
                  </a:cubicBezTo>
                  <a:cubicBezTo>
                    <a:pt x="52258" y="104242"/>
                    <a:pt x="52258" y="104242"/>
                    <a:pt x="51612" y="103636"/>
                  </a:cubicBezTo>
                  <a:cubicBezTo>
                    <a:pt x="51612" y="103636"/>
                    <a:pt x="51612" y="103636"/>
                    <a:pt x="51612" y="103636"/>
                  </a:cubicBezTo>
                  <a:cubicBezTo>
                    <a:pt x="51612" y="103636"/>
                    <a:pt x="51612" y="103030"/>
                    <a:pt x="50322" y="103030"/>
                  </a:cubicBezTo>
                  <a:cubicBezTo>
                    <a:pt x="49677" y="103030"/>
                    <a:pt x="48387" y="101818"/>
                    <a:pt x="48387" y="101818"/>
                  </a:cubicBezTo>
                  <a:cubicBezTo>
                    <a:pt x="46451" y="101818"/>
                    <a:pt x="46451" y="101818"/>
                    <a:pt x="46451" y="101818"/>
                  </a:cubicBezTo>
                  <a:cubicBezTo>
                    <a:pt x="46451" y="101818"/>
                    <a:pt x="44516" y="99999"/>
                    <a:pt x="44516" y="99999"/>
                  </a:cubicBezTo>
                  <a:cubicBezTo>
                    <a:pt x="43870" y="99999"/>
                    <a:pt x="41935" y="99393"/>
                    <a:pt x="41935" y="99393"/>
                  </a:cubicBezTo>
                  <a:cubicBezTo>
                    <a:pt x="41935" y="98181"/>
                    <a:pt x="41935" y="98181"/>
                    <a:pt x="41935" y="98181"/>
                  </a:cubicBezTo>
                  <a:cubicBezTo>
                    <a:pt x="41935" y="98181"/>
                    <a:pt x="41290" y="98181"/>
                    <a:pt x="41290" y="98181"/>
                  </a:cubicBezTo>
                  <a:cubicBezTo>
                    <a:pt x="40645" y="98181"/>
                    <a:pt x="40000" y="98787"/>
                    <a:pt x="40000" y="98787"/>
                  </a:cubicBezTo>
                  <a:cubicBezTo>
                    <a:pt x="38064" y="99393"/>
                    <a:pt x="38064" y="99393"/>
                    <a:pt x="38064" y="99393"/>
                  </a:cubicBezTo>
                  <a:cubicBezTo>
                    <a:pt x="38064" y="99393"/>
                    <a:pt x="36774" y="99393"/>
                    <a:pt x="36774" y="99393"/>
                  </a:cubicBezTo>
                  <a:cubicBezTo>
                    <a:pt x="36129" y="98787"/>
                    <a:pt x="35483" y="97575"/>
                    <a:pt x="35483" y="97575"/>
                  </a:cubicBezTo>
                  <a:cubicBezTo>
                    <a:pt x="35483" y="97575"/>
                    <a:pt x="35483" y="97575"/>
                    <a:pt x="34838" y="97575"/>
                  </a:cubicBezTo>
                  <a:cubicBezTo>
                    <a:pt x="34193" y="98181"/>
                    <a:pt x="35483" y="98787"/>
                    <a:pt x="34193" y="98181"/>
                  </a:cubicBezTo>
                  <a:cubicBezTo>
                    <a:pt x="32258" y="97575"/>
                    <a:pt x="32258" y="97575"/>
                    <a:pt x="32258" y="97575"/>
                  </a:cubicBezTo>
                  <a:cubicBezTo>
                    <a:pt x="30967" y="96363"/>
                    <a:pt x="30967" y="96363"/>
                    <a:pt x="30967" y="96363"/>
                  </a:cubicBezTo>
                  <a:cubicBezTo>
                    <a:pt x="30322" y="96363"/>
                    <a:pt x="30322" y="96363"/>
                    <a:pt x="30322" y="96363"/>
                  </a:cubicBezTo>
                  <a:cubicBezTo>
                    <a:pt x="29677" y="96363"/>
                    <a:pt x="29677" y="96363"/>
                    <a:pt x="29677" y="96363"/>
                  </a:cubicBezTo>
                  <a:cubicBezTo>
                    <a:pt x="29677" y="96363"/>
                    <a:pt x="29032" y="95151"/>
                    <a:pt x="29032" y="95151"/>
                  </a:cubicBezTo>
                  <a:cubicBezTo>
                    <a:pt x="29032" y="95151"/>
                    <a:pt x="29032" y="93939"/>
                    <a:pt x="29032" y="93939"/>
                  </a:cubicBezTo>
                  <a:cubicBezTo>
                    <a:pt x="28387" y="93939"/>
                    <a:pt x="26451" y="93333"/>
                    <a:pt x="26451" y="93333"/>
                  </a:cubicBezTo>
                  <a:cubicBezTo>
                    <a:pt x="25806" y="92121"/>
                    <a:pt x="25806" y="92121"/>
                    <a:pt x="25806" y="92121"/>
                  </a:cubicBezTo>
                  <a:cubicBezTo>
                    <a:pt x="25806" y="92121"/>
                    <a:pt x="25806" y="92121"/>
                    <a:pt x="25806" y="92121"/>
                  </a:cubicBezTo>
                  <a:cubicBezTo>
                    <a:pt x="25161" y="92121"/>
                    <a:pt x="23870" y="91515"/>
                    <a:pt x="23870" y="91515"/>
                  </a:cubicBezTo>
                  <a:cubicBezTo>
                    <a:pt x="23225" y="90909"/>
                    <a:pt x="23225" y="90909"/>
                    <a:pt x="23225" y="90909"/>
                  </a:cubicBezTo>
                  <a:cubicBezTo>
                    <a:pt x="21290" y="90909"/>
                    <a:pt x="21290" y="90909"/>
                    <a:pt x="21290" y="90909"/>
                  </a:cubicBezTo>
                  <a:cubicBezTo>
                    <a:pt x="20645" y="89696"/>
                    <a:pt x="20645" y="89696"/>
                    <a:pt x="20645" y="89696"/>
                  </a:cubicBezTo>
                  <a:cubicBezTo>
                    <a:pt x="20645" y="89696"/>
                    <a:pt x="20000" y="89090"/>
                    <a:pt x="20000" y="89090"/>
                  </a:cubicBezTo>
                  <a:cubicBezTo>
                    <a:pt x="20645" y="89090"/>
                    <a:pt x="20645" y="87878"/>
                    <a:pt x="20645" y="87878"/>
                  </a:cubicBezTo>
                  <a:cubicBezTo>
                    <a:pt x="20000" y="87878"/>
                    <a:pt x="20000" y="87878"/>
                    <a:pt x="20000" y="87878"/>
                  </a:cubicBezTo>
                  <a:cubicBezTo>
                    <a:pt x="20645" y="87272"/>
                    <a:pt x="21935" y="87272"/>
                    <a:pt x="21935" y="87272"/>
                  </a:cubicBezTo>
                  <a:cubicBezTo>
                    <a:pt x="23225" y="85454"/>
                    <a:pt x="23225" y="85454"/>
                    <a:pt x="23225" y="85454"/>
                  </a:cubicBezTo>
                  <a:cubicBezTo>
                    <a:pt x="23225" y="85454"/>
                    <a:pt x="23225" y="85454"/>
                    <a:pt x="23870" y="85454"/>
                  </a:cubicBezTo>
                  <a:cubicBezTo>
                    <a:pt x="25161" y="86060"/>
                    <a:pt x="25806" y="86060"/>
                    <a:pt x="26451" y="86060"/>
                  </a:cubicBezTo>
                  <a:cubicBezTo>
                    <a:pt x="27096" y="86060"/>
                    <a:pt x="27741" y="87272"/>
                    <a:pt x="27741" y="84848"/>
                  </a:cubicBezTo>
                  <a:cubicBezTo>
                    <a:pt x="27741" y="83030"/>
                    <a:pt x="27741" y="82424"/>
                    <a:pt x="27741" y="82424"/>
                  </a:cubicBezTo>
                  <a:cubicBezTo>
                    <a:pt x="24516" y="80000"/>
                    <a:pt x="24516" y="80000"/>
                    <a:pt x="24516" y="80000"/>
                  </a:cubicBezTo>
                  <a:cubicBezTo>
                    <a:pt x="24516" y="80000"/>
                    <a:pt x="24516" y="79393"/>
                    <a:pt x="23870" y="78181"/>
                  </a:cubicBezTo>
                  <a:cubicBezTo>
                    <a:pt x="23225" y="77575"/>
                    <a:pt x="22580" y="76969"/>
                    <a:pt x="22580" y="76969"/>
                  </a:cubicBezTo>
                  <a:cubicBezTo>
                    <a:pt x="21935" y="76969"/>
                    <a:pt x="20645" y="75757"/>
                    <a:pt x="20645" y="75757"/>
                  </a:cubicBezTo>
                  <a:cubicBezTo>
                    <a:pt x="20000" y="75151"/>
                    <a:pt x="19354" y="74545"/>
                    <a:pt x="19354" y="74545"/>
                  </a:cubicBezTo>
                  <a:cubicBezTo>
                    <a:pt x="19354" y="74545"/>
                    <a:pt x="19354" y="73333"/>
                    <a:pt x="19354" y="72727"/>
                  </a:cubicBezTo>
                  <a:cubicBezTo>
                    <a:pt x="20000" y="72727"/>
                    <a:pt x="20000" y="72727"/>
                    <a:pt x="20645" y="72727"/>
                  </a:cubicBezTo>
                  <a:cubicBezTo>
                    <a:pt x="21290" y="73333"/>
                    <a:pt x="21935" y="73333"/>
                    <a:pt x="22580" y="73333"/>
                  </a:cubicBezTo>
                  <a:cubicBezTo>
                    <a:pt x="23225" y="73333"/>
                    <a:pt x="23870" y="73333"/>
                    <a:pt x="24516" y="73333"/>
                  </a:cubicBezTo>
                  <a:cubicBezTo>
                    <a:pt x="24516" y="73333"/>
                    <a:pt x="26451" y="72727"/>
                    <a:pt x="26451" y="72727"/>
                  </a:cubicBezTo>
                  <a:cubicBezTo>
                    <a:pt x="27096" y="72727"/>
                    <a:pt x="27096" y="71515"/>
                    <a:pt x="27741" y="71515"/>
                  </a:cubicBezTo>
                  <a:cubicBezTo>
                    <a:pt x="27741" y="71515"/>
                    <a:pt x="28387" y="70909"/>
                    <a:pt x="27741" y="70303"/>
                  </a:cubicBezTo>
                  <a:cubicBezTo>
                    <a:pt x="27741" y="70303"/>
                    <a:pt x="26451" y="69696"/>
                    <a:pt x="26451" y="69696"/>
                  </a:cubicBezTo>
                  <a:cubicBezTo>
                    <a:pt x="25806" y="69696"/>
                    <a:pt x="25161" y="69090"/>
                    <a:pt x="25161" y="68484"/>
                  </a:cubicBezTo>
                  <a:cubicBezTo>
                    <a:pt x="24516" y="68484"/>
                    <a:pt x="23870" y="67878"/>
                    <a:pt x="23870" y="67272"/>
                  </a:cubicBezTo>
                  <a:cubicBezTo>
                    <a:pt x="23225" y="67272"/>
                    <a:pt x="23225" y="67878"/>
                    <a:pt x="22580" y="67878"/>
                  </a:cubicBezTo>
                  <a:cubicBezTo>
                    <a:pt x="21935" y="67272"/>
                    <a:pt x="21290" y="66666"/>
                    <a:pt x="20645" y="66060"/>
                  </a:cubicBezTo>
                  <a:cubicBezTo>
                    <a:pt x="20645" y="65454"/>
                    <a:pt x="20645" y="65454"/>
                    <a:pt x="20000" y="64848"/>
                  </a:cubicBezTo>
                  <a:cubicBezTo>
                    <a:pt x="19354" y="64848"/>
                    <a:pt x="18709" y="64242"/>
                    <a:pt x="18064" y="64242"/>
                  </a:cubicBezTo>
                  <a:cubicBezTo>
                    <a:pt x="17419" y="64242"/>
                    <a:pt x="17419" y="64848"/>
                    <a:pt x="16129" y="64242"/>
                  </a:cubicBezTo>
                  <a:cubicBezTo>
                    <a:pt x="14838" y="64242"/>
                    <a:pt x="13548" y="63636"/>
                    <a:pt x="13548" y="63030"/>
                  </a:cubicBezTo>
                  <a:cubicBezTo>
                    <a:pt x="14193" y="62424"/>
                    <a:pt x="13548" y="62424"/>
                    <a:pt x="14193" y="61818"/>
                  </a:cubicBezTo>
                  <a:cubicBezTo>
                    <a:pt x="14193" y="61212"/>
                    <a:pt x="14193" y="59999"/>
                    <a:pt x="14193" y="59393"/>
                  </a:cubicBezTo>
                  <a:cubicBezTo>
                    <a:pt x="14193" y="58787"/>
                    <a:pt x="13548" y="59393"/>
                    <a:pt x="13548" y="57575"/>
                  </a:cubicBezTo>
                  <a:cubicBezTo>
                    <a:pt x="12903" y="55757"/>
                    <a:pt x="14193" y="56363"/>
                    <a:pt x="14193" y="56363"/>
                  </a:cubicBezTo>
                  <a:cubicBezTo>
                    <a:pt x="14193" y="56363"/>
                    <a:pt x="14838" y="55151"/>
                    <a:pt x="14838" y="54545"/>
                  </a:cubicBezTo>
                  <a:cubicBezTo>
                    <a:pt x="14838" y="54545"/>
                    <a:pt x="15483" y="52727"/>
                    <a:pt x="15483" y="52727"/>
                  </a:cubicBezTo>
                  <a:cubicBezTo>
                    <a:pt x="17419" y="50303"/>
                    <a:pt x="17419" y="50303"/>
                    <a:pt x="17419" y="50303"/>
                  </a:cubicBezTo>
                  <a:cubicBezTo>
                    <a:pt x="17419" y="48484"/>
                    <a:pt x="17419" y="48484"/>
                    <a:pt x="17419" y="48484"/>
                  </a:cubicBezTo>
                  <a:cubicBezTo>
                    <a:pt x="17419" y="46060"/>
                    <a:pt x="17419" y="46060"/>
                    <a:pt x="17419" y="46060"/>
                  </a:cubicBezTo>
                  <a:cubicBezTo>
                    <a:pt x="17419" y="44242"/>
                    <a:pt x="17419" y="44242"/>
                    <a:pt x="17419" y="44242"/>
                  </a:cubicBezTo>
                  <a:cubicBezTo>
                    <a:pt x="15483" y="43636"/>
                    <a:pt x="15483" y="43636"/>
                    <a:pt x="15483" y="43636"/>
                  </a:cubicBezTo>
                  <a:cubicBezTo>
                    <a:pt x="11612" y="43030"/>
                    <a:pt x="11612" y="43030"/>
                    <a:pt x="11612" y="43030"/>
                  </a:cubicBezTo>
                  <a:cubicBezTo>
                    <a:pt x="11612" y="43030"/>
                    <a:pt x="11612" y="44242"/>
                    <a:pt x="10967" y="44242"/>
                  </a:cubicBezTo>
                  <a:cubicBezTo>
                    <a:pt x="10967" y="44242"/>
                    <a:pt x="10322" y="44848"/>
                    <a:pt x="9677" y="44848"/>
                  </a:cubicBezTo>
                  <a:cubicBezTo>
                    <a:pt x="9032" y="44242"/>
                    <a:pt x="9032" y="44242"/>
                    <a:pt x="9032" y="44242"/>
                  </a:cubicBezTo>
                  <a:cubicBezTo>
                    <a:pt x="10322" y="43030"/>
                    <a:pt x="10322" y="43030"/>
                    <a:pt x="10322" y="43030"/>
                  </a:cubicBezTo>
                  <a:cubicBezTo>
                    <a:pt x="10322" y="40606"/>
                    <a:pt x="10322" y="40606"/>
                    <a:pt x="10322" y="40606"/>
                  </a:cubicBezTo>
                  <a:cubicBezTo>
                    <a:pt x="10322" y="40606"/>
                    <a:pt x="9677" y="39393"/>
                    <a:pt x="9032" y="38181"/>
                  </a:cubicBezTo>
                  <a:cubicBezTo>
                    <a:pt x="8387" y="37575"/>
                    <a:pt x="7741" y="36969"/>
                    <a:pt x="7741" y="36969"/>
                  </a:cubicBezTo>
                  <a:cubicBezTo>
                    <a:pt x="9677" y="35757"/>
                    <a:pt x="9677" y="35757"/>
                    <a:pt x="9677" y="35757"/>
                  </a:cubicBezTo>
                  <a:cubicBezTo>
                    <a:pt x="10322" y="35151"/>
                    <a:pt x="10322" y="35151"/>
                    <a:pt x="10322" y="35151"/>
                  </a:cubicBezTo>
                  <a:cubicBezTo>
                    <a:pt x="10322" y="34545"/>
                    <a:pt x="10322" y="34545"/>
                    <a:pt x="10322" y="34545"/>
                  </a:cubicBezTo>
                  <a:cubicBezTo>
                    <a:pt x="10322" y="34545"/>
                    <a:pt x="11612" y="35757"/>
                    <a:pt x="12903" y="35757"/>
                  </a:cubicBezTo>
                  <a:cubicBezTo>
                    <a:pt x="13548" y="35757"/>
                    <a:pt x="12903" y="35757"/>
                    <a:pt x="14193" y="35151"/>
                  </a:cubicBezTo>
                  <a:cubicBezTo>
                    <a:pt x="15483" y="35151"/>
                    <a:pt x="17419" y="33333"/>
                    <a:pt x="17419" y="33333"/>
                  </a:cubicBezTo>
                  <a:cubicBezTo>
                    <a:pt x="17419" y="33333"/>
                    <a:pt x="16129" y="32121"/>
                    <a:pt x="15483" y="32121"/>
                  </a:cubicBezTo>
                  <a:cubicBezTo>
                    <a:pt x="14838" y="32727"/>
                    <a:pt x="15483" y="32727"/>
                    <a:pt x="13548" y="32727"/>
                  </a:cubicBezTo>
                  <a:cubicBezTo>
                    <a:pt x="11612" y="32121"/>
                    <a:pt x="10967" y="31515"/>
                    <a:pt x="10967" y="31515"/>
                  </a:cubicBezTo>
                  <a:cubicBezTo>
                    <a:pt x="10967" y="31515"/>
                    <a:pt x="10322" y="31515"/>
                    <a:pt x="9677" y="31515"/>
                  </a:cubicBezTo>
                  <a:cubicBezTo>
                    <a:pt x="9032" y="31515"/>
                    <a:pt x="9032" y="31515"/>
                    <a:pt x="8387" y="30909"/>
                  </a:cubicBezTo>
                  <a:cubicBezTo>
                    <a:pt x="7096" y="29696"/>
                    <a:pt x="5806" y="28484"/>
                    <a:pt x="5806" y="28484"/>
                  </a:cubicBezTo>
                  <a:cubicBezTo>
                    <a:pt x="5806" y="28484"/>
                    <a:pt x="4516" y="29090"/>
                    <a:pt x="4516" y="28484"/>
                  </a:cubicBezTo>
                  <a:cubicBezTo>
                    <a:pt x="4516" y="27878"/>
                    <a:pt x="5161" y="27272"/>
                    <a:pt x="5161" y="27272"/>
                  </a:cubicBezTo>
                  <a:cubicBezTo>
                    <a:pt x="4516" y="26060"/>
                    <a:pt x="4516" y="26060"/>
                    <a:pt x="4516" y="26060"/>
                  </a:cubicBezTo>
                  <a:cubicBezTo>
                    <a:pt x="4516" y="26060"/>
                    <a:pt x="5806" y="26060"/>
                    <a:pt x="6451" y="25454"/>
                  </a:cubicBezTo>
                  <a:cubicBezTo>
                    <a:pt x="7096" y="25454"/>
                    <a:pt x="7096" y="23636"/>
                    <a:pt x="6451" y="23636"/>
                  </a:cubicBezTo>
                  <a:cubicBezTo>
                    <a:pt x="5806" y="23636"/>
                    <a:pt x="5161" y="23030"/>
                    <a:pt x="4516" y="23636"/>
                  </a:cubicBezTo>
                  <a:cubicBezTo>
                    <a:pt x="3870" y="23636"/>
                    <a:pt x="3225" y="24242"/>
                    <a:pt x="3225" y="24242"/>
                  </a:cubicBezTo>
                  <a:cubicBezTo>
                    <a:pt x="2580" y="24242"/>
                    <a:pt x="1290" y="23636"/>
                    <a:pt x="1290" y="23030"/>
                  </a:cubicBezTo>
                  <a:cubicBezTo>
                    <a:pt x="1290" y="22424"/>
                    <a:pt x="645" y="22424"/>
                    <a:pt x="1935" y="21818"/>
                  </a:cubicBezTo>
                  <a:cubicBezTo>
                    <a:pt x="2580" y="21818"/>
                    <a:pt x="3225" y="20606"/>
                    <a:pt x="3225" y="20606"/>
                  </a:cubicBezTo>
                  <a:cubicBezTo>
                    <a:pt x="1935" y="18787"/>
                    <a:pt x="1935" y="18787"/>
                    <a:pt x="1935" y="18787"/>
                  </a:cubicBezTo>
                  <a:cubicBezTo>
                    <a:pt x="2580" y="15151"/>
                    <a:pt x="2580" y="15151"/>
                    <a:pt x="2580" y="15151"/>
                  </a:cubicBezTo>
                  <a:cubicBezTo>
                    <a:pt x="0" y="14545"/>
                    <a:pt x="0" y="14545"/>
                    <a:pt x="0" y="14545"/>
                  </a:cubicBezTo>
                  <a:cubicBezTo>
                    <a:pt x="0" y="13333"/>
                    <a:pt x="0" y="13333"/>
                    <a:pt x="0" y="13333"/>
                  </a:cubicBezTo>
                  <a:cubicBezTo>
                    <a:pt x="2580" y="12121"/>
                    <a:pt x="2580" y="12121"/>
                    <a:pt x="2580" y="12121"/>
                  </a:cubicBezTo>
                  <a:cubicBezTo>
                    <a:pt x="5161" y="8484"/>
                    <a:pt x="5161" y="8484"/>
                    <a:pt x="5161" y="8484"/>
                  </a:cubicBezTo>
                  <a:cubicBezTo>
                    <a:pt x="5806" y="9090"/>
                    <a:pt x="5806" y="9090"/>
                    <a:pt x="5806" y="9090"/>
                  </a:cubicBezTo>
                  <a:cubicBezTo>
                    <a:pt x="5806" y="9090"/>
                    <a:pt x="6451" y="9090"/>
                    <a:pt x="7096" y="8484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3" name="Shape 2024"/>
            <p:cNvSpPr/>
            <p:nvPr/>
          </p:nvSpPr>
          <p:spPr>
            <a:xfrm>
              <a:off x="4681844" y="3129624"/>
              <a:ext cx="394695" cy="2407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502" y="82568"/>
                  </a:moveTo>
                  <a:cubicBezTo>
                    <a:pt x="22890" y="83669"/>
                    <a:pt x="22890" y="83669"/>
                    <a:pt x="22890" y="83669"/>
                  </a:cubicBezTo>
                  <a:cubicBezTo>
                    <a:pt x="22890" y="85871"/>
                    <a:pt x="22890" y="85871"/>
                    <a:pt x="22890" y="85871"/>
                  </a:cubicBezTo>
                  <a:cubicBezTo>
                    <a:pt x="22890" y="85871"/>
                    <a:pt x="22890" y="84770"/>
                    <a:pt x="22196" y="86972"/>
                  </a:cubicBezTo>
                  <a:cubicBezTo>
                    <a:pt x="21502" y="88073"/>
                    <a:pt x="21502" y="88073"/>
                    <a:pt x="21502" y="88073"/>
                  </a:cubicBezTo>
                  <a:cubicBezTo>
                    <a:pt x="22196" y="88073"/>
                    <a:pt x="22890" y="89174"/>
                    <a:pt x="22890" y="89174"/>
                  </a:cubicBezTo>
                  <a:cubicBezTo>
                    <a:pt x="22890" y="89174"/>
                    <a:pt x="23583" y="89174"/>
                    <a:pt x="22890" y="90275"/>
                  </a:cubicBezTo>
                  <a:cubicBezTo>
                    <a:pt x="22890" y="92477"/>
                    <a:pt x="22890" y="93577"/>
                    <a:pt x="22890" y="93577"/>
                  </a:cubicBezTo>
                  <a:cubicBezTo>
                    <a:pt x="22890" y="93577"/>
                    <a:pt x="22890" y="94678"/>
                    <a:pt x="22890" y="95779"/>
                  </a:cubicBezTo>
                  <a:cubicBezTo>
                    <a:pt x="22196" y="95779"/>
                    <a:pt x="21502" y="99082"/>
                    <a:pt x="21502" y="99082"/>
                  </a:cubicBezTo>
                  <a:cubicBezTo>
                    <a:pt x="21502" y="99082"/>
                    <a:pt x="21502" y="99082"/>
                    <a:pt x="21502" y="100183"/>
                  </a:cubicBezTo>
                  <a:cubicBezTo>
                    <a:pt x="22196" y="100183"/>
                    <a:pt x="24277" y="100183"/>
                    <a:pt x="24277" y="100183"/>
                  </a:cubicBezTo>
                  <a:cubicBezTo>
                    <a:pt x="24277" y="100183"/>
                    <a:pt x="24277" y="102385"/>
                    <a:pt x="24277" y="103486"/>
                  </a:cubicBezTo>
                  <a:cubicBezTo>
                    <a:pt x="23583" y="103486"/>
                    <a:pt x="22890" y="105688"/>
                    <a:pt x="23583" y="105688"/>
                  </a:cubicBezTo>
                  <a:cubicBezTo>
                    <a:pt x="24277" y="105688"/>
                    <a:pt x="24971" y="106788"/>
                    <a:pt x="24971" y="106788"/>
                  </a:cubicBezTo>
                  <a:cubicBezTo>
                    <a:pt x="24971" y="106788"/>
                    <a:pt x="25664" y="107889"/>
                    <a:pt x="25664" y="107889"/>
                  </a:cubicBezTo>
                  <a:cubicBezTo>
                    <a:pt x="26358" y="107889"/>
                    <a:pt x="27052" y="108990"/>
                    <a:pt x="27052" y="108990"/>
                  </a:cubicBezTo>
                  <a:cubicBezTo>
                    <a:pt x="27052" y="108990"/>
                    <a:pt x="28439" y="111192"/>
                    <a:pt x="28439" y="111192"/>
                  </a:cubicBezTo>
                  <a:cubicBezTo>
                    <a:pt x="28439" y="112293"/>
                    <a:pt x="27745" y="113394"/>
                    <a:pt x="27745" y="113394"/>
                  </a:cubicBezTo>
                  <a:cubicBezTo>
                    <a:pt x="27745" y="113394"/>
                    <a:pt x="29132" y="115596"/>
                    <a:pt x="29132" y="115596"/>
                  </a:cubicBezTo>
                  <a:cubicBezTo>
                    <a:pt x="29132" y="115596"/>
                    <a:pt x="29132" y="116697"/>
                    <a:pt x="29826" y="116697"/>
                  </a:cubicBezTo>
                  <a:cubicBezTo>
                    <a:pt x="30520" y="116697"/>
                    <a:pt x="31213" y="115596"/>
                    <a:pt x="31213" y="115596"/>
                  </a:cubicBezTo>
                  <a:cubicBezTo>
                    <a:pt x="31213" y="115596"/>
                    <a:pt x="32601" y="114495"/>
                    <a:pt x="32601" y="114495"/>
                  </a:cubicBezTo>
                  <a:cubicBezTo>
                    <a:pt x="32601" y="114495"/>
                    <a:pt x="33294" y="113394"/>
                    <a:pt x="33988" y="113394"/>
                  </a:cubicBezTo>
                  <a:cubicBezTo>
                    <a:pt x="34682" y="113394"/>
                    <a:pt x="35375" y="114495"/>
                    <a:pt x="36069" y="114495"/>
                  </a:cubicBezTo>
                  <a:cubicBezTo>
                    <a:pt x="36763" y="114495"/>
                    <a:pt x="38843" y="114495"/>
                    <a:pt x="38843" y="114495"/>
                  </a:cubicBezTo>
                  <a:cubicBezTo>
                    <a:pt x="38843" y="112293"/>
                    <a:pt x="38843" y="112293"/>
                    <a:pt x="38843" y="112293"/>
                  </a:cubicBezTo>
                  <a:cubicBezTo>
                    <a:pt x="38843" y="112293"/>
                    <a:pt x="38843" y="111192"/>
                    <a:pt x="39537" y="111192"/>
                  </a:cubicBezTo>
                  <a:cubicBezTo>
                    <a:pt x="40231" y="111192"/>
                    <a:pt x="40924" y="111192"/>
                    <a:pt x="40924" y="111192"/>
                  </a:cubicBezTo>
                  <a:cubicBezTo>
                    <a:pt x="40924" y="111192"/>
                    <a:pt x="40231" y="110091"/>
                    <a:pt x="40924" y="110091"/>
                  </a:cubicBezTo>
                  <a:cubicBezTo>
                    <a:pt x="40924" y="110091"/>
                    <a:pt x="42312" y="110091"/>
                    <a:pt x="43005" y="111192"/>
                  </a:cubicBezTo>
                  <a:cubicBezTo>
                    <a:pt x="43005" y="111192"/>
                    <a:pt x="44393" y="110091"/>
                    <a:pt x="44393" y="111192"/>
                  </a:cubicBezTo>
                  <a:cubicBezTo>
                    <a:pt x="44393" y="111192"/>
                    <a:pt x="45086" y="112293"/>
                    <a:pt x="45086" y="112293"/>
                  </a:cubicBezTo>
                  <a:cubicBezTo>
                    <a:pt x="45086" y="112293"/>
                    <a:pt x="45780" y="114495"/>
                    <a:pt x="45780" y="113394"/>
                  </a:cubicBezTo>
                  <a:cubicBezTo>
                    <a:pt x="46473" y="113394"/>
                    <a:pt x="46473" y="113394"/>
                    <a:pt x="47167" y="113394"/>
                  </a:cubicBezTo>
                  <a:cubicBezTo>
                    <a:pt x="47167" y="114495"/>
                    <a:pt x="48554" y="114495"/>
                    <a:pt x="49248" y="114495"/>
                  </a:cubicBezTo>
                  <a:cubicBezTo>
                    <a:pt x="49248" y="113394"/>
                    <a:pt x="49248" y="113394"/>
                    <a:pt x="49248" y="113394"/>
                  </a:cubicBezTo>
                  <a:cubicBezTo>
                    <a:pt x="49248" y="112293"/>
                    <a:pt x="48554" y="111192"/>
                    <a:pt x="49942" y="111192"/>
                  </a:cubicBezTo>
                  <a:cubicBezTo>
                    <a:pt x="50635" y="111192"/>
                    <a:pt x="50635" y="110091"/>
                    <a:pt x="51329" y="110091"/>
                  </a:cubicBezTo>
                  <a:cubicBezTo>
                    <a:pt x="52023" y="110091"/>
                    <a:pt x="52716" y="110091"/>
                    <a:pt x="52716" y="110091"/>
                  </a:cubicBezTo>
                  <a:cubicBezTo>
                    <a:pt x="52716" y="110091"/>
                    <a:pt x="52716" y="110091"/>
                    <a:pt x="53410" y="108990"/>
                  </a:cubicBezTo>
                  <a:cubicBezTo>
                    <a:pt x="54104" y="107889"/>
                    <a:pt x="54104" y="106788"/>
                    <a:pt x="54104" y="106788"/>
                  </a:cubicBezTo>
                  <a:cubicBezTo>
                    <a:pt x="54104" y="105688"/>
                    <a:pt x="54104" y="104587"/>
                    <a:pt x="54104" y="104587"/>
                  </a:cubicBezTo>
                  <a:cubicBezTo>
                    <a:pt x="54797" y="103486"/>
                    <a:pt x="54797" y="103486"/>
                    <a:pt x="54797" y="103486"/>
                  </a:cubicBezTo>
                  <a:cubicBezTo>
                    <a:pt x="55491" y="102385"/>
                    <a:pt x="55491" y="102385"/>
                    <a:pt x="55491" y="102385"/>
                  </a:cubicBezTo>
                  <a:cubicBezTo>
                    <a:pt x="55491" y="102385"/>
                    <a:pt x="55491" y="102385"/>
                    <a:pt x="56184" y="100183"/>
                  </a:cubicBezTo>
                  <a:cubicBezTo>
                    <a:pt x="56184" y="99082"/>
                    <a:pt x="56184" y="99082"/>
                    <a:pt x="56184" y="99082"/>
                  </a:cubicBezTo>
                  <a:cubicBezTo>
                    <a:pt x="56878" y="96880"/>
                    <a:pt x="56878" y="96880"/>
                    <a:pt x="56878" y="96880"/>
                  </a:cubicBezTo>
                  <a:cubicBezTo>
                    <a:pt x="56184" y="93577"/>
                    <a:pt x="56184" y="93577"/>
                    <a:pt x="56184" y="93577"/>
                  </a:cubicBezTo>
                  <a:cubicBezTo>
                    <a:pt x="55491" y="92477"/>
                    <a:pt x="55491" y="92477"/>
                    <a:pt x="55491" y="92477"/>
                  </a:cubicBezTo>
                  <a:cubicBezTo>
                    <a:pt x="56184" y="91376"/>
                    <a:pt x="56184" y="91376"/>
                    <a:pt x="56184" y="91376"/>
                  </a:cubicBezTo>
                  <a:cubicBezTo>
                    <a:pt x="56184" y="91376"/>
                    <a:pt x="56878" y="90275"/>
                    <a:pt x="57572" y="90275"/>
                  </a:cubicBezTo>
                  <a:cubicBezTo>
                    <a:pt x="58265" y="90275"/>
                    <a:pt x="58265" y="90275"/>
                    <a:pt x="58265" y="89174"/>
                  </a:cubicBezTo>
                  <a:cubicBezTo>
                    <a:pt x="58959" y="89174"/>
                    <a:pt x="60346" y="86972"/>
                    <a:pt x="60346" y="86972"/>
                  </a:cubicBezTo>
                  <a:cubicBezTo>
                    <a:pt x="60346" y="86972"/>
                    <a:pt x="60346" y="86972"/>
                    <a:pt x="61040" y="86972"/>
                  </a:cubicBezTo>
                  <a:cubicBezTo>
                    <a:pt x="61040" y="85871"/>
                    <a:pt x="61040" y="84770"/>
                    <a:pt x="61040" y="84770"/>
                  </a:cubicBezTo>
                  <a:cubicBezTo>
                    <a:pt x="61040" y="84770"/>
                    <a:pt x="61040" y="83669"/>
                    <a:pt x="61734" y="83669"/>
                  </a:cubicBezTo>
                  <a:cubicBezTo>
                    <a:pt x="62427" y="82568"/>
                    <a:pt x="65202" y="81467"/>
                    <a:pt x="65202" y="81467"/>
                  </a:cubicBezTo>
                  <a:cubicBezTo>
                    <a:pt x="65202" y="81467"/>
                    <a:pt x="64508" y="83669"/>
                    <a:pt x="64508" y="84770"/>
                  </a:cubicBezTo>
                  <a:cubicBezTo>
                    <a:pt x="64508" y="85871"/>
                    <a:pt x="65202" y="88073"/>
                    <a:pt x="65202" y="88073"/>
                  </a:cubicBezTo>
                  <a:cubicBezTo>
                    <a:pt x="65202" y="88073"/>
                    <a:pt x="64508" y="90275"/>
                    <a:pt x="64508" y="90275"/>
                  </a:cubicBezTo>
                  <a:cubicBezTo>
                    <a:pt x="64508" y="91376"/>
                    <a:pt x="64508" y="92477"/>
                    <a:pt x="64508" y="92477"/>
                  </a:cubicBezTo>
                  <a:cubicBezTo>
                    <a:pt x="65202" y="93577"/>
                    <a:pt x="65202" y="93577"/>
                    <a:pt x="65202" y="93577"/>
                  </a:cubicBezTo>
                  <a:cubicBezTo>
                    <a:pt x="65202" y="93577"/>
                    <a:pt x="65202" y="94678"/>
                    <a:pt x="65202" y="94678"/>
                  </a:cubicBezTo>
                  <a:cubicBezTo>
                    <a:pt x="65895" y="94678"/>
                    <a:pt x="66589" y="96880"/>
                    <a:pt x="66589" y="96880"/>
                  </a:cubicBezTo>
                  <a:cubicBezTo>
                    <a:pt x="67283" y="96880"/>
                    <a:pt x="67283" y="96880"/>
                    <a:pt x="67283" y="96880"/>
                  </a:cubicBezTo>
                  <a:cubicBezTo>
                    <a:pt x="67283" y="96880"/>
                    <a:pt x="67976" y="97981"/>
                    <a:pt x="67976" y="99082"/>
                  </a:cubicBezTo>
                  <a:cubicBezTo>
                    <a:pt x="67976" y="99082"/>
                    <a:pt x="68670" y="100183"/>
                    <a:pt x="69364" y="101284"/>
                  </a:cubicBezTo>
                  <a:cubicBezTo>
                    <a:pt x="69364" y="101284"/>
                    <a:pt x="70057" y="101284"/>
                    <a:pt x="70057" y="101284"/>
                  </a:cubicBezTo>
                  <a:cubicBezTo>
                    <a:pt x="70751" y="101284"/>
                    <a:pt x="71445" y="101284"/>
                    <a:pt x="71445" y="101284"/>
                  </a:cubicBezTo>
                  <a:cubicBezTo>
                    <a:pt x="71445" y="102385"/>
                    <a:pt x="72832" y="102385"/>
                    <a:pt x="73526" y="102385"/>
                  </a:cubicBezTo>
                  <a:cubicBezTo>
                    <a:pt x="73526" y="103486"/>
                    <a:pt x="74913" y="102385"/>
                    <a:pt x="74913" y="102385"/>
                  </a:cubicBezTo>
                  <a:cubicBezTo>
                    <a:pt x="75606" y="103486"/>
                    <a:pt x="75606" y="103486"/>
                    <a:pt x="75606" y="103486"/>
                  </a:cubicBezTo>
                  <a:cubicBezTo>
                    <a:pt x="76300" y="103486"/>
                    <a:pt x="76300" y="103486"/>
                    <a:pt x="76300" y="103486"/>
                  </a:cubicBezTo>
                  <a:cubicBezTo>
                    <a:pt x="76300" y="103486"/>
                    <a:pt x="76994" y="103486"/>
                    <a:pt x="76994" y="104587"/>
                  </a:cubicBezTo>
                  <a:cubicBezTo>
                    <a:pt x="76300" y="105688"/>
                    <a:pt x="76300" y="105688"/>
                    <a:pt x="76300" y="105688"/>
                  </a:cubicBezTo>
                  <a:cubicBezTo>
                    <a:pt x="76300" y="105688"/>
                    <a:pt x="76300" y="105688"/>
                    <a:pt x="76300" y="105688"/>
                  </a:cubicBezTo>
                  <a:cubicBezTo>
                    <a:pt x="75606" y="106788"/>
                    <a:pt x="74913" y="108990"/>
                    <a:pt x="74913" y="108990"/>
                  </a:cubicBezTo>
                  <a:cubicBezTo>
                    <a:pt x="76994" y="111192"/>
                    <a:pt x="76994" y="111192"/>
                    <a:pt x="76994" y="111192"/>
                  </a:cubicBezTo>
                  <a:cubicBezTo>
                    <a:pt x="76994" y="111192"/>
                    <a:pt x="77687" y="111192"/>
                    <a:pt x="77687" y="112293"/>
                  </a:cubicBezTo>
                  <a:cubicBezTo>
                    <a:pt x="78381" y="113394"/>
                    <a:pt x="78381" y="114495"/>
                    <a:pt x="78381" y="114495"/>
                  </a:cubicBezTo>
                  <a:cubicBezTo>
                    <a:pt x="78381" y="114495"/>
                    <a:pt x="78381" y="114495"/>
                    <a:pt x="78381" y="114495"/>
                  </a:cubicBezTo>
                  <a:cubicBezTo>
                    <a:pt x="78381" y="115596"/>
                    <a:pt x="78381" y="117798"/>
                    <a:pt x="78381" y="117798"/>
                  </a:cubicBezTo>
                  <a:cubicBezTo>
                    <a:pt x="78381" y="117798"/>
                    <a:pt x="76994" y="118899"/>
                    <a:pt x="78381" y="118899"/>
                  </a:cubicBezTo>
                  <a:cubicBezTo>
                    <a:pt x="79768" y="118899"/>
                    <a:pt x="79768" y="118899"/>
                    <a:pt x="79768" y="118899"/>
                  </a:cubicBezTo>
                  <a:cubicBezTo>
                    <a:pt x="80462" y="118899"/>
                    <a:pt x="81156" y="120000"/>
                    <a:pt x="81156" y="120000"/>
                  </a:cubicBezTo>
                  <a:cubicBezTo>
                    <a:pt x="81849" y="118899"/>
                    <a:pt x="81849" y="118899"/>
                    <a:pt x="81849" y="118899"/>
                  </a:cubicBezTo>
                  <a:cubicBezTo>
                    <a:pt x="81849" y="118899"/>
                    <a:pt x="81156" y="116697"/>
                    <a:pt x="82543" y="115596"/>
                  </a:cubicBezTo>
                  <a:cubicBezTo>
                    <a:pt x="83236" y="114495"/>
                    <a:pt x="83236" y="114495"/>
                    <a:pt x="83236" y="114495"/>
                  </a:cubicBezTo>
                  <a:cubicBezTo>
                    <a:pt x="83236" y="114495"/>
                    <a:pt x="81156" y="113394"/>
                    <a:pt x="81156" y="112293"/>
                  </a:cubicBezTo>
                  <a:cubicBezTo>
                    <a:pt x="81156" y="112293"/>
                    <a:pt x="80462" y="112293"/>
                    <a:pt x="81156" y="111192"/>
                  </a:cubicBezTo>
                  <a:cubicBezTo>
                    <a:pt x="81156" y="110091"/>
                    <a:pt x="80462" y="110091"/>
                    <a:pt x="81156" y="108990"/>
                  </a:cubicBezTo>
                  <a:cubicBezTo>
                    <a:pt x="81156" y="108990"/>
                    <a:pt x="81849" y="108990"/>
                    <a:pt x="81849" y="107889"/>
                  </a:cubicBezTo>
                  <a:cubicBezTo>
                    <a:pt x="81849" y="107889"/>
                    <a:pt x="81156" y="105688"/>
                    <a:pt x="81156" y="105688"/>
                  </a:cubicBezTo>
                  <a:cubicBezTo>
                    <a:pt x="82543" y="104587"/>
                    <a:pt x="82543" y="104587"/>
                    <a:pt x="82543" y="104587"/>
                  </a:cubicBezTo>
                  <a:cubicBezTo>
                    <a:pt x="82543" y="104587"/>
                    <a:pt x="82543" y="103486"/>
                    <a:pt x="82543" y="103486"/>
                  </a:cubicBezTo>
                  <a:cubicBezTo>
                    <a:pt x="82543" y="102385"/>
                    <a:pt x="82543" y="100183"/>
                    <a:pt x="82543" y="100183"/>
                  </a:cubicBezTo>
                  <a:cubicBezTo>
                    <a:pt x="83236" y="100183"/>
                    <a:pt x="83930" y="97981"/>
                    <a:pt x="83930" y="97981"/>
                  </a:cubicBezTo>
                  <a:cubicBezTo>
                    <a:pt x="83930" y="97981"/>
                    <a:pt x="85317" y="97981"/>
                    <a:pt x="85317" y="97981"/>
                  </a:cubicBezTo>
                  <a:cubicBezTo>
                    <a:pt x="85317" y="96880"/>
                    <a:pt x="86011" y="95779"/>
                    <a:pt x="86011" y="95779"/>
                  </a:cubicBezTo>
                  <a:cubicBezTo>
                    <a:pt x="86011" y="95779"/>
                    <a:pt x="86011" y="95779"/>
                    <a:pt x="86705" y="94678"/>
                  </a:cubicBezTo>
                  <a:cubicBezTo>
                    <a:pt x="86705" y="93577"/>
                    <a:pt x="86705" y="92477"/>
                    <a:pt x="86705" y="92477"/>
                  </a:cubicBezTo>
                  <a:cubicBezTo>
                    <a:pt x="86705" y="91376"/>
                    <a:pt x="87398" y="90275"/>
                    <a:pt x="87398" y="90275"/>
                  </a:cubicBezTo>
                  <a:cubicBezTo>
                    <a:pt x="87398" y="89174"/>
                    <a:pt x="87398" y="89174"/>
                    <a:pt x="87398" y="89174"/>
                  </a:cubicBezTo>
                  <a:cubicBezTo>
                    <a:pt x="87398" y="89174"/>
                    <a:pt x="87398" y="88073"/>
                    <a:pt x="87398" y="88073"/>
                  </a:cubicBezTo>
                  <a:cubicBezTo>
                    <a:pt x="87398" y="86972"/>
                    <a:pt x="87398" y="85871"/>
                    <a:pt x="87398" y="85871"/>
                  </a:cubicBezTo>
                  <a:cubicBezTo>
                    <a:pt x="87398" y="83669"/>
                    <a:pt x="87398" y="83669"/>
                    <a:pt x="87398" y="83669"/>
                  </a:cubicBezTo>
                  <a:cubicBezTo>
                    <a:pt x="86705" y="81467"/>
                    <a:pt x="86705" y="81467"/>
                    <a:pt x="86705" y="81467"/>
                  </a:cubicBezTo>
                  <a:cubicBezTo>
                    <a:pt x="86705" y="80366"/>
                    <a:pt x="86705" y="80366"/>
                    <a:pt x="86705" y="80366"/>
                  </a:cubicBezTo>
                  <a:cubicBezTo>
                    <a:pt x="88092" y="78165"/>
                    <a:pt x="88092" y="78165"/>
                    <a:pt x="88092" y="78165"/>
                  </a:cubicBezTo>
                  <a:cubicBezTo>
                    <a:pt x="88092" y="78165"/>
                    <a:pt x="88786" y="77064"/>
                    <a:pt x="88786" y="78165"/>
                  </a:cubicBezTo>
                  <a:cubicBezTo>
                    <a:pt x="89479" y="78165"/>
                    <a:pt x="90173" y="79266"/>
                    <a:pt x="90173" y="79266"/>
                  </a:cubicBezTo>
                  <a:cubicBezTo>
                    <a:pt x="90867" y="79266"/>
                    <a:pt x="90867" y="79266"/>
                    <a:pt x="90867" y="79266"/>
                  </a:cubicBezTo>
                  <a:cubicBezTo>
                    <a:pt x="92254" y="78165"/>
                    <a:pt x="92254" y="78165"/>
                    <a:pt x="92254" y="78165"/>
                  </a:cubicBezTo>
                  <a:cubicBezTo>
                    <a:pt x="92254" y="78165"/>
                    <a:pt x="92947" y="78165"/>
                    <a:pt x="92947" y="79266"/>
                  </a:cubicBezTo>
                  <a:cubicBezTo>
                    <a:pt x="92254" y="79266"/>
                    <a:pt x="91560" y="80366"/>
                    <a:pt x="92254" y="81467"/>
                  </a:cubicBezTo>
                  <a:cubicBezTo>
                    <a:pt x="92254" y="81467"/>
                    <a:pt x="92947" y="82568"/>
                    <a:pt x="92947" y="83669"/>
                  </a:cubicBezTo>
                  <a:cubicBezTo>
                    <a:pt x="92947" y="84770"/>
                    <a:pt x="92947" y="84770"/>
                    <a:pt x="92947" y="86972"/>
                  </a:cubicBezTo>
                  <a:cubicBezTo>
                    <a:pt x="92947" y="88073"/>
                    <a:pt x="94335" y="88073"/>
                    <a:pt x="94335" y="89174"/>
                  </a:cubicBezTo>
                  <a:cubicBezTo>
                    <a:pt x="95028" y="89174"/>
                    <a:pt x="93641" y="90275"/>
                    <a:pt x="95722" y="90275"/>
                  </a:cubicBezTo>
                  <a:cubicBezTo>
                    <a:pt x="97109" y="90275"/>
                    <a:pt x="98497" y="91376"/>
                    <a:pt x="98497" y="90275"/>
                  </a:cubicBezTo>
                  <a:cubicBezTo>
                    <a:pt x="99190" y="90275"/>
                    <a:pt x="99190" y="90275"/>
                    <a:pt x="99190" y="89174"/>
                  </a:cubicBezTo>
                  <a:cubicBezTo>
                    <a:pt x="98497" y="88073"/>
                    <a:pt x="99190" y="86972"/>
                    <a:pt x="99190" y="86972"/>
                  </a:cubicBezTo>
                  <a:cubicBezTo>
                    <a:pt x="99190" y="86972"/>
                    <a:pt x="99884" y="86972"/>
                    <a:pt x="99884" y="86972"/>
                  </a:cubicBezTo>
                  <a:cubicBezTo>
                    <a:pt x="100578" y="86972"/>
                    <a:pt x="100578" y="88073"/>
                    <a:pt x="101271" y="86972"/>
                  </a:cubicBezTo>
                  <a:cubicBezTo>
                    <a:pt x="101271" y="86972"/>
                    <a:pt x="101965" y="85871"/>
                    <a:pt x="101965" y="85871"/>
                  </a:cubicBezTo>
                  <a:cubicBezTo>
                    <a:pt x="103352" y="85871"/>
                    <a:pt x="103352" y="85871"/>
                    <a:pt x="103352" y="85871"/>
                  </a:cubicBezTo>
                  <a:cubicBezTo>
                    <a:pt x="103352" y="85871"/>
                    <a:pt x="102658" y="84770"/>
                    <a:pt x="104046" y="84770"/>
                  </a:cubicBezTo>
                  <a:cubicBezTo>
                    <a:pt x="104739" y="84770"/>
                    <a:pt x="106127" y="84770"/>
                    <a:pt x="106127" y="84770"/>
                  </a:cubicBezTo>
                  <a:cubicBezTo>
                    <a:pt x="106127" y="84770"/>
                    <a:pt x="106127" y="85871"/>
                    <a:pt x="106127" y="86972"/>
                  </a:cubicBezTo>
                  <a:cubicBezTo>
                    <a:pt x="106820" y="88073"/>
                    <a:pt x="106820" y="88073"/>
                    <a:pt x="106820" y="88073"/>
                  </a:cubicBezTo>
                  <a:cubicBezTo>
                    <a:pt x="106820" y="88073"/>
                    <a:pt x="106127" y="88073"/>
                    <a:pt x="106820" y="90275"/>
                  </a:cubicBezTo>
                  <a:cubicBezTo>
                    <a:pt x="107514" y="91376"/>
                    <a:pt x="108208" y="91376"/>
                    <a:pt x="108208" y="92477"/>
                  </a:cubicBezTo>
                  <a:cubicBezTo>
                    <a:pt x="108901" y="92477"/>
                    <a:pt x="108208" y="94678"/>
                    <a:pt x="108208" y="94678"/>
                  </a:cubicBezTo>
                  <a:cubicBezTo>
                    <a:pt x="108208" y="94678"/>
                    <a:pt x="109595" y="94678"/>
                    <a:pt x="109595" y="94678"/>
                  </a:cubicBezTo>
                  <a:cubicBezTo>
                    <a:pt x="109595" y="93577"/>
                    <a:pt x="109595" y="93577"/>
                    <a:pt x="110289" y="93577"/>
                  </a:cubicBezTo>
                  <a:cubicBezTo>
                    <a:pt x="110289" y="93577"/>
                    <a:pt x="110289" y="93577"/>
                    <a:pt x="110289" y="93577"/>
                  </a:cubicBezTo>
                  <a:cubicBezTo>
                    <a:pt x="110289" y="93577"/>
                    <a:pt x="110982" y="92477"/>
                    <a:pt x="110982" y="91376"/>
                  </a:cubicBezTo>
                  <a:cubicBezTo>
                    <a:pt x="110982" y="91376"/>
                    <a:pt x="110982" y="88073"/>
                    <a:pt x="110289" y="88073"/>
                  </a:cubicBezTo>
                  <a:cubicBezTo>
                    <a:pt x="110289" y="88073"/>
                    <a:pt x="109595" y="88073"/>
                    <a:pt x="109595" y="86972"/>
                  </a:cubicBezTo>
                  <a:cubicBezTo>
                    <a:pt x="108901" y="85871"/>
                    <a:pt x="108901" y="85871"/>
                    <a:pt x="109595" y="85871"/>
                  </a:cubicBezTo>
                  <a:cubicBezTo>
                    <a:pt x="109595" y="85871"/>
                    <a:pt x="110289" y="84770"/>
                    <a:pt x="110289" y="84770"/>
                  </a:cubicBezTo>
                  <a:cubicBezTo>
                    <a:pt x="110289" y="84770"/>
                    <a:pt x="110982" y="83669"/>
                    <a:pt x="110289" y="83669"/>
                  </a:cubicBezTo>
                  <a:cubicBezTo>
                    <a:pt x="110289" y="82568"/>
                    <a:pt x="109595" y="81467"/>
                    <a:pt x="109595" y="81467"/>
                  </a:cubicBezTo>
                  <a:cubicBezTo>
                    <a:pt x="109595" y="81467"/>
                    <a:pt x="108901" y="82568"/>
                    <a:pt x="108208" y="81467"/>
                  </a:cubicBezTo>
                  <a:cubicBezTo>
                    <a:pt x="108208" y="81467"/>
                    <a:pt x="108208" y="81467"/>
                    <a:pt x="108208" y="80366"/>
                  </a:cubicBezTo>
                  <a:cubicBezTo>
                    <a:pt x="108208" y="80366"/>
                    <a:pt x="108208" y="78165"/>
                    <a:pt x="108208" y="78165"/>
                  </a:cubicBezTo>
                  <a:cubicBezTo>
                    <a:pt x="107514" y="78165"/>
                    <a:pt x="107514" y="78165"/>
                    <a:pt x="107514" y="78165"/>
                  </a:cubicBezTo>
                  <a:cubicBezTo>
                    <a:pt x="108208" y="75963"/>
                    <a:pt x="108208" y="75963"/>
                    <a:pt x="108208" y="75963"/>
                  </a:cubicBezTo>
                  <a:cubicBezTo>
                    <a:pt x="108208" y="74862"/>
                    <a:pt x="108208" y="74862"/>
                    <a:pt x="108208" y="74862"/>
                  </a:cubicBezTo>
                  <a:cubicBezTo>
                    <a:pt x="108208" y="74862"/>
                    <a:pt x="108208" y="73761"/>
                    <a:pt x="108901" y="73761"/>
                  </a:cubicBezTo>
                  <a:cubicBezTo>
                    <a:pt x="108901" y="72660"/>
                    <a:pt x="108901" y="72660"/>
                    <a:pt x="108901" y="71559"/>
                  </a:cubicBezTo>
                  <a:cubicBezTo>
                    <a:pt x="109595" y="71559"/>
                    <a:pt x="109595" y="70458"/>
                    <a:pt x="109595" y="70458"/>
                  </a:cubicBezTo>
                  <a:cubicBezTo>
                    <a:pt x="110289" y="70458"/>
                    <a:pt x="110982" y="70458"/>
                    <a:pt x="111676" y="70458"/>
                  </a:cubicBezTo>
                  <a:cubicBezTo>
                    <a:pt x="111676" y="70458"/>
                    <a:pt x="111676" y="69357"/>
                    <a:pt x="112369" y="69357"/>
                  </a:cubicBezTo>
                  <a:cubicBezTo>
                    <a:pt x="112369" y="69357"/>
                    <a:pt x="113063" y="70458"/>
                    <a:pt x="113063" y="70458"/>
                  </a:cubicBezTo>
                  <a:cubicBezTo>
                    <a:pt x="113063" y="70458"/>
                    <a:pt x="113063" y="70458"/>
                    <a:pt x="113063" y="71559"/>
                  </a:cubicBezTo>
                  <a:cubicBezTo>
                    <a:pt x="113063" y="71559"/>
                    <a:pt x="115144" y="73761"/>
                    <a:pt x="115144" y="73761"/>
                  </a:cubicBezTo>
                  <a:cubicBezTo>
                    <a:pt x="115144" y="73761"/>
                    <a:pt x="115144" y="73761"/>
                    <a:pt x="115838" y="73761"/>
                  </a:cubicBezTo>
                  <a:cubicBezTo>
                    <a:pt x="115838" y="73761"/>
                    <a:pt x="115144" y="73761"/>
                    <a:pt x="115838" y="73761"/>
                  </a:cubicBezTo>
                  <a:cubicBezTo>
                    <a:pt x="115838" y="74862"/>
                    <a:pt x="117919" y="73761"/>
                    <a:pt x="117919" y="73761"/>
                  </a:cubicBezTo>
                  <a:cubicBezTo>
                    <a:pt x="118612" y="73761"/>
                    <a:pt x="118612" y="73761"/>
                    <a:pt x="118612" y="73761"/>
                  </a:cubicBezTo>
                  <a:cubicBezTo>
                    <a:pt x="118612" y="73761"/>
                    <a:pt x="118612" y="73761"/>
                    <a:pt x="118612" y="72660"/>
                  </a:cubicBezTo>
                  <a:cubicBezTo>
                    <a:pt x="119306" y="72660"/>
                    <a:pt x="119306" y="71559"/>
                    <a:pt x="119306" y="70458"/>
                  </a:cubicBezTo>
                  <a:cubicBezTo>
                    <a:pt x="119306" y="70458"/>
                    <a:pt x="120000" y="70458"/>
                    <a:pt x="119306" y="69357"/>
                  </a:cubicBezTo>
                  <a:cubicBezTo>
                    <a:pt x="117919" y="68256"/>
                    <a:pt x="117225" y="68256"/>
                    <a:pt x="117225" y="68256"/>
                  </a:cubicBezTo>
                  <a:cubicBezTo>
                    <a:pt x="117225" y="68256"/>
                    <a:pt x="115838" y="66055"/>
                    <a:pt x="116531" y="66055"/>
                  </a:cubicBezTo>
                  <a:cubicBezTo>
                    <a:pt x="117225" y="64954"/>
                    <a:pt x="117919" y="63853"/>
                    <a:pt x="117919" y="63853"/>
                  </a:cubicBezTo>
                  <a:cubicBezTo>
                    <a:pt x="117225" y="61651"/>
                    <a:pt x="117225" y="61651"/>
                    <a:pt x="117225" y="61651"/>
                  </a:cubicBezTo>
                  <a:cubicBezTo>
                    <a:pt x="117919" y="60550"/>
                    <a:pt x="117919" y="60550"/>
                    <a:pt x="117919" y="60550"/>
                  </a:cubicBezTo>
                  <a:cubicBezTo>
                    <a:pt x="117225" y="58348"/>
                    <a:pt x="117225" y="58348"/>
                    <a:pt x="117225" y="58348"/>
                  </a:cubicBezTo>
                  <a:cubicBezTo>
                    <a:pt x="117225" y="58348"/>
                    <a:pt x="117919" y="57247"/>
                    <a:pt x="117919" y="57247"/>
                  </a:cubicBezTo>
                  <a:cubicBezTo>
                    <a:pt x="117919" y="56146"/>
                    <a:pt x="118612" y="52844"/>
                    <a:pt x="118612" y="52844"/>
                  </a:cubicBezTo>
                  <a:cubicBezTo>
                    <a:pt x="118612" y="52844"/>
                    <a:pt x="118612" y="51743"/>
                    <a:pt x="118612" y="50642"/>
                  </a:cubicBezTo>
                  <a:cubicBezTo>
                    <a:pt x="118612" y="50642"/>
                    <a:pt x="117919" y="49541"/>
                    <a:pt x="117919" y="49541"/>
                  </a:cubicBezTo>
                  <a:cubicBezTo>
                    <a:pt x="117225" y="48440"/>
                    <a:pt x="117225" y="48440"/>
                    <a:pt x="117225" y="48440"/>
                  </a:cubicBezTo>
                  <a:cubicBezTo>
                    <a:pt x="117225" y="48440"/>
                    <a:pt x="116531" y="46238"/>
                    <a:pt x="116531" y="46238"/>
                  </a:cubicBezTo>
                  <a:cubicBezTo>
                    <a:pt x="115838" y="47339"/>
                    <a:pt x="115144" y="47339"/>
                    <a:pt x="115144" y="47339"/>
                  </a:cubicBezTo>
                  <a:cubicBezTo>
                    <a:pt x="115144" y="47339"/>
                    <a:pt x="115144" y="49541"/>
                    <a:pt x="115144" y="49541"/>
                  </a:cubicBezTo>
                  <a:cubicBezTo>
                    <a:pt x="114450" y="50642"/>
                    <a:pt x="113757" y="50642"/>
                    <a:pt x="113757" y="50642"/>
                  </a:cubicBezTo>
                  <a:cubicBezTo>
                    <a:pt x="113757" y="50642"/>
                    <a:pt x="113757" y="50642"/>
                    <a:pt x="113757" y="50642"/>
                  </a:cubicBezTo>
                  <a:cubicBezTo>
                    <a:pt x="113063" y="50642"/>
                    <a:pt x="113063" y="50642"/>
                    <a:pt x="113063" y="50642"/>
                  </a:cubicBezTo>
                  <a:cubicBezTo>
                    <a:pt x="112369" y="52844"/>
                    <a:pt x="112369" y="52844"/>
                    <a:pt x="112369" y="52844"/>
                  </a:cubicBezTo>
                  <a:cubicBezTo>
                    <a:pt x="111676" y="53944"/>
                    <a:pt x="111676" y="53944"/>
                    <a:pt x="111676" y="53944"/>
                  </a:cubicBezTo>
                  <a:cubicBezTo>
                    <a:pt x="111676" y="53944"/>
                    <a:pt x="110289" y="55045"/>
                    <a:pt x="109595" y="55045"/>
                  </a:cubicBezTo>
                  <a:cubicBezTo>
                    <a:pt x="109595" y="55045"/>
                    <a:pt x="108208" y="55045"/>
                    <a:pt x="108208" y="55045"/>
                  </a:cubicBezTo>
                  <a:cubicBezTo>
                    <a:pt x="107514" y="53944"/>
                    <a:pt x="107514" y="53944"/>
                    <a:pt x="107514" y="53944"/>
                  </a:cubicBezTo>
                  <a:cubicBezTo>
                    <a:pt x="105433" y="52844"/>
                    <a:pt x="105433" y="52844"/>
                    <a:pt x="105433" y="52844"/>
                  </a:cubicBezTo>
                  <a:cubicBezTo>
                    <a:pt x="105433" y="52844"/>
                    <a:pt x="105433" y="52844"/>
                    <a:pt x="105433" y="52844"/>
                  </a:cubicBezTo>
                  <a:cubicBezTo>
                    <a:pt x="104046" y="51743"/>
                    <a:pt x="104046" y="51743"/>
                    <a:pt x="104046" y="51743"/>
                  </a:cubicBezTo>
                  <a:cubicBezTo>
                    <a:pt x="103352" y="50642"/>
                    <a:pt x="103352" y="50642"/>
                    <a:pt x="103352" y="50642"/>
                  </a:cubicBezTo>
                  <a:cubicBezTo>
                    <a:pt x="103352" y="48440"/>
                    <a:pt x="103352" y="48440"/>
                    <a:pt x="103352" y="48440"/>
                  </a:cubicBezTo>
                  <a:cubicBezTo>
                    <a:pt x="101965" y="46238"/>
                    <a:pt x="101965" y="46238"/>
                    <a:pt x="101965" y="46238"/>
                  </a:cubicBezTo>
                  <a:cubicBezTo>
                    <a:pt x="99190" y="45137"/>
                    <a:pt x="99190" y="45137"/>
                    <a:pt x="99190" y="45137"/>
                  </a:cubicBezTo>
                  <a:cubicBezTo>
                    <a:pt x="97109" y="44036"/>
                    <a:pt x="97109" y="44036"/>
                    <a:pt x="97109" y="44036"/>
                  </a:cubicBezTo>
                  <a:cubicBezTo>
                    <a:pt x="95722" y="44036"/>
                    <a:pt x="95722" y="44036"/>
                    <a:pt x="95722" y="44036"/>
                  </a:cubicBezTo>
                  <a:cubicBezTo>
                    <a:pt x="95722" y="44036"/>
                    <a:pt x="92947" y="44036"/>
                    <a:pt x="92947" y="44036"/>
                  </a:cubicBezTo>
                  <a:cubicBezTo>
                    <a:pt x="92947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1560" y="44036"/>
                    <a:pt x="91560" y="44036"/>
                    <a:pt x="91560" y="44036"/>
                  </a:cubicBezTo>
                  <a:cubicBezTo>
                    <a:pt x="92254" y="41834"/>
                    <a:pt x="92254" y="41834"/>
                    <a:pt x="92254" y="41834"/>
                  </a:cubicBezTo>
                  <a:cubicBezTo>
                    <a:pt x="92947" y="41834"/>
                    <a:pt x="92947" y="41834"/>
                    <a:pt x="92947" y="41834"/>
                  </a:cubicBezTo>
                  <a:cubicBezTo>
                    <a:pt x="92947" y="40733"/>
                    <a:pt x="92947" y="40733"/>
                    <a:pt x="92947" y="40733"/>
                  </a:cubicBezTo>
                  <a:cubicBezTo>
                    <a:pt x="92947" y="40733"/>
                    <a:pt x="92254" y="39633"/>
                    <a:pt x="92254" y="39633"/>
                  </a:cubicBezTo>
                  <a:cubicBezTo>
                    <a:pt x="92254" y="39633"/>
                    <a:pt x="92254" y="38532"/>
                    <a:pt x="92254" y="38532"/>
                  </a:cubicBezTo>
                  <a:cubicBezTo>
                    <a:pt x="92254" y="38532"/>
                    <a:pt x="92254" y="38532"/>
                    <a:pt x="92254" y="38532"/>
                  </a:cubicBezTo>
                  <a:cubicBezTo>
                    <a:pt x="92254" y="38532"/>
                    <a:pt x="92254" y="37431"/>
                    <a:pt x="92254" y="37431"/>
                  </a:cubicBezTo>
                  <a:cubicBezTo>
                    <a:pt x="92254" y="37431"/>
                    <a:pt x="92254" y="37431"/>
                    <a:pt x="92254" y="37431"/>
                  </a:cubicBezTo>
                  <a:cubicBezTo>
                    <a:pt x="92254" y="36330"/>
                    <a:pt x="92254" y="36330"/>
                    <a:pt x="92254" y="36330"/>
                  </a:cubicBezTo>
                  <a:cubicBezTo>
                    <a:pt x="92947" y="33027"/>
                    <a:pt x="92947" y="33027"/>
                    <a:pt x="92947" y="33027"/>
                  </a:cubicBezTo>
                  <a:cubicBezTo>
                    <a:pt x="94335" y="30825"/>
                    <a:pt x="94335" y="30825"/>
                    <a:pt x="94335" y="30825"/>
                  </a:cubicBezTo>
                  <a:cubicBezTo>
                    <a:pt x="94335" y="30825"/>
                    <a:pt x="94335" y="28623"/>
                    <a:pt x="95028" y="28623"/>
                  </a:cubicBezTo>
                  <a:cubicBezTo>
                    <a:pt x="95028" y="27522"/>
                    <a:pt x="95028" y="26422"/>
                    <a:pt x="95028" y="26422"/>
                  </a:cubicBezTo>
                  <a:cubicBezTo>
                    <a:pt x="96416" y="25321"/>
                    <a:pt x="96416" y="25321"/>
                    <a:pt x="96416" y="25321"/>
                  </a:cubicBezTo>
                  <a:cubicBezTo>
                    <a:pt x="96416" y="25321"/>
                    <a:pt x="97109" y="24220"/>
                    <a:pt x="97109" y="24220"/>
                  </a:cubicBezTo>
                  <a:cubicBezTo>
                    <a:pt x="97109" y="23119"/>
                    <a:pt x="96416" y="22018"/>
                    <a:pt x="96416" y="22018"/>
                  </a:cubicBezTo>
                  <a:cubicBezTo>
                    <a:pt x="96416" y="20917"/>
                    <a:pt x="97109" y="19816"/>
                    <a:pt x="97109" y="19816"/>
                  </a:cubicBezTo>
                  <a:cubicBezTo>
                    <a:pt x="96416" y="19816"/>
                    <a:pt x="96416" y="18715"/>
                    <a:pt x="95722" y="18715"/>
                  </a:cubicBezTo>
                  <a:cubicBezTo>
                    <a:pt x="95722" y="18715"/>
                    <a:pt x="95028" y="18715"/>
                    <a:pt x="95028" y="17614"/>
                  </a:cubicBezTo>
                  <a:cubicBezTo>
                    <a:pt x="95028" y="17614"/>
                    <a:pt x="94335" y="16513"/>
                    <a:pt x="94335" y="16513"/>
                  </a:cubicBezTo>
                  <a:cubicBezTo>
                    <a:pt x="94335" y="16513"/>
                    <a:pt x="94335" y="14311"/>
                    <a:pt x="93641" y="14311"/>
                  </a:cubicBezTo>
                  <a:cubicBezTo>
                    <a:pt x="93641" y="14311"/>
                    <a:pt x="92947" y="14311"/>
                    <a:pt x="92254" y="13211"/>
                  </a:cubicBezTo>
                  <a:cubicBezTo>
                    <a:pt x="91560" y="13211"/>
                    <a:pt x="90867" y="12110"/>
                    <a:pt x="90867" y="12110"/>
                  </a:cubicBezTo>
                  <a:cubicBezTo>
                    <a:pt x="90173" y="12110"/>
                    <a:pt x="88786" y="9908"/>
                    <a:pt x="88786" y="9908"/>
                  </a:cubicBezTo>
                  <a:cubicBezTo>
                    <a:pt x="88786" y="9908"/>
                    <a:pt x="88786" y="9908"/>
                    <a:pt x="88092" y="9908"/>
                  </a:cubicBezTo>
                  <a:cubicBezTo>
                    <a:pt x="88092" y="9908"/>
                    <a:pt x="87398" y="8807"/>
                    <a:pt x="87398" y="8807"/>
                  </a:cubicBezTo>
                  <a:cubicBezTo>
                    <a:pt x="86705" y="8807"/>
                    <a:pt x="86705" y="8807"/>
                    <a:pt x="86705" y="8807"/>
                  </a:cubicBezTo>
                  <a:cubicBezTo>
                    <a:pt x="86705" y="8807"/>
                    <a:pt x="86705" y="8807"/>
                    <a:pt x="86705" y="8807"/>
                  </a:cubicBezTo>
                  <a:cubicBezTo>
                    <a:pt x="86011" y="8807"/>
                    <a:pt x="86011" y="8807"/>
                    <a:pt x="85317" y="7706"/>
                  </a:cubicBezTo>
                  <a:cubicBezTo>
                    <a:pt x="83930" y="7706"/>
                    <a:pt x="84624" y="7706"/>
                    <a:pt x="83236" y="7706"/>
                  </a:cubicBezTo>
                  <a:cubicBezTo>
                    <a:pt x="82543" y="7706"/>
                    <a:pt x="81849" y="7706"/>
                    <a:pt x="81849" y="7706"/>
                  </a:cubicBezTo>
                  <a:cubicBezTo>
                    <a:pt x="81849" y="7706"/>
                    <a:pt x="81156" y="6605"/>
                    <a:pt x="79768" y="6605"/>
                  </a:cubicBezTo>
                  <a:cubicBezTo>
                    <a:pt x="79075" y="7706"/>
                    <a:pt x="77687" y="8807"/>
                    <a:pt x="76994" y="8807"/>
                  </a:cubicBezTo>
                  <a:cubicBezTo>
                    <a:pt x="76994" y="8807"/>
                    <a:pt x="76300" y="7706"/>
                    <a:pt x="76300" y="7706"/>
                  </a:cubicBezTo>
                  <a:cubicBezTo>
                    <a:pt x="76300" y="7706"/>
                    <a:pt x="76300" y="6605"/>
                    <a:pt x="76300" y="6605"/>
                  </a:cubicBezTo>
                  <a:cubicBezTo>
                    <a:pt x="76300" y="6605"/>
                    <a:pt x="75606" y="5504"/>
                    <a:pt x="74913" y="4403"/>
                  </a:cubicBezTo>
                  <a:cubicBezTo>
                    <a:pt x="74913" y="4403"/>
                    <a:pt x="74219" y="4403"/>
                    <a:pt x="74219" y="4403"/>
                  </a:cubicBezTo>
                  <a:cubicBezTo>
                    <a:pt x="74219" y="4403"/>
                    <a:pt x="74219" y="4403"/>
                    <a:pt x="74219" y="5504"/>
                  </a:cubicBezTo>
                  <a:cubicBezTo>
                    <a:pt x="74219" y="6605"/>
                    <a:pt x="75606" y="6605"/>
                    <a:pt x="74219" y="6605"/>
                  </a:cubicBezTo>
                  <a:cubicBezTo>
                    <a:pt x="73526" y="5504"/>
                    <a:pt x="72832" y="5504"/>
                    <a:pt x="72832" y="5504"/>
                  </a:cubicBezTo>
                  <a:cubicBezTo>
                    <a:pt x="70751" y="6605"/>
                    <a:pt x="70751" y="6605"/>
                    <a:pt x="70751" y="6605"/>
                  </a:cubicBezTo>
                  <a:cubicBezTo>
                    <a:pt x="71445" y="5504"/>
                    <a:pt x="71445" y="5504"/>
                    <a:pt x="71445" y="5504"/>
                  </a:cubicBezTo>
                  <a:cubicBezTo>
                    <a:pt x="71445" y="5504"/>
                    <a:pt x="72138" y="5504"/>
                    <a:pt x="72138" y="5504"/>
                  </a:cubicBezTo>
                  <a:cubicBezTo>
                    <a:pt x="72138" y="4403"/>
                    <a:pt x="72138" y="4403"/>
                    <a:pt x="72138" y="4403"/>
                  </a:cubicBezTo>
                  <a:cubicBezTo>
                    <a:pt x="72138" y="4403"/>
                    <a:pt x="72138" y="3302"/>
                    <a:pt x="72138" y="3302"/>
                  </a:cubicBezTo>
                  <a:cubicBezTo>
                    <a:pt x="72832" y="3302"/>
                    <a:pt x="73526" y="2201"/>
                    <a:pt x="72832" y="2201"/>
                  </a:cubicBezTo>
                  <a:cubicBezTo>
                    <a:pt x="72138" y="2201"/>
                    <a:pt x="71445" y="2201"/>
                    <a:pt x="71445" y="2201"/>
                  </a:cubicBezTo>
                  <a:cubicBezTo>
                    <a:pt x="71445" y="1100"/>
                    <a:pt x="71445" y="1100"/>
                    <a:pt x="71445" y="1100"/>
                  </a:cubicBezTo>
                  <a:cubicBezTo>
                    <a:pt x="71445" y="1100"/>
                    <a:pt x="70751" y="0"/>
                    <a:pt x="70751" y="0"/>
                  </a:cubicBezTo>
                  <a:cubicBezTo>
                    <a:pt x="70751" y="1100"/>
                    <a:pt x="70751" y="2201"/>
                    <a:pt x="70751" y="2201"/>
                  </a:cubicBezTo>
                  <a:cubicBezTo>
                    <a:pt x="70057" y="2201"/>
                    <a:pt x="70057" y="2201"/>
                    <a:pt x="70057" y="1100"/>
                  </a:cubicBezTo>
                  <a:cubicBezTo>
                    <a:pt x="70057" y="0"/>
                    <a:pt x="70057" y="0"/>
                    <a:pt x="70057" y="0"/>
                  </a:cubicBezTo>
                  <a:cubicBezTo>
                    <a:pt x="69364" y="0"/>
                    <a:pt x="68670" y="0"/>
                    <a:pt x="68670" y="0"/>
                  </a:cubicBezTo>
                  <a:cubicBezTo>
                    <a:pt x="68670" y="0"/>
                    <a:pt x="69364" y="1100"/>
                    <a:pt x="67976" y="1100"/>
                  </a:cubicBezTo>
                  <a:cubicBezTo>
                    <a:pt x="67283" y="1100"/>
                    <a:pt x="66589" y="2201"/>
                    <a:pt x="65895" y="2201"/>
                  </a:cubicBezTo>
                  <a:cubicBezTo>
                    <a:pt x="65202" y="3302"/>
                    <a:pt x="65202" y="4403"/>
                    <a:pt x="65202" y="4403"/>
                  </a:cubicBezTo>
                  <a:cubicBezTo>
                    <a:pt x="65202" y="5504"/>
                    <a:pt x="63815" y="5504"/>
                    <a:pt x="63815" y="6605"/>
                  </a:cubicBezTo>
                  <a:cubicBezTo>
                    <a:pt x="64508" y="6605"/>
                    <a:pt x="63815" y="6605"/>
                    <a:pt x="65202" y="7706"/>
                  </a:cubicBezTo>
                  <a:cubicBezTo>
                    <a:pt x="65895" y="7706"/>
                    <a:pt x="65895" y="7706"/>
                    <a:pt x="66589" y="7706"/>
                  </a:cubicBezTo>
                  <a:cubicBezTo>
                    <a:pt x="67283" y="8807"/>
                    <a:pt x="67976" y="7706"/>
                    <a:pt x="67976" y="7706"/>
                  </a:cubicBezTo>
                  <a:cubicBezTo>
                    <a:pt x="67976" y="7706"/>
                    <a:pt x="67976" y="7706"/>
                    <a:pt x="68670" y="8807"/>
                  </a:cubicBezTo>
                  <a:cubicBezTo>
                    <a:pt x="68670" y="8807"/>
                    <a:pt x="69364" y="7706"/>
                    <a:pt x="69364" y="8807"/>
                  </a:cubicBezTo>
                  <a:cubicBezTo>
                    <a:pt x="69364" y="9908"/>
                    <a:pt x="70057" y="11009"/>
                    <a:pt x="69364" y="11009"/>
                  </a:cubicBezTo>
                  <a:cubicBezTo>
                    <a:pt x="68670" y="11009"/>
                    <a:pt x="67976" y="12110"/>
                    <a:pt x="67976" y="11009"/>
                  </a:cubicBezTo>
                  <a:cubicBezTo>
                    <a:pt x="67976" y="11009"/>
                    <a:pt x="67976" y="9908"/>
                    <a:pt x="67283" y="9908"/>
                  </a:cubicBezTo>
                  <a:cubicBezTo>
                    <a:pt x="67283" y="9908"/>
                    <a:pt x="66589" y="9908"/>
                    <a:pt x="66589" y="9908"/>
                  </a:cubicBezTo>
                  <a:cubicBezTo>
                    <a:pt x="65895" y="12110"/>
                    <a:pt x="65895" y="12110"/>
                    <a:pt x="65895" y="12110"/>
                  </a:cubicBezTo>
                  <a:cubicBezTo>
                    <a:pt x="65895" y="12110"/>
                    <a:pt x="65895" y="13211"/>
                    <a:pt x="65202" y="13211"/>
                  </a:cubicBezTo>
                  <a:cubicBezTo>
                    <a:pt x="64508" y="13211"/>
                    <a:pt x="65202" y="13211"/>
                    <a:pt x="63815" y="13211"/>
                  </a:cubicBezTo>
                  <a:cubicBezTo>
                    <a:pt x="62427" y="13211"/>
                    <a:pt x="62427" y="12110"/>
                    <a:pt x="61734" y="12110"/>
                  </a:cubicBezTo>
                  <a:cubicBezTo>
                    <a:pt x="61734" y="12110"/>
                    <a:pt x="61734" y="12110"/>
                    <a:pt x="61040" y="12110"/>
                  </a:cubicBezTo>
                  <a:cubicBezTo>
                    <a:pt x="61040" y="12110"/>
                    <a:pt x="59653" y="9908"/>
                    <a:pt x="58959" y="12110"/>
                  </a:cubicBezTo>
                  <a:cubicBezTo>
                    <a:pt x="58265" y="13211"/>
                    <a:pt x="57572" y="14311"/>
                    <a:pt x="57572" y="14311"/>
                  </a:cubicBezTo>
                  <a:cubicBezTo>
                    <a:pt x="55491" y="14311"/>
                    <a:pt x="55491" y="14311"/>
                    <a:pt x="55491" y="14311"/>
                  </a:cubicBezTo>
                  <a:cubicBezTo>
                    <a:pt x="55491" y="14311"/>
                    <a:pt x="54797" y="14311"/>
                    <a:pt x="54104" y="14311"/>
                  </a:cubicBezTo>
                  <a:cubicBezTo>
                    <a:pt x="53410" y="14311"/>
                    <a:pt x="52716" y="14311"/>
                    <a:pt x="52716" y="14311"/>
                  </a:cubicBezTo>
                  <a:cubicBezTo>
                    <a:pt x="52023" y="15412"/>
                    <a:pt x="51329" y="12110"/>
                    <a:pt x="51329" y="12110"/>
                  </a:cubicBezTo>
                  <a:cubicBezTo>
                    <a:pt x="51329" y="12110"/>
                    <a:pt x="52023" y="9908"/>
                    <a:pt x="49942" y="12110"/>
                  </a:cubicBezTo>
                  <a:cubicBezTo>
                    <a:pt x="47861" y="14311"/>
                    <a:pt x="47167" y="14311"/>
                    <a:pt x="47167" y="14311"/>
                  </a:cubicBezTo>
                  <a:cubicBezTo>
                    <a:pt x="46473" y="14311"/>
                    <a:pt x="45780" y="15412"/>
                    <a:pt x="45780" y="15412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780" y="14311"/>
                    <a:pt x="45780" y="13211"/>
                    <a:pt x="45780" y="13211"/>
                  </a:cubicBezTo>
                  <a:cubicBezTo>
                    <a:pt x="45086" y="12110"/>
                    <a:pt x="45086" y="12110"/>
                    <a:pt x="45086" y="12110"/>
                  </a:cubicBezTo>
                  <a:cubicBezTo>
                    <a:pt x="43005" y="13211"/>
                    <a:pt x="43005" y="13211"/>
                    <a:pt x="43005" y="13211"/>
                  </a:cubicBezTo>
                  <a:cubicBezTo>
                    <a:pt x="43005" y="13211"/>
                    <a:pt x="43699" y="13211"/>
                    <a:pt x="43005" y="13211"/>
                  </a:cubicBezTo>
                  <a:cubicBezTo>
                    <a:pt x="43005" y="13211"/>
                    <a:pt x="41618" y="13211"/>
                    <a:pt x="41618" y="13211"/>
                  </a:cubicBezTo>
                  <a:cubicBezTo>
                    <a:pt x="41618" y="15412"/>
                    <a:pt x="41618" y="15412"/>
                    <a:pt x="41618" y="15412"/>
                  </a:cubicBezTo>
                  <a:cubicBezTo>
                    <a:pt x="41618" y="15412"/>
                    <a:pt x="40924" y="15412"/>
                    <a:pt x="40924" y="15412"/>
                  </a:cubicBezTo>
                  <a:cubicBezTo>
                    <a:pt x="40924" y="15412"/>
                    <a:pt x="40924" y="16513"/>
                    <a:pt x="40924" y="16513"/>
                  </a:cubicBezTo>
                  <a:cubicBezTo>
                    <a:pt x="40924" y="16513"/>
                    <a:pt x="40924" y="17614"/>
                    <a:pt x="40924" y="17614"/>
                  </a:cubicBezTo>
                  <a:cubicBezTo>
                    <a:pt x="40924" y="17614"/>
                    <a:pt x="40231" y="17614"/>
                    <a:pt x="40231" y="17614"/>
                  </a:cubicBezTo>
                  <a:cubicBezTo>
                    <a:pt x="40231" y="17614"/>
                    <a:pt x="39537" y="17614"/>
                    <a:pt x="39537" y="17614"/>
                  </a:cubicBezTo>
                  <a:cubicBezTo>
                    <a:pt x="39537" y="17614"/>
                    <a:pt x="38843" y="19816"/>
                    <a:pt x="38843" y="19816"/>
                  </a:cubicBezTo>
                  <a:cubicBezTo>
                    <a:pt x="38843" y="19816"/>
                    <a:pt x="38843" y="20917"/>
                    <a:pt x="38843" y="20917"/>
                  </a:cubicBezTo>
                  <a:cubicBezTo>
                    <a:pt x="38843" y="20917"/>
                    <a:pt x="38843" y="20917"/>
                    <a:pt x="38843" y="22018"/>
                  </a:cubicBezTo>
                  <a:cubicBezTo>
                    <a:pt x="38150" y="22018"/>
                    <a:pt x="37456" y="22018"/>
                    <a:pt x="37456" y="22018"/>
                  </a:cubicBezTo>
                  <a:cubicBezTo>
                    <a:pt x="37456" y="22018"/>
                    <a:pt x="36763" y="22018"/>
                    <a:pt x="36069" y="22018"/>
                  </a:cubicBezTo>
                  <a:cubicBezTo>
                    <a:pt x="36069" y="22018"/>
                    <a:pt x="35375" y="22018"/>
                    <a:pt x="35375" y="22018"/>
                  </a:cubicBezTo>
                  <a:cubicBezTo>
                    <a:pt x="34682" y="22018"/>
                    <a:pt x="34682" y="23119"/>
                    <a:pt x="34682" y="23119"/>
                  </a:cubicBezTo>
                  <a:cubicBezTo>
                    <a:pt x="34682" y="23119"/>
                    <a:pt x="33294" y="22018"/>
                    <a:pt x="33294" y="22018"/>
                  </a:cubicBezTo>
                  <a:cubicBezTo>
                    <a:pt x="32601" y="22018"/>
                    <a:pt x="32601" y="20917"/>
                    <a:pt x="32601" y="19816"/>
                  </a:cubicBezTo>
                  <a:cubicBezTo>
                    <a:pt x="32601" y="19816"/>
                    <a:pt x="31907" y="17614"/>
                    <a:pt x="31907" y="17614"/>
                  </a:cubicBezTo>
                  <a:cubicBezTo>
                    <a:pt x="31213" y="18715"/>
                    <a:pt x="31213" y="18715"/>
                    <a:pt x="31213" y="18715"/>
                  </a:cubicBezTo>
                  <a:cubicBezTo>
                    <a:pt x="29132" y="18715"/>
                    <a:pt x="29132" y="18715"/>
                    <a:pt x="29132" y="18715"/>
                  </a:cubicBezTo>
                  <a:cubicBezTo>
                    <a:pt x="27745" y="17614"/>
                    <a:pt x="27745" y="17614"/>
                    <a:pt x="27745" y="17614"/>
                  </a:cubicBezTo>
                  <a:cubicBezTo>
                    <a:pt x="27745" y="19816"/>
                    <a:pt x="27745" y="19816"/>
                    <a:pt x="27745" y="19816"/>
                  </a:cubicBezTo>
                  <a:cubicBezTo>
                    <a:pt x="27745" y="19816"/>
                    <a:pt x="28439" y="20917"/>
                    <a:pt x="28439" y="20917"/>
                  </a:cubicBezTo>
                  <a:cubicBezTo>
                    <a:pt x="28439" y="20917"/>
                    <a:pt x="27745" y="20917"/>
                    <a:pt x="27745" y="20917"/>
                  </a:cubicBezTo>
                  <a:cubicBezTo>
                    <a:pt x="27052" y="22018"/>
                    <a:pt x="27052" y="22018"/>
                    <a:pt x="27052" y="22018"/>
                  </a:cubicBezTo>
                  <a:cubicBezTo>
                    <a:pt x="26358" y="22018"/>
                    <a:pt x="26358" y="22018"/>
                    <a:pt x="26358" y="22018"/>
                  </a:cubicBezTo>
                  <a:cubicBezTo>
                    <a:pt x="26358" y="22018"/>
                    <a:pt x="25664" y="24220"/>
                    <a:pt x="25664" y="24220"/>
                  </a:cubicBezTo>
                  <a:cubicBezTo>
                    <a:pt x="25664" y="25321"/>
                    <a:pt x="24971" y="25321"/>
                    <a:pt x="24971" y="25321"/>
                  </a:cubicBezTo>
                  <a:cubicBezTo>
                    <a:pt x="24971" y="25321"/>
                    <a:pt x="24277" y="25321"/>
                    <a:pt x="24971" y="26422"/>
                  </a:cubicBezTo>
                  <a:cubicBezTo>
                    <a:pt x="25664" y="26422"/>
                    <a:pt x="26358" y="26422"/>
                    <a:pt x="26358" y="26422"/>
                  </a:cubicBezTo>
                  <a:cubicBezTo>
                    <a:pt x="27052" y="26422"/>
                    <a:pt x="27745" y="26422"/>
                    <a:pt x="27745" y="26422"/>
                  </a:cubicBezTo>
                  <a:cubicBezTo>
                    <a:pt x="27745" y="26422"/>
                    <a:pt x="29132" y="25321"/>
                    <a:pt x="29132" y="25321"/>
                  </a:cubicBezTo>
                  <a:cubicBezTo>
                    <a:pt x="29132" y="26422"/>
                    <a:pt x="29132" y="26422"/>
                    <a:pt x="29132" y="26422"/>
                  </a:cubicBezTo>
                  <a:cubicBezTo>
                    <a:pt x="29132" y="28623"/>
                    <a:pt x="29132" y="28623"/>
                    <a:pt x="29132" y="28623"/>
                  </a:cubicBezTo>
                  <a:cubicBezTo>
                    <a:pt x="28439" y="28623"/>
                    <a:pt x="28439" y="28623"/>
                    <a:pt x="28439" y="28623"/>
                  </a:cubicBezTo>
                  <a:cubicBezTo>
                    <a:pt x="28439" y="28623"/>
                    <a:pt x="28439" y="29724"/>
                    <a:pt x="28439" y="29724"/>
                  </a:cubicBezTo>
                  <a:cubicBezTo>
                    <a:pt x="27745" y="30825"/>
                    <a:pt x="27052" y="30825"/>
                    <a:pt x="27052" y="30825"/>
                  </a:cubicBezTo>
                  <a:cubicBezTo>
                    <a:pt x="26358" y="31926"/>
                    <a:pt x="26358" y="31926"/>
                    <a:pt x="26358" y="33027"/>
                  </a:cubicBezTo>
                  <a:cubicBezTo>
                    <a:pt x="26358" y="34128"/>
                    <a:pt x="25664" y="36330"/>
                    <a:pt x="25664" y="36330"/>
                  </a:cubicBezTo>
                  <a:cubicBezTo>
                    <a:pt x="24277" y="37431"/>
                    <a:pt x="24277" y="37431"/>
                    <a:pt x="24277" y="37431"/>
                  </a:cubicBezTo>
                  <a:cubicBezTo>
                    <a:pt x="22890" y="39633"/>
                    <a:pt x="22890" y="39633"/>
                    <a:pt x="22890" y="39633"/>
                  </a:cubicBezTo>
                  <a:cubicBezTo>
                    <a:pt x="22196" y="39633"/>
                    <a:pt x="22196" y="39633"/>
                    <a:pt x="22196" y="39633"/>
                  </a:cubicBezTo>
                  <a:cubicBezTo>
                    <a:pt x="21502" y="40733"/>
                    <a:pt x="21502" y="40733"/>
                    <a:pt x="21502" y="40733"/>
                  </a:cubicBezTo>
                  <a:cubicBezTo>
                    <a:pt x="21502" y="41834"/>
                    <a:pt x="21502" y="41834"/>
                    <a:pt x="21502" y="41834"/>
                  </a:cubicBezTo>
                  <a:cubicBezTo>
                    <a:pt x="20115" y="42935"/>
                    <a:pt x="20115" y="42935"/>
                    <a:pt x="20115" y="42935"/>
                  </a:cubicBezTo>
                  <a:cubicBezTo>
                    <a:pt x="20115" y="45137"/>
                    <a:pt x="20115" y="45137"/>
                    <a:pt x="20115" y="45137"/>
                  </a:cubicBezTo>
                  <a:cubicBezTo>
                    <a:pt x="19421" y="46238"/>
                    <a:pt x="19421" y="46238"/>
                    <a:pt x="19421" y="46238"/>
                  </a:cubicBezTo>
                  <a:cubicBezTo>
                    <a:pt x="18728" y="46238"/>
                    <a:pt x="18728" y="46238"/>
                    <a:pt x="18728" y="46238"/>
                  </a:cubicBezTo>
                  <a:cubicBezTo>
                    <a:pt x="18034" y="48440"/>
                    <a:pt x="18034" y="48440"/>
                    <a:pt x="18034" y="48440"/>
                  </a:cubicBezTo>
                  <a:cubicBezTo>
                    <a:pt x="18034" y="48440"/>
                    <a:pt x="17341" y="49541"/>
                    <a:pt x="17341" y="49541"/>
                  </a:cubicBezTo>
                  <a:cubicBezTo>
                    <a:pt x="16647" y="49541"/>
                    <a:pt x="15953" y="50642"/>
                    <a:pt x="15953" y="50642"/>
                  </a:cubicBezTo>
                  <a:cubicBezTo>
                    <a:pt x="14566" y="50642"/>
                    <a:pt x="14566" y="50642"/>
                    <a:pt x="14566" y="50642"/>
                  </a:cubicBezTo>
                  <a:cubicBezTo>
                    <a:pt x="14566" y="50642"/>
                    <a:pt x="13872" y="50642"/>
                    <a:pt x="13179" y="51743"/>
                  </a:cubicBezTo>
                  <a:cubicBezTo>
                    <a:pt x="13179" y="52844"/>
                    <a:pt x="13179" y="52844"/>
                    <a:pt x="13179" y="52844"/>
                  </a:cubicBezTo>
                  <a:cubicBezTo>
                    <a:pt x="13179" y="53944"/>
                    <a:pt x="13872" y="55045"/>
                    <a:pt x="13872" y="55045"/>
                  </a:cubicBezTo>
                  <a:cubicBezTo>
                    <a:pt x="13872" y="57247"/>
                    <a:pt x="13872" y="57247"/>
                    <a:pt x="13872" y="57247"/>
                  </a:cubicBezTo>
                  <a:cubicBezTo>
                    <a:pt x="13872" y="57247"/>
                    <a:pt x="13179" y="57247"/>
                    <a:pt x="13179" y="58348"/>
                  </a:cubicBezTo>
                  <a:cubicBezTo>
                    <a:pt x="13179" y="58348"/>
                    <a:pt x="13179" y="59449"/>
                    <a:pt x="13179" y="59449"/>
                  </a:cubicBezTo>
                  <a:cubicBezTo>
                    <a:pt x="13179" y="59449"/>
                    <a:pt x="13179" y="60550"/>
                    <a:pt x="13179" y="60550"/>
                  </a:cubicBezTo>
                  <a:cubicBezTo>
                    <a:pt x="13179" y="60550"/>
                    <a:pt x="13179" y="61651"/>
                    <a:pt x="13179" y="61651"/>
                  </a:cubicBezTo>
                  <a:cubicBezTo>
                    <a:pt x="13179" y="61651"/>
                    <a:pt x="13179" y="62752"/>
                    <a:pt x="12485" y="63853"/>
                  </a:cubicBezTo>
                  <a:cubicBezTo>
                    <a:pt x="12485" y="63853"/>
                    <a:pt x="11791" y="64954"/>
                    <a:pt x="11791" y="64954"/>
                  </a:cubicBezTo>
                  <a:cubicBezTo>
                    <a:pt x="11791" y="64954"/>
                    <a:pt x="10404" y="64954"/>
                    <a:pt x="10404" y="64954"/>
                  </a:cubicBezTo>
                  <a:cubicBezTo>
                    <a:pt x="10404" y="66055"/>
                    <a:pt x="9017" y="66055"/>
                    <a:pt x="9017" y="66055"/>
                  </a:cubicBezTo>
                  <a:cubicBezTo>
                    <a:pt x="7630" y="68256"/>
                    <a:pt x="7630" y="68256"/>
                    <a:pt x="7630" y="68256"/>
                  </a:cubicBezTo>
                  <a:cubicBezTo>
                    <a:pt x="4855" y="72660"/>
                    <a:pt x="4855" y="72660"/>
                    <a:pt x="4855" y="72660"/>
                  </a:cubicBezTo>
                  <a:cubicBezTo>
                    <a:pt x="4855" y="72660"/>
                    <a:pt x="4855" y="73761"/>
                    <a:pt x="4855" y="73761"/>
                  </a:cubicBezTo>
                  <a:cubicBezTo>
                    <a:pt x="4855" y="73761"/>
                    <a:pt x="4855" y="75963"/>
                    <a:pt x="4855" y="75963"/>
                  </a:cubicBezTo>
                  <a:cubicBezTo>
                    <a:pt x="4855" y="77064"/>
                    <a:pt x="4161" y="78165"/>
                    <a:pt x="4161" y="78165"/>
                  </a:cubicBezTo>
                  <a:cubicBezTo>
                    <a:pt x="3468" y="79266"/>
                    <a:pt x="3468" y="79266"/>
                    <a:pt x="3468" y="79266"/>
                  </a:cubicBezTo>
                  <a:cubicBezTo>
                    <a:pt x="3468" y="81467"/>
                    <a:pt x="3468" y="81467"/>
                    <a:pt x="3468" y="81467"/>
                  </a:cubicBezTo>
                  <a:cubicBezTo>
                    <a:pt x="3468" y="82568"/>
                    <a:pt x="3468" y="82568"/>
                    <a:pt x="3468" y="82568"/>
                  </a:cubicBezTo>
                  <a:cubicBezTo>
                    <a:pt x="4161" y="83669"/>
                    <a:pt x="4161" y="83669"/>
                    <a:pt x="4161" y="83669"/>
                  </a:cubicBezTo>
                  <a:cubicBezTo>
                    <a:pt x="4855" y="84770"/>
                    <a:pt x="4855" y="84770"/>
                    <a:pt x="4855" y="84770"/>
                  </a:cubicBezTo>
                  <a:cubicBezTo>
                    <a:pt x="4855" y="88073"/>
                    <a:pt x="4855" y="88073"/>
                    <a:pt x="4855" y="88073"/>
                  </a:cubicBezTo>
                  <a:cubicBezTo>
                    <a:pt x="4161" y="90275"/>
                    <a:pt x="4161" y="90275"/>
                    <a:pt x="4161" y="90275"/>
                  </a:cubicBezTo>
                  <a:cubicBezTo>
                    <a:pt x="4161" y="92477"/>
                    <a:pt x="4161" y="92477"/>
                    <a:pt x="4161" y="92477"/>
                  </a:cubicBezTo>
                  <a:cubicBezTo>
                    <a:pt x="2774" y="92477"/>
                    <a:pt x="2774" y="92477"/>
                    <a:pt x="2774" y="92477"/>
                  </a:cubicBezTo>
                  <a:cubicBezTo>
                    <a:pt x="2774" y="92477"/>
                    <a:pt x="2080" y="93577"/>
                    <a:pt x="1387" y="93577"/>
                  </a:cubicBezTo>
                  <a:cubicBezTo>
                    <a:pt x="1387" y="93577"/>
                    <a:pt x="693" y="94678"/>
                    <a:pt x="693" y="94678"/>
                  </a:cubicBezTo>
                  <a:cubicBezTo>
                    <a:pt x="0" y="95779"/>
                    <a:pt x="0" y="95779"/>
                    <a:pt x="0" y="95779"/>
                  </a:cubicBezTo>
                  <a:cubicBezTo>
                    <a:pt x="693" y="96880"/>
                    <a:pt x="693" y="96880"/>
                    <a:pt x="693" y="96880"/>
                  </a:cubicBezTo>
                  <a:cubicBezTo>
                    <a:pt x="693" y="99082"/>
                    <a:pt x="693" y="99082"/>
                    <a:pt x="693" y="99082"/>
                  </a:cubicBezTo>
                  <a:cubicBezTo>
                    <a:pt x="1387" y="99082"/>
                    <a:pt x="1387" y="99082"/>
                    <a:pt x="1387" y="99082"/>
                  </a:cubicBezTo>
                  <a:cubicBezTo>
                    <a:pt x="2774" y="97981"/>
                    <a:pt x="2774" y="97981"/>
                    <a:pt x="2774" y="97981"/>
                  </a:cubicBezTo>
                  <a:cubicBezTo>
                    <a:pt x="4161" y="99082"/>
                    <a:pt x="4161" y="99082"/>
                    <a:pt x="4161" y="99082"/>
                  </a:cubicBezTo>
                  <a:cubicBezTo>
                    <a:pt x="6242" y="97981"/>
                    <a:pt x="6242" y="97981"/>
                    <a:pt x="6242" y="97981"/>
                  </a:cubicBezTo>
                  <a:cubicBezTo>
                    <a:pt x="6242" y="97981"/>
                    <a:pt x="6242" y="96880"/>
                    <a:pt x="6936" y="95779"/>
                  </a:cubicBezTo>
                  <a:cubicBezTo>
                    <a:pt x="7630" y="94678"/>
                    <a:pt x="8323" y="94678"/>
                    <a:pt x="8323" y="94678"/>
                  </a:cubicBezTo>
                  <a:cubicBezTo>
                    <a:pt x="9017" y="92477"/>
                    <a:pt x="9017" y="92477"/>
                    <a:pt x="9017" y="92477"/>
                  </a:cubicBezTo>
                  <a:cubicBezTo>
                    <a:pt x="8323" y="92477"/>
                    <a:pt x="8323" y="92477"/>
                    <a:pt x="8323" y="92477"/>
                  </a:cubicBezTo>
                  <a:cubicBezTo>
                    <a:pt x="8323" y="90275"/>
                    <a:pt x="8323" y="90275"/>
                    <a:pt x="8323" y="90275"/>
                  </a:cubicBezTo>
                  <a:cubicBezTo>
                    <a:pt x="6936" y="89174"/>
                    <a:pt x="6936" y="89174"/>
                    <a:pt x="6936" y="89174"/>
                  </a:cubicBezTo>
                  <a:cubicBezTo>
                    <a:pt x="6936" y="89174"/>
                    <a:pt x="6936" y="88073"/>
                    <a:pt x="6936" y="88073"/>
                  </a:cubicBezTo>
                  <a:cubicBezTo>
                    <a:pt x="7630" y="86972"/>
                    <a:pt x="8323" y="84770"/>
                    <a:pt x="8323" y="84770"/>
                  </a:cubicBezTo>
                  <a:cubicBezTo>
                    <a:pt x="10404" y="83669"/>
                    <a:pt x="10404" y="83669"/>
                    <a:pt x="10404" y="83669"/>
                  </a:cubicBezTo>
                  <a:cubicBezTo>
                    <a:pt x="12485" y="82568"/>
                    <a:pt x="12485" y="82568"/>
                    <a:pt x="12485" y="82568"/>
                  </a:cubicBezTo>
                  <a:cubicBezTo>
                    <a:pt x="13179" y="81467"/>
                    <a:pt x="13179" y="81467"/>
                    <a:pt x="13179" y="81467"/>
                  </a:cubicBezTo>
                  <a:cubicBezTo>
                    <a:pt x="14566" y="80366"/>
                    <a:pt x="14566" y="80366"/>
                    <a:pt x="14566" y="80366"/>
                  </a:cubicBezTo>
                  <a:cubicBezTo>
                    <a:pt x="14566" y="80366"/>
                    <a:pt x="16647" y="80366"/>
                    <a:pt x="16647" y="80366"/>
                  </a:cubicBezTo>
                  <a:cubicBezTo>
                    <a:pt x="16647" y="80366"/>
                    <a:pt x="19421" y="80366"/>
                    <a:pt x="19421" y="80366"/>
                  </a:cubicBezTo>
                  <a:lnTo>
                    <a:pt x="21502" y="82568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4" name="Shape 2025"/>
            <p:cNvSpPr/>
            <p:nvPr/>
          </p:nvSpPr>
          <p:spPr>
            <a:xfrm>
              <a:off x="5753789" y="1798916"/>
              <a:ext cx="494744" cy="2961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06" y="40298"/>
                  </a:moveTo>
                  <a:cubicBezTo>
                    <a:pt x="13271" y="35820"/>
                    <a:pt x="13271" y="35820"/>
                    <a:pt x="13271" y="35820"/>
                  </a:cubicBezTo>
                  <a:cubicBezTo>
                    <a:pt x="13271" y="35820"/>
                    <a:pt x="16589" y="31343"/>
                    <a:pt x="17142" y="31343"/>
                  </a:cubicBezTo>
                  <a:cubicBezTo>
                    <a:pt x="18248" y="30447"/>
                    <a:pt x="19907" y="28656"/>
                    <a:pt x="19907" y="29552"/>
                  </a:cubicBezTo>
                  <a:cubicBezTo>
                    <a:pt x="19907" y="30447"/>
                    <a:pt x="20460" y="36716"/>
                    <a:pt x="20460" y="36716"/>
                  </a:cubicBezTo>
                  <a:cubicBezTo>
                    <a:pt x="23225" y="38507"/>
                    <a:pt x="23225" y="38507"/>
                    <a:pt x="23225" y="38507"/>
                  </a:cubicBezTo>
                  <a:cubicBezTo>
                    <a:pt x="25437" y="41194"/>
                    <a:pt x="25437" y="41194"/>
                    <a:pt x="25437" y="41194"/>
                  </a:cubicBezTo>
                  <a:cubicBezTo>
                    <a:pt x="29861" y="44776"/>
                    <a:pt x="29861" y="44776"/>
                    <a:pt x="29861" y="44776"/>
                  </a:cubicBezTo>
                  <a:cubicBezTo>
                    <a:pt x="30414" y="47462"/>
                    <a:pt x="30414" y="47462"/>
                    <a:pt x="30414" y="47462"/>
                  </a:cubicBezTo>
                  <a:cubicBezTo>
                    <a:pt x="30414" y="47462"/>
                    <a:pt x="29861" y="49253"/>
                    <a:pt x="30967" y="51940"/>
                  </a:cubicBezTo>
                  <a:cubicBezTo>
                    <a:pt x="32626" y="54626"/>
                    <a:pt x="33179" y="54626"/>
                    <a:pt x="33732" y="57313"/>
                  </a:cubicBezTo>
                  <a:cubicBezTo>
                    <a:pt x="34285" y="59104"/>
                    <a:pt x="36497" y="60895"/>
                    <a:pt x="36497" y="60895"/>
                  </a:cubicBezTo>
                  <a:cubicBezTo>
                    <a:pt x="39262" y="61791"/>
                    <a:pt x="39262" y="61791"/>
                    <a:pt x="39262" y="61791"/>
                  </a:cubicBezTo>
                  <a:cubicBezTo>
                    <a:pt x="39262" y="61791"/>
                    <a:pt x="42027" y="63582"/>
                    <a:pt x="42580" y="62686"/>
                  </a:cubicBezTo>
                  <a:cubicBezTo>
                    <a:pt x="43133" y="61791"/>
                    <a:pt x="45898" y="58208"/>
                    <a:pt x="45898" y="57313"/>
                  </a:cubicBezTo>
                  <a:cubicBezTo>
                    <a:pt x="46451" y="56417"/>
                    <a:pt x="48110" y="52835"/>
                    <a:pt x="48663" y="51940"/>
                  </a:cubicBezTo>
                  <a:cubicBezTo>
                    <a:pt x="49216" y="51044"/>
                    <a:pt x="50875" y="44776"/>
                    <a:pt x="50875" y="43880"/>
                  </a:cubicBezTo>
                  <a:cubicBezTo>
                    <a:pt x="50875" y="42089"/>
                    <a:pt x="48663" y="34925"/>
                    <a:pt x="48110" y="33134"/>
                  </a:cubicBezTo>
                  <a:cubicBezTo>
                    <a:pt x="48110" y="31343"/>
                    <a:pt x="47557" y="25970"/>
                    <a:pt x="47557" y="25970"/>
                  </a:cubicBezTo>
                  <a:cubicBezTo>
                    <a:pt x="45345" y="18805"/>
                    <a:pt x="45345" y="18805"/>
                    <a:pt x="45345" y="18805"/>
                  </a:cubicBezTo>
                  <a:cubicBezTo>
                    <a:pt x="45345" y="18805"/>
                    <a:pt x="45345" y="14328"/>
                    <a:pt x="45898" y="14328"/>
                  </a:cubicBezTo>
                  <a:cubicBezTo>
                    <a:pt x="46451" y="13432"/>
                    <a:pt x="49216" y="9850"/>
                    <a:pt x="49216" y="9850"/>
                  </a:cubicBezTo>
                  <a:cubicBezTo>
                    <a:pt x="51981" y="5373"/>
                    <a:pt x="51981" y="5373"/>
                    <a:pt x="51981" y="5373"/>
                  </a:cubicBezTo>
                  <a:cubicBezTo>
                    <a:pt x="54746" y="2686"/>
                    <a:pt x="54746" y="2686"/>
                    <a:pt x="54746" y="2686"/>
                  </a:cubicBezTo>
                  <a:cubicBezTo>
                    <a:pt x="56958" y="0"/>
                    <a:pt x="56958" y="0"/>
                    <a:pt x="56958" y="0"/>
                  </a:cubicBezTo>
                  <a:cubicBezTo>
                    <a:pt x="59723" y="1791"/>
                    <a:pt x="59723" y="1791"/>
                    <a:pt x="59723" y="1791"/>
                  </a:cubicBezTo>
                  <a:cubicBezTo>
                    <a:pt x="61935" y="1791"/>
                    <a:pt x="61935" y="1791"/>
                    <a:pt x="61935" y="1791"/>
                  </a:cubicBezTo>
                  <a:cubicBezTo>
                    <a:pt x="64147" y="3582"/>
                    <a:pt x="64147" y="3582"/>
                    <a:pt x="64147" y="3582"/>
                  </a:cubicBezTo>
                  <a:cubicBezTo>
                    <a:pt x="66912" y="3582"/>
                    <a:pt x="66912" y="3582"/>
                    <a:pt x="66912" y="3582"/>
                  </a:cubicBezTo>
                  <a:cubicBezTo>
                    <a:pt x="69124" y="4477"/>
                    <a:pt x="69124" y="4477"/>
                    <a:pt x="69124" y="4477"/>
                  </a:cubicBezTo>
                  <a:cubicBezTo>
                    <a:pt x="71889" y="6268"/>
                    <a:pt x="71889" y="6268"/>
                    <a:pt x="71889" y="6268"/>
                  </a:cubicBezTo>
                  <a:cubicBezTo>
                    <a:pt x="76866" y="11641"/>
                    <a:pt x="76866" y="11641"/>
                    <a:pt x="76866" y="11641"/>
                  </a:cubicBezTo>
                  <a:cubicBezTo>
                    <a:pt x="78525" y="15223"/>
                    <a:pt x="78525" y="15223"/>
                    <a:pt x="78525" y="15223"/>
                  </a:cubicBezTo>
                  <a:cubicBezTo>
                    <a:pt x="80184" y="16119"/>
                    <a:pt x="80184" y="16119"/>
                    <a:pt x="80184" y="16119"/>
                  </a:cubicBezTo>
                  <a:cubicBezTo>
                    <a:pt x="80184" y="16119"/>
                    <a:pt x="81290" y="17910"/>
                    <a:pt x="82396" y="17014"/>
                  </a:cubicBezTo>
                  <a:cubicBezTo>
                    <a:pt x="82949" y="17014"/>
                    <a:pt x="83502" y="16119"/>
                    <a:pt x="84055" y="15223"/>
                  </a:cubicBezTo>
                  <a:cubicBezTo>
                    <a:pt x="85161" y="14328"/>
                    <a:pt x="85714" y="12537"/>
                    <a:pt x="85714" y="12537"/>
                  </a:cubicBezTo>
                  <a:cubicBezTo>
                    <a:pt x="86820" y="12537"/>
                    <a:pt x="86820" y="12537"/>
                    <a:pt x="86820" y="12537"/>
                  </a:cubicBezTo>
                  <a:cubicBezTo>
                    <a:pt x="87926" y="9850"/>
                    <a:pt x="87926" y="9850"/>
                    <a:pt x="87926" y="9850"/>
                  </a:cubicBezTo>
                  <a:cubicBezTo>
                    <a:pt x="92350" y="11641"/>
                    <a:pt x="92350" y="11641"/>
                    <a:pt x="92350" y="11641"/>
                  </a:cubicBezTo>
                  <a:cubicBezTo>
                    <a:pt x="94562" y="11641"/>
                    <a:pt x="94562" y="11641"/>
                    <a:pt x="94562" y="11641"/>
                  </a:cubicBezTo>
                  <a:cubicBezTo>
                    <a:pt x="97880" y="9850"/>
                    <a:pt x="97880" y="9850"/>
                    <a:pt x="97880" y="9850"/>
                  </a:cubicBezTo>
                  <a:cubicBezTo>
                    <a:pt x="99539" y="12537"/>
                    <a:pt x="99539" y="12537"/>
                    <a:pt x="99539" y="12537"/>
                  </a:cubicBezTo>
                  <a:cubicBezTo>
                    <a:pt x="99539" y="15223"/>
                    <a:pt x="99539" y="15223"/>
                    <a:pt x="99539" y="15223"/>
                  </a:cubicBezTo>
                  <a:cubicBezTo>
                    <a:pt x="101751" y="16119"/>
                    <a:pt x="101751" y="16119"/>
                    <a:pt x="101751" y="16119"/>
                  </a:cubicBezTo>
                  <a:cubicBezTo>
                    <a:pt x="101751" y="16119"/>
                    <a:pt x="103410" y="17910"/>
                    <a:pt x="103963" y="17910"/>
                  </a:cubicBezTo>
                  <a:cubicBezTo>
                    <a:pt x="104516" y="17910"/>
                    <a:pt x="105622" y="18805"/>
                    <a:pt x="105622" y="18805"/>
                  </a:cubicBezTo>
                  <a:cubicBezTo>
                    <a:pt x="106175" y="27761"/>
                    <a:pt x="106175" y="27761"/>
                    <a:pt x="106175" y="27761"/>
                  </a:cubicBezTo>
                  <a:cubicBezTo>
                    <a:pt x="105069" y="30447"/>
                    <a:pt x="105069" y="30447"/>
                    <a:pt x="105069" y="30447"/>
                  </a:cubicBezTo>
                  <a:cubicBezTo>
                    <a:pt x="106175" y="37611"/>
                    <a:pt x="106175" y="37611"/>
                    <a:pt x="106175" y="37611"/>
                  </a:cubicBezTo>
                  <a:cubicBezTo>
                    <a:pt x="106175" y="41194"/>
                    <a:pt x="106175" y="41194"/>
                    <a:pt x="106175" y="41194"/>
                  </a:cubicBezTo>
                  <a:cubicBezTo>
                    <a:pt x="108387" y="38507"/>
                    <a:pt x="108387" y="38507"/>
                    <a:pt x="108387" y="38507"/>
                  </a:cubicBezTo>
                  <a:cubicBezTo>
                    <a:pt x="110599" y="41194"/>
                    <a:pt x="110599" y="41194"/>
                    <a:pt x="110599" y="41194"/>
                  </a:cubicBezTo>
                  <a:cubicBezTo>
                    <a:pt x="109493" y="43880"/>
                    <a:pt x="109493" y="43880"/>
                    <a:pt x="109493" y="43880"/>
                  </a:cubicBezTo>
                  <a:cubicBezTo>
                    <a:pt x="112258" y="47462"/>
                    <a:pt x="112258" y="47462"/>
                    <a:pt x="112258" y="47462"/>
                  </a:cubicBezTo>
                  <a:cubicBezTo>
                    <a:pt x="114470" y="49253"/>
                    <a:pt x="114470" y="49253"/>
                    <a:pt x="114470" y="49253"/>
                  </a:cubicBezTo>
                  <a:cubicBezTo>
                    <a:pt x="113917" y="51940"/>
                    <a:pt x="113917" y="51940"/>
                    <a:pt x="113917" y="51940"/>
                  </a:cubicBezTo>
                  <a:cubicBezTo>
                    <a:pt x="113917" y="51940"/>
                    <a:pt x="114470" y="52835"/>
                    <a:pt x="115023" y="52835"/>
                  </a:cubicBezTo>
                  <a:cubicBezTo>
                    <a:pt x="115576" y="53731"/>
                    <a:pt x="116682" y="54626"/>
                    <a:pt x="116682" y="54626"/>
                  </a:cubicBezTo>
                  <a:cubicBezTo>
                    <a:pt x="116682" y="54626"/>
                    <a:pt x="117235" y="57313"/>
                    <a:pt x="117235" y="59104"/>
                  </a:cubicBezTo>
                  <a:cubicBezTo>
                    <a:pt x="117788" y="60000"/>
                    <a:pt x="120000" y="62686"/>
                    <a:pt x="120000" y="62686"/>
                  </a:cubicBezTo>
                  <a:cubicBezTo>
                    <a:pt x="119447" y="67164"/>
                    <a:pt x="119447" y="67164"/>
                    <a:pt x="119447" y="67164"/>
                  </a:cubicBezTo>
                  <a:cubicBezTo>
                    <a:pt x="119447" y="67164"/>
                    <a:pt x="119447" y="68955"/>
                    <a:pt x="119447" y="69850"/>
                  </a:cubicBezTo>
                  <a:cubicBezTo>
                    <a:pt x="119447" y="70746"/>
                    <a:pt x="119447" y="71641"/>
                    <a:pt x="119447" y="72537"/>
                  </a:cubicBezTo>
                  <a:cubicBezTo>
                    <a:pt x="119447" y="71641"/>
                    <a:pt x="119447" y="71641"/>
                    <a:pt x="119447" y="71641"/>
                  </a:cubicBezTo>
                  <a:cubicBezTo>
                    <a:pt x="116682" y="74328"/>
                    <a:pt x="116682" y="74328"/>
                    <a:pt x="116682" y="74328"/>
                  </a:cubicBezTo>
                  <a:cubicBezTo>
                    <a:pt x="116129" y="80597"/>
                    <a:pt x="116129" y="80597"/>
                    <a:pt x="116129" y="80597"/>
                  </a:cubicBezTo>
                  <a:cubicBezTo>
                    <a:pt x="113364" y="85074"/>
                    <a:pt x="113364" y="85074"/>
                    <a:pt x="113364" y="85074"/>
                  </a:cubicBezTo>
                  <a:cubicBezTo>
                    <a:pt x="114470" y="89552"/>
                    <a:pt x="114470" y="89552"/>
                    <a:pt x="114470" y="89552"/>
                  </a:cubicBezTo>
                  <a:cubicBezTo>
                    <a:pt x="113364" y="92238"/>
                    <a:pt x="113364" y="92238"/>
                    <a:pt x="113364" y="92238"/>
                  </a:cubicBezTo>
                  <a:cubicBezTo>
                    <a:pt x="108940" y="92238"/>
                    <a:pt x="108940" y="92238"/>
                    <a:pt x="108940" y="92238"/>
                  </a:cubicBezTo>
                  <a:cubicBezTo>
                    <a:pt x="108940" y="92238"/>
                    <a:pt x="108387" y="92238"/>
                    <a:pt x="106175" y="92238"/>
                  </a:cubicBezTo>
                  <a:cubicBezTo>
                    <a:pt x="103963" y="92238"/>
                    <a:pt x="104516" y="92238"/>
                    <a:pt x="104516" y="92238"/>
                  </a:cubicBezTo>
                  <a:cubicBezTo>
                    <a:pt x="102857" y="94925"/>
                    <a:pt x="102857" y="94925"/>
                    <a:pt x="102857" y="94925"/>
                  </a:cubicBezTo>
                  <a:cubicBezTo>
                    <a:pt x="102304" y="100298"/>
                    <a:pt x="102304" y="100298"/>
                    <a:pt x="102304" y="100298"/>
                  </a:cubicBezTo>
                  <a:cubicBezTo>
                    <a:pt x="102304" y="100298"/>
                    <a:pt x="101198" y="100298"/>
                    <a:pt x="98986" y="101194"/>
                  </a:cubicBezTo>
                  <a:cubicBezTo>
                    <a:pt x="97880" y="102089"/>
                    <a:pt x="97880" y="102985"/>
                    <a:pt x="97880" y="102985"/>
                  </a:cubicBezTo>
                  <a:cubicBezTo>
                    <a:pt x="97880" y="102985"/>
                    <a:pt x="97880" y="102985"/>
                    <a:pt x="97880" y="102985"/>
                  </a:cubicBezTo>
                  <a:cubicBezTo>
                    <a:pt x="96221" y="102985"/>
                    <a:pt x="96221" y="102985"/>
                    <a:pt x="96221" y="102985"/>
                  </a:cubicBezTo>
                  <a:cubicBezTo>
                    <a:pt x="93456" y="102089"/>
                    <a:pt x="93456" y="102089"/>
                    <a:pt x="93456" y="102089"/>
                  </a:cubicBezTo>
                  <a:cubicBezTo>
                    <a:pt x="91244" y="102089"/>
                    <a:pt x="91244" y="102089"/>
                    <a:pt x="91244" y="102089"/>
                  </a:cubicBezTo>
                  <a:cubicBezTo>
                    <a:pt x="90138" y="98507"/>
                    <a:pt x="90138" y="98507"/>
                    <a:pt x="90138" y="98507"/>
                  </a:cubicBezTo>
                  <a:cubicBezTo>
                    <a:pt x="88479" y="97611"/>
                    <a:pt x="88479" y="97611"/>
                    <a:pt x="88479" y="97611"/>
                  </a:cubicBezTo>
                  <a:cubicBezTo>
                    <a:pt x="86820" y="94029"/>
                    <a:pt x="86820" y="94029"/>
                    <a:pt x="86820" y="94029"/>
                  </a:cubicBezTo>
                  <a:cubicBezTo>
                    <a:pt x="84608" y="93134"/>
                    <a:pt x="84608" y="93134"/>
                    <a:pt x="84608" y="93134"/>
                  </a:cubicBezTo>
                  <a:cubicBezTo>
                    <a:pt x="83502" y="90447"/>
                    <a:pt x="83502" y="90447"/>
                    <a:pt x="83502" y="90447"/>
                  </a:cubicBezTo>
                  <a:cubicBezTo>
                    <a:pt x="80737" y="90447"/>
                    <a:pt x="80737" y="90447"/>
                    <a:pt x="80737" y="90447"/>
                  </a:cubicBezTo>
                  <a:cubicBezTo>
                    <a:pt x="79078" y="88656"/>
                    <a:pt x="79078" y="88656"/>
                    <a:pt x="79078" y="88656"/>
                  </a:cubicBezTo>
                  <a:cubicBezTo>
                    <a:pt x="78525" y="86865"/>
                    <a:pt x="78525" y="86865"/>
                    <a:pt x="78525" y="86865"/>
                  </a:cubicBezTo>
                  <a:cubicBezTo>
                    <a:pt x="76866" y="86865"/>
                    <a:pt x="76866" y="86865"/>
                    <a:pt x="76866" y="86865"/>
                  </a:cubicBezTo>
                  <a:cubicBezTo>
                    <a:pt x="74654" y="87761"/>
                    <a:pt x="74654" y="87761"/>
                    <a:pt x="74654" y="87761"/>
                  </a:cubicBezTo>
                  <a:cubicBezTo>
                    <a:pt x="70783" y="89552"/>
                    <a:pt x="70783" y="89552"/>
                    <a:pt x="70783" y="89552"/>
                  </a:cubicBezTo>
                  <a:cubicBezTo>
                    <a:pt x="68571" y="86865"/>
                    <a:pt x="68571" y="86865"/>
                    <a:pt x="68571" y="86865"/>
                  </a:cubicBezTo>
                  <a:cubicBezTo>
                    <a:pt x="68018" y="85970"/>
                    <a:pt x="68018" y="85970"/>
                    <a:pt x="68018" y="85970"/>
                  </a:cubicBezTo>
                  <a:cubicBezTo>
                    <a:pt x="65806" y="83283"/>
                    <a:pt x="65806" y="83283"/>
                    <a:pt x="65806" y="83283"/>
                  </a:cubicBezTo>
                  <a:cubicBezTo>
                    <a:pt x="64700" y="77910"/>
                    <a:pt x="64700" y="77910"/>
                    <a:pt x="64700" y="77910"/>
                  </a:cubicBezTo>
                  <a:cubicBezTo>
                    <a:pt x="64700" y="77910"/>
                    <a:pt x="62488" y="80597"/>
                    <a:pt x="61935" y="80597"/>
                  </a:cubicBezTo>
                  <a:cubicBezTo>
                    <a:pt x="61935" y="80597"/>
                    <a:pt x="60276" y="85074"/>
                    <a:pt x="60276" y="85074"/>
                  </a:cubicBezTo>
                  <a:cubicBezTo>
                    <a:pt x="59723" y="88656"/>
                    <a:pt x="59723" y="88656"/>
                    <a:pt x="59723" y="88656"/>
                  </a:cubicBezTo>
                  <a:cubicBezTo>
                    <a:pt x="56405" y="86865"/>
                    <a:pt x="56405" y="86865"/>
                    <a:pt x="56405" y="86865"/>
                  </a:cubicBezTo>
                  <a:cubicBezTo>
                    <a:pt x="56405" y="86865"/>
                    <a:pt x="54746" y="90447"/>
                    <a:pt x="54746" y="91343"/>
                  </a:cubicBezTo>
                  <a:cubicBezTo>
                    <a:pt x="54193" y="91343"/>
                    <a:pt x="51981" y="89552"/>
                    <a:pt x="51981" y="89552"/>
                  </a:cubicBezTo>
                  <a:cubicBezTo>
                    <a:pt x="48663" y="89552"/>
                    <a:pt x="48663" y="89552"/>
                    <a:pt x="48663" y="89552"/>
                  </a:cubicBezTo>
                  <a:cubicBezTo>
                    <a:pt x="48663" y="89552"/>
                    <a:pt x="45345" y="89552"/>
                    <a:pt x="44792" y="88656"/>
                  </a:cubicBezTo>
                  <a:cubicBezTo>
                    <a:pt x="44239" y="88656"/>
                    <a:pt x="44239" y="89552"/>
                    <a:pt x="44239" y="89552"/>
                  </a:cubicBezTo>
                  <a:cubicBezTo>
                    <a:pt x="41474" y="90447"/>
                    <a:pt x="41474" y="90447"/>
                    <a:pt x="41474" y="90447"/>
                  </a:cubicBezTo>
                  <a:cubicBezTo>
                    <a:pt x="38156" y="91343"/>
                    <a:pt x="38156" y="91343"/>
                    <a:pt x="38156" y="91343"/>
                  </a:cubicBezTo>
                  <a:cubicBezTo>
                    <a:pt x="38156" y="91343"/>
                    <a:pt x="37603" y="94925"/>
                    <a:pt x="37050" y="95820"/>
                  </a:cubicBezTo>
                  <a:cubicBezTo>
                    <a:pt x="36497" y="95820"/>
                    <a:pt x="34838" y="93134"/>
                    <a:pt x="34285" y="92238"/>
                  </a:cubicBezTo>
                  <a:cubicBezTo>
                    <a:pt x="34285" y="91343"/>
                    <a:pt x="32626" y="90447"/>
                    <a:pt x="32626" y="90447"/>
                  </a:cubicBezTo>
                  <a:cubicBezTo>
                    <a:pt x="30414" y="93134"/>
                    <a:pt x="30414" y="93134"/>
                    <a:pt x="30414" y="93134"/>
                  </a:cubicBezTo>
                  <a:cubicBezTo>
                    <a:pt x="30414" y="93134"/>
                    <a:pt x="26543" y="94029"/>
                    <a:pt x="25990" y="94029"/>
                  </a:cubicBezTo>
                  <a:cubicBezTo>
                    <a:pt x="25437" y="94029"/>
                    <a:pt x="22672" y="95820"/>
                    <a:pt x="22672" y="95820"/>
                  </a:cubicBezTo>
                  <a:cubicBezTo>
                    <a:pt x="18801" y="94925"/>
                    <a:pt x="18801" y="94925"/>
                    <a:pt x="18801" y="94925"/>
                  </a:cubicBezTo>
                  <a:cubicBezTo>
                    <a:pt x="17142" y="97611"/>
                    <a:pt x="17142" y="97611"/>
                    <a:pt x="17142" y="97611"/>
                  </a:cubicBezTo>
                  <a:cubicBezTo>
                    <a:pt x="13824" y="101194"/>
                    <a:pt x="13824" y="101194"/>
                    <a:pt x="13824" y="101194"/>
                  </a:cubicBezTo>
                  <a:cubicBezTo>
                    <a:pt x="11612" y="101194"/>
                    <a:pt x="11612" y="101194"/>
                    <a:pt x="11612" y="101194"/>
                  </a:cubicBezTo>
                  <a:cubicBezTo>
                    <a:pt x="10506" y="105671"/>
                    <a:pt x="10506" y="105671"/>
                    <a:pt x="10506" y="105671"/>
                  </a:cubicBezTo>
                  <a:cubicBezTo>
                    <a:pt x="8294" y="107462"/>
                    <a:pt x="8294" y="107462"/>
                    <a:pt x="8294" y="107462"/>
                  </a:cubicBezTo>
                  <a:cubicBezTo>
                    <a:pt x="7741" y="109253"/>
                    <a:pt x="7741" y="109253"/>
                    <a:pt x="7741" y="109253"/>
                  </a:cubicBezTo>
                  <a:cubicBezTo>
                    <a:pt x="7188" y="114626"/>
                    <a:pt x="7188" y="114626"/>
                    <a:pt x="7188" y="114626"/>
                  </a:cubicBezTo>
                  <a:cubicBezTo>
                    <a:pt x="7188" y="114626"/>
                    <a:pt x="5529" y="115522"/>
                    <a:pt x="4423" y="115522"/>
                  </a:cubicBezTo>
                  <a:cubicBezTo>
                    <a:pt x="3870" y="116417"/>
                    <a:pt x="4976" y="117313"/>
                    <a:pt x="4976" y="117313"/>
                  </a:cubicBezTo>
                  <a:cubicBezTo>
                    <a:pt x="4423" y="120000"/>
                    <a:pt x="4423" y="120000"/>
                    <a:pt x="4423" y="120000"/>
                  </a:cubicBezTo>
                  <a:cubicBezTo>
                    <a:pt x="4423" y="120000"/>
                    <a:pt x="3870" y="119104"/>
                    <a:pt x="3870" y="119104"/>
                  </a:cubicBezTo>
                  <a:cubicBezTo>
                    <a:pt x="3870" y="119104"/>
                    <a:pt x="3317" y="116417"/>
                    <a:pt x="2764" y="114626"/>
                  </a:cubicBezTo>
                  <a:cubicBezTo>
                    <a:pt x="1658" y="112835"/>
                    <a:pt x="552" y="104776"/>
                    <a:pt x="552" y="104776"/>
                  </a:cubicBezTo>
                  <a:cubicBezTo>
                    <a:pt x="1658" y="101194"/>
                    <a:pt x="1658" y="101194"/>
                    <a:pt x="1658" y="101194"/>
                  </a:cubicBezTo>
                  <a:cubicBezTo>
                    <a:pt x="1658" y="101194"/>
                    <a:pt x="1658" y="97611"/>
                    <a:pt x="1658" y="96716"/>
                  </a:cubicBezTo>
                  <a:cubicBezTo>
                    <a:pt x="1105" y="94925"/>
                    <a:pt x="552" y="86865"/>
                    <a:pt x="552" y="86865"/>
                  </a:cubicBezTo>
                  <a:cubicBezTo>
                    <a:pt x="552" y="86865"/>
                    <a:pt x="0" y="83283"/>
                    <a:pt x="0" y="82388"/>
                  </a:cubicBezTo>
                  <a:cubicBezTo>
                    <a:pt x="0" y="81492"/>
                    <a:pt x="3870" y="74328"/>
                    <a:pt x="3870" y="74328"/>
                  </a:cubicBezTo>
                  <a:cubicBezTo>
                    <a:pt x="3870" y="73432"/>
                    <a:pt x="4423" y="66268"/>
                    <a:pt x="4423" y="66268"/>
                  </a:cubicBezTo>
                  <a:cubicBezTo>
                    <a:pt x="3317" y="60895"/>
                    <a:pt x="3317" y="60895"/>
                    <a:pt x="3317" y="60895"/>
                  </a:cubicBezTo>
                  <a:cubicBezTo>
                    <a:pt x="4423" y="53731"/>
                    <a:pt x="4423" y="53731"/>
                    <a:pt x="4423" y="53731"/>
                  </a:cubicBezTo>
                  <a:cubicBezTo>
                    <a:pt x="5529" y="45671"/>
                    <a:pt x="5529" y="45671"/>
                    <a:pt x="5529" y="45671"/>
                  </a:cubicBezTo>
                  <a:cubicBezTo>
                    <a:pt x="5529" y="45671"/>
                    <a:pt x="6082" y="42089"/>
                    <a:pt x="6635" y="42089"/>
                  </a:cubicBezTo>
                  <a:cubicBezTo>
                    <a:pt x="7188" y="41194"/>
                    <a:pt x="10506" y="40298"/>
                    <a:pt x="10506" y="40298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5" name="Shape 2026"/>
            <p:cNvSpPr/>
            <p:nvPr/>
          </p:nvSpPr>
          <p:spPr>
            <a:xfrm>
              <a:off x="5535001" y="3399175"/>
              <a:ext cx="359513" cy="30790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126" y="71654"/>
                  </a:moveTo>
                  <a:cubicBezTo>
                    <a:pt x="110886" y="71654"/>
                    <a:pt x="110886" y="71654"/>
                    <a:pt x="110886" y="71654"/>
                  </a:cubicBezTo>
                  <a:cubicBezTo>
                    <a:pt x="110886" y="71654"/>
                    <a:pt x="110886" y="71654"/>
                    <a:pt x="110886" y="71654"/>
                  </a:cubicBezTo>
                  <a:cubicBezTo>
                    <a:pt x="110126" y="71654"/>
                    <a:pt x="110126" y="71654"/>
                    <a:pt x="110126" y="71654"/>
                  </a:cubicBezTo>
                  <a:close/>
                  <a:moveTo>
                    <a:pt x="100253" y="7769"/>
                  </a:moveTo>
                  <a:cubicBezTo>
                    <a:pt x="100253" y="7769"/>
                    <a:pt x="100253" y="7769"/>
                    <a:pt x="100253" y="7769"/>
                  </a:cubicBezTo>
                  <a:cubicBezTo>
                    <a:pt x="104810" y="8633"/>
                    <a:pt x="104810" y="8633"/>
                    <a:pt x="104810" y="8633"/>
                  </a:cubicBezTo>
                  <a:cubicBezTo>
                    <a:pt x="107088" y="9496"/>
                    <a:pt x="107088" y="9496"/>
                    <a:pt x="107088" y="9496"/>
                  </a:cubicBezTo>
                  <a:cubicBezTo>
                    <a:pt x="107088" y="12086"/>
                    <a:pt x="107088" y="12086"/>
                    <a:pt x="107088" y="12086"/>
                  </a:cubicBezTo>
                  <a:cubicBezTo>
                    <a:pt x="107088" y="15539"/>
                    <a:pt x="107088" y="15539"/>
                    <a:pt x="107088" y="15539"/>
                  </a:cubicBezTo>
                  <a:cubicBezTo>
                    <a:pt x="107088" y="18129"/>
                    <a:pt x="107088" y="18129"/>
                    <a:pt x="107088" y="18129"/>
                  </a:cubicBezTo>
                  <a:cubicBezTo>
                    <a:pt x="104810" y="21582"/>
                    <a:pt x="104810" y="21582"/>
                    <a:pt x="104810" y="21582"/>
                  </a:cubicBezTo>
                  <a:cubicBezTo>
                    <a:pt x="104810" y="21582"/>
                    <a:pt x="104050" y="24172"/>
                    <a:pt x="104050" y="24172"/>
                  </a:cubicBezTo>
                  <a:cubicBezTo>
                    <a:pt x="104050" y="25035"/>
                    <a:pt x="103291" y="26762"/>
                    <a:pt x="103291" y="26762"/>
                  </a:cubicBezTo>
                  <a:cubicBezTo>
                    <a:pt x="103291" y="26762"/>
                    <a:pt x="101772" y="25899"/>
                    <a:pt x="102531" y="28489"/>
                  </a:cubicBezTo>
                  <a:cubicBezTo>
                    <a:pt x="102531" y="31079"/>
                    <a:pt x="103291" y="30215"/>
                    <a:pt x="103291" y="31079"/>
                  </a:cubicBezTo>
                  <a:cubicBezTo>
                    <a:pt x="103291" y="31942"/>
                    <a:pt x="103291" y="33669"/>
                    <a:pt x="103291" y="34532"/>
                  </a:cubicBezTo>
                  <a:cubicBezTo>
                    <a:pt x="102531" y="35395"/>
                    <a:pt x="103291" y="35395"/>
                    <a:pt x="102531" y="36258"/>
                  </a:cubicBezTo>
                  <a:cubicBezTo>
                    <a:pt x="102531" y="37122"/>
                    <a:pt x="104050" y="37985"/>
                    <a:pt x="105569" y="37985"/>
                  </a:cubicBezTo>
                  <a:cubicBezTo>
                    <a:pt x="107088" y="38848"/>
                    <a:pt x="107088" y="37985"/>
                    <a:pt x="107848" y="37985"/>
                  </a:cubicBezTo>
                  <a:cubicBezTo>
                    <a:pt x="108607" y="37985"/>
                    <a:pt x="109367" y="38848"/>
                    <a:pt x="110126" y="38848"/>
                  </a:cubicBezTo>
                  <a:cubicBezTo>
                    <a:pt x="110886" y="39712"/>
                    <a:pt x="110886" y="39712"/>
                    <a:pt x="110886" y="40575"/>
                  </a:cubicBezTo>
                  <a:cubicBezTo>
                    <a:pt x="111645" y="41438"/>
                    <a:pt x="112405" y="42302"/>
                    <a:pt x="113164" y="43165"/>
                  </a:cubicBezTo>
                  <a:cubicBezTo>
                    <a:pt x="113924" y="43165"/>
                    <a:pt x="113924" y="42302"/>
                    <a:pt x="114683" y="42302"/>
                  </a:cubicBezTo>
                  <a:cubicBezTo>
                    <a:pt x="114683" y="43165"/>
                    <a:pt x="115443" y="44028"/>
                    <a:pt x="116202" y="44028"/>
                  </a:cubicBezTo>
                  <a:cubicBezTo>
                    <a:pt x="116202" y="44892"/>
                    <a:pt x="116962" y="45755"/>
                    <a:pt x="117721" y="45755"/>
                  </a:cubicBezTo>
                  <a:cubicBezTo>
                    <a:pt x="117721" y="45755"/>
                    <a:pt x="119240" y="46618"/>
                    <a:pt x="119240" y="46618"/>
                  </a:cubicBezTo>
                  <a:cubicBezTo>
                    <a:pt x="120000" y="47482"/>
                    <a:pt x="119240" y="48345"/>
                    <a:pt x="119240" y="48345"/>
                  </a:cubicBezTo>
                  <a:cubicBezTo>
                    <a:pt x="118481" y="48345"/>
                    <a:pt x="118481" y="50071"/>
                    <a:pt x="117721" y="50071"/>
                  </a:cubicBezTo>
                  <a:cubicBezTo>
                    <a:pt x="117721" y="50071"/>
                    <a:pt x="115443" y="50935"/>
                    <a:pt x="115443" y="50935"/>
                  </a:cubicBezTo>
                  <a:cubicBezTo>
                    <a:pt x="114683" y="50935"/>
                    <a:pt x="113924" y="50935"/>
                    <a:pt x="113164" y="50935"/>
                  </a:cubicBezTo>
                  <a:cubicBezTo>
                    <a:pt x="112405" y="50935"/>
                    <a:pt x="111645" y="50935"/>
                    <a:pt x="110886" y="50071"/>
                  </a:cubicBezTo>
                  <a:cubicBezTo>
                    <a:pt x="110126" y="50071"/>
                    <a:pt x="110126" y="50071"/>
                    <a:pt x="109367" y="50071"/>
                  </a:cubicBezTo>
                  <a:cubicBezTo>
                    <a:pt x="109367" y="50935"/>
                    <a:pt x="109367" y="52661"/>
                    <a:pt x="109367" y="52661"/>
                  </a:cubicBezTo>
                  <a:cubicBezTo>
                    <a:pt x="109367" y="52661"/>
                    <a:pt x="110126" y="53525"/>
                    <a:pt x="110886" y="54388"/>
                  </a:cubicBezTo>
                  <a:cubicBezTo>
                    <a:pt x="110886" y="54388"/>
                    <a:pt x="112405" y="56115"/>
                    <a:pt x="113164" y="56115"/>
                  </a:cubicBezTo>
                  <a:cubicBezTo>
                    <a:pt x="113164" y="56115"/>
                    <a:pt x="113924" y="56978"/>
                    <a:pt x="114683" y="57841"/>
                  </a:cubicBezTo>
                  <a:cubicBezTo>
                    <a:pt x="115443" y="59568"/>
                    <a:pt x="115443" y="60431"/>
                    <a:pt x="115443" y="60431"/>
                  </a:cubicBezTo>
                  <a:cubicBezTo>
                    <a:pt x="119240" y="63884"/>
                    <a:pt x="119240" y="63884"/>
                    <a:pt x="119240" y="63884"/>
                  </a:cubicBezTo>
                  <a:cubicBezTo>
                    <a:pt x="119240" y="63884"/>
                    <a:pt x="119240" y="64748"/>
                    <a:pt x="119240" y="67338"/>
                  </a:cubicBezTo>
                  <a:cubicBezTo>
                    <a:pt x="119240" y="70791"/>
                    <a:pt x="118481" y="69064"/>
                    <a:pt x="117721" y="69064"/>
                  </a:cubicBezTo>
                  <a:cubicBezTo>
                    <a:pt x="116962" y="69064"/>
                    <a:pt x="116202" y="69064"/>
                    <a:pt x="114683" y="68201"/>
                  </a:cubicBezTo>
                  <a:cubicBezTo>
                    <a:pt x="113924" y="68201"/>
                    <a:pt x="113924" y="68201"/>
                    <a:pt x="113924" y="68201"/>
                  </a:cubicBezTo>
                  <a:cubicBezTo>
                    <a:pt x="112405" y="70791"/>
                    <a:pt x="112405" y="70791"/>
                    <a:pt x="112405" y="70791"/>
                  </a:cubicBezTo>
                  <a:cubicBezTo>
                    <a:pt x="112405" y="70791"/>
                    <a:pt x="110886" y="70791"/>
                    <a:pt x="110126" y="71654"/>
                  </a:cubicBezTo>
                  <a:cubicBezTo>
                    <a:pt x="109367" y="71654"/>
                    <a:pt x="109367" y="71654"/>
                    <a:pt x="109367" y="71654"/>
                  </a:cubicBezTo>
                  <a:cubicBezTo>
                    <a:pt x="109367" y="71654"/>
                    <a:pt x="107848" y="72517"/>
                    <a:pt x="107848" y="72517"/>
                  </a:cubicBezTo>
                  <a:cubicBezTo>
                    <a:pt x="107848" y="72517"/>
                    <a:pt x="107088" y="73381"/>
                    <a:pt x="107088" y="73381"/>
                  </a:cubicBezTo>
                  <a:cubicBezTo>
                    <a:pt x="106329" y="73381"/>
                    <a:pt x="106329" y="73381"/>
                    <a:pt x="106329" y="73381"/>
                  </a:cubicBezTo>
                  <a:cubicBezTo>
                    <a:pt x="105569" y="72517"/>
                    <a:pt x="105569" y="72517"/>
                    <a:pt x="105569" y="72517"/>
                  </a:cubicBezTo>
                  <a:cubicBezTo>
                    <a:pt x="104810" y="71654"/>
                    <a:pt x="104810" y="71654"/>
                    <a:pt x="104810" y="71654"/>
                  </a:cubicBezTo>
                  <a:cubicBezTo>
                    <a:pt x="103291" y="73381"/>
                    <a:pt x="103291" y="73381"/>
                    <a:pt x="103291" y="73381"/>
                  </a:cubicBezTo>
                  <a:cubicBezTo>
                    <a:pt x="102531" y="74244"/>
                    <a:pt x="102531" y="74244"/>
                    <a:pt x="102531" y="74244"/>
                  </a:cubicBezTo>
                  <a:cubicBezTo>
                    <a:pt x="102531" y="74244"/>
                    <a:pt x="102531" y="75107"/>
                    <a:pt x="102531" y="75107"/>
                  </a:cubicBezTo>
                  <a:cubicBezTo>
                    <a:pt x="102531" y="75107"/>
                    <a:pt x="104050" y="75107"/>
                    <a:pt x="104050" y="75107"/>
                  </a:cubicBezTo>
                  <a:cubicBezTo>
                    <a:pt x="104050" y="76834"/>
                    <a:pt x="104050" y="76834"/>
                    <a:pt x="104050" y="76834"/>
                  </a:cubicBezTo>
                  <a:cubicBezTo>
                    <a:pt x="104050" y="76834"/>
                    <a:pt x="104050" y="76834"/>
                    <a:pt x="104810" y="76834"/>
                  </a:cubicBezTo>
                  <a:cubicBezTo>
                    <a:pt x="104810" y="76834"/>
                    <a:pt x="105569" y="77697"/>
                    <a:pt x="105569" y="77697"/>
                  </a:cubicBezTo>
                  <a:cubicBezTo>
                    <a:pt x="106329" y="78561"/>
                    <a:pt x="106329" y="78561"/>
                    <a:pt x="106329" y="78561"/>
                  </a:cubicBezTo>
                  <a:cubicBezTo>
                    <a:pt x="106329" y="80287"/>
                    <a:pt x="106329" y="80287"/>
                    <a:pt x="106329" y="80287"/>
                  </a:cubicBezTo>
                  <a:cubicBezTo>
                    <a:pt x="107848" y="81151"/>
                    <a:pt x="107848" y="81151"/>
                    <a:pt x="107848" y="81151"/>
                  </a:cubicBezTo>
                  <a:cubicBezTo>
                    <a:pt x="107848" y="82877"/>
                    <a:pt x="107848" y="82877"/>
                    <a:pt x="107848" y="82877"/>
                  </a:cubicBezTo>
                  <a:cubicBezTo>
                    <a:pt x="107088" y="83741"/>
                    <a:pt x="107088" y="83741"/>
                    <a:pt x="107088" y="83741"/>
                  </a:cubicBezTo>
                  <a:cubicBezTo>
                    <a:pt x="106329" y="84604"/>
                    <a:pt x="106329" y="84604"/>
                    <a:pt x="106329" y="84604"/>
                  </a:cubicBezTo>
                  <a:cubicBezTo>
                    <a:pt x="104810" y="84604"/>
                    <a:pt x="104810" y="84604"/>
                    <a:pt x="104810" y="84604"/>
                  </a:cubicBezTo>
                  <a:cubicBezTo>
                    <a:pt x="104810" y="83741"/>
                    <a:pt x="104810" y="83741"/>
                    <a:pt x="104810" y="83741"/>
                  </a:cubicBezTo>
                  <a:cubicBezTo>
                    <a:pt x="104050" y="82014"/>
                    <a:pt x="104050" y="82014"/>
                    <a:pt x="104050" y="82014"/>
                  </a:cubicBezTo>
                  <a:cubicBezTo>
                    <a:pt x="103291" y="81151"/>
                    <a:pt x="103291" y="81151"/>
                    <a:pt x="103291" y="81151"/>
                  </a:cubicBezTo>
                  <a:cubicBezTo>
                    <a:pt x="101012" y="82014"/>
                    <a:pt x="101012" y="82014"/>
                    <a:pt x="101012" y="82014"/>
                  </a:cubicBezTo>
                  <a:cubicBezTo>
                    <a:pt x="101012" y="83741"/>
                    <a:pt x="101012" y="83741"/>
                    <a:pt x="101012" y="83741"/>
                  </a:cubicBezTo>
                  <a:cubicBezTo>
                    <a:pt x="97215" y="87194"/>
                    <a:pt x="97215" y="87194"/>
                    <a:pt x="97215" y="87194"/>
                  </a:cubicBezTo>
                  <a:cubicBezTo>
                    <a:pt x="97974" y="88920"/>
                    <a:pt x="97974" y="88920"/>
                    <a:pt x="97974" y="88920"/>
                  </a:cubicBezTo>
                  <a:cubicBezTo>
                    <a:pt x="96455" y="90647"/>
                    <a:pt x="96455" y="90647"/>
                    <a:pt x="96455" y="90647"/>
                  </a:cubicBezTo>
                  <a:cubicBezTo>
                    <a:pt x="96455" y="93237"/>
                    <a:pt x="96455" y="93237"/>
                    <a:pt x="96455" y="93237"/>
                  </a:cubicBezTo>
                  <a:cubicBezTo>
                    <a:pt x="97215" y="95827"/>
                    <a:pt x="97215" y="95827"/>
                    <a:pt x="97215" y="95827"/>
                  </a:cubicBezTo>
                  <a:cubicBezTo>
                    <a:pt x="97215" y="97553"/>
                    <a:pt x="97215" y="97553"/>
                    <a:pt x="97215" y="97553"/>
                  </a:cubicBezTo>
                  <a:cubicBezTo>
                    <a:pt x="94177" y="98417"/>
                    <a:pt x="94177" y="98417"/>
                    <a:pt x="94177" y="98417"/>
                  </a:cubicBezTo>
                  <a:cubicBezTo>
                    <a:pt x="91898" y="99280"/>
                    <a:pt x="91898" y="99280"/>
                    <a:pt x="91898" y="99280"/>
                  </a:cubicBezTo>
                  <a:cubicBezTo>
                    <a:pt x="91898" y="101870"/>
                    <a:pt x="91898" y="101870"/>
                    <a:pt x="91898" y="101870"/>
                  </a:cubicBezTo>
                  <a:cubicBezTo>
                    <a:pt x="91898" y="102733"/>
                    <a:pt x="91898" y="102733"/>
                    <a:pt x="91898" y="102733"/>
                  </a:cubicBezTo>
                  <a:cubicBezTo>
                    <a:pt x="94177" y="106187"/>
                    <a:pt x="94177" y="106187"/>
                    <a:pt x="94177" y="106187"/>
                  </a:cubicBezTo>
                  <a:cubicBezTo>
                    <a:pt x="93417" y="107050"/>
                    <a:pt x="93417" y="107050"/>
                    <a:pt x="93417" y="107050"/>
                  </a:cubicBezTo>
                  <a:cubicBezTo>
                    <a:pt x="92658" y="107913"/>
                    <a:pt x="92658" y="107913"/>
                    <a:pt x="92658" y="107913"/>
                  </a:cubicBezTo>
                  <a:cubicBezTo>
                    <a:pt x="94936" y="111366"/>
                    <a:pt x="94936" y="111366"/>
                    <a:pt x="94936" y="111366"/>
                  </a:cubicBezTo>
                  <a:cubicBezTo>
                    <a:pt x="95696" y="112230"/>
                    <a:pt x="95696" y="112230"/>
                    <a:pt x="95696" y="112230"/>
                  </a:cubicBezTo>
                  <a:cubicBezTo>
                    <a:pt x="97215" y="112230"/>
                    <a:pt x="97215" y="112230"/>
                    <a:pt x="97215" y="112230"/>
                  </a:cubicBezTo>
                  <a:cubicBezTo>
                    <a:pt x="97215" y="113956"/>
                    <a:pt x="97215" y="113956"/>
                    <a:pt x="97215" y="113956"/>
                  </a:cubicBezTo>
                  <a:cubicBezTo>
                    <a:pt x="97215" y="114820"/>
                    <a:pt x="97215" y="114820"/>
                    <a:pt x="97215" y="114820"/>
                  </a:cubicBezTo>
                  <a:cubicBezTo>
                    <a:pt x="97215" y="116546"/>
                    <a:pt x="97215" y="116546"/>
                    <a:pt x="97215" y="116546"/>
                  </a:cubicBezTo>
                  <a:cubicBezTo>
                    <a:pt x="95696" y="118273"/>
                    <a:pt x="95696" y="118273"/>
                    <a:pt x="95696" y="118273"/>
                  </a:cubicBezTo>
                  <a:cubicBezTo>
                    <a:pt x="96455" y="120000"/>
                    <a:pt x="96455" y="120000"/>
                    <a:pt x="96455" y="120000"/>
                  </a:cubicBezTo>
                  <a:cubicBezTo>
                    <a:pt x="94936" y="119136"/>
                    <a:pt x="94936" y="119136"/>
                    <a:pt x="94936" y="119136"/>
                  </a:cubicBezTo>
                  <a:cubicBezTo>
                    <a:pt x="94177" y="120000"/>
                    <a:pt x="94177" y="120000"/>
                    <a:pt x="94177" y="120000"/>
                  </a:cubicBezTo>
                  <a:cubicBezTo>
                    <a:pt x="94177" y="120000"/>
                    <a:pt x="94177" y="120000"/>
                    <a:pt x="94177" y="120000"/>
                  </a:cubicBezTo>
                  <a:cubicBezTo>
                    <a:pt x="91898" y="119136"/>
                    <a:pt x="91898" y="119136"/>
                    <a:pt x="91898" y="119136"/>
                  </a:cubicBezTo>
                  <a:cubicBezTo>
                    <a:pt x="91898" y="119136"/>
                    <a:pt x="90379" y="120000"/>
                    <a:pt x="89620" y="120000"/>
                  </a:cubicBezTo>
                  <a:cubicBezTo>
                    <a:pt x="89620" y="120000"/>
                    <a:pt x="88860" y="120000"/>
                    <a:pt x="88860" y="120000"/>
                  </a:cubicBezTo>
                  <a:cubicBezTo>
                    <a:pt x="88860" y="120000"/>
                    <a:pt x="87341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0506" y="115683"/>
                    <a:pt x="80506" y="115683"/>
                    <a:pt x="80506" y="115683"/>
                  </a:cubicBezTo>
                  <a:cubicBezTo>
                    <a:pt x="76708" y="113093"/>
                    <a:pt x="76708" y="113093"/>
                    <a:pt x="76708" y="113093"/>
                  </a:cubicBezTo>
                  <a:cubicBezTo>
                    <a:pt x="75189" y="111366"/>
                    <a:pt x="75189" y="111366"/>
                    <a:pt x="75189" y="111366"/>
                  </a:cubicBezTo>
                  <a:cubicBezTo>
                    <a:pt x="74430" y="107913"/>
                    <a:pt x="74430" y="107913"/>
                    <a:pt x="74430" y="107913"/>
                  </a:cubicBezTo>
                  <a:cubicBezTo>
                    <a:pt x="70632" y="107050"/>
                    <a:pt x="70632" y="107050"/>
                    <a:pt x="70632" y="107050"/>
                  </a:cubicBezTo>
                  <a:cubicBezTo>
                    <a:pt x="70632" y="104460"/>
                    <a:pt x="66075" y="108776"/>
                    <a:pt x="67594" y="103597"/>
                  </a:cubicBezTo>
                  <a:cubicBezTo>
                    <a:pt x="67594" y="103597"/>
                    <a:pt x="67594" y="102733"/>
                    <a:pt x="67594" y="102733"/>
                  </a:cubicBezTo>
                  <a:cubicBezTo>
                    <a:pt x="67594" y="102733"/>
                    <a:pt x="67594" y="102733"/>
                    <a:pt x="67594" y="102733"/>
                  </a:cubicBezTo>
                  <a:cubicBezTo>
                    <a:pt x="67594" y="101870"/>
                    <a:pt x="66075" y="100143"/>
                    <a:pt x="66075" y="100143"/>
                  </a:cubicBezTo>
                  <a:cubicBezTo>
                    <a:pt x="61518" y="97553"/>
                    <a:pt x="60759" y="94964"/>
                    <a:pt x="58481" y="94100"/>
                  </a:cubicBezTo>
                  <a:cubicBezTo>
                    <a:pt x="57721" y="94100"/>
                    <a:pt x="57721" y="94100"/>
                    <a:pt x="57721" y="94100"/>
                  </a:cubicBezTo>
                  <a:cubicBezTo>
                    <a:pt x="54683" y="90647"/>
                    <a:pt x="54683" y="90647"/>
                    <a:pt x="54683" y="90647"/>
                  </a:cubicBezTo>
                  <a:cubicBezTo>
                    <a:pt x="53164" y="89784"/>
                    <a:pt x="53164" y="89784"/>
                    <a:pt x="53164" y="89784"/>
                  </a:cubicBezTo>
                  <a:cubicBezTo>
                    <a:pt x="51645" y="88057"/>
                    <a:pt x="51645" y="88057"/>
                    <a:pt x="51645" y="88057"/>
                  </a:cubicBezTo>
                  <a:cubicBezTo>
                    <a:pt x="51645" y="86330"/>
                    <a:pt x="51645" y="86330"/>
                    <a:pt x="51645" y="86330"/>
                  </a:cubicBezTo>
                  <a:cubicBezTo>
                    <a:pt x="50886" y="82877"/>
                    <a:pt x="50886" y="82877"/>
                    <a:pt x="50886" y="82877"/>
                  </a:cubicBezTo>
                  <a:cubicBezTo>
                    <a:pt x="50886" y="82877"/>
                    <a:pt x="50886" y="82877"/>
                    <a:pt x="50886" y="82877"/>
                  </a:cubicBezTo>
                  <a:cubicBezTo>
                    <a:pt x="50886" y="82877"/>
                    <a:pt x="47848" y="82014"/>
                    <a:pt x="46329" y="81151"/>
                  </a:cubicBezTo>
                  <a:cubicBezTo>
                    <a:pt x="44810" y="80287"/>
                    <a:pt x="44810" y="80287"/>
                    <a:pt x="44810" y="80287"/>
                  </a:cubicBezTo>
                  <a:cubicBezTo>
                    <a:pt x="43291" y="77697"/>
                    <a:pt x="43291" y="77697"/>
                    <a:pt x="43291" y="77697"/>
                  </a:cubicBezTo>
                  <a:cubicBezTo>
                    <a:pt x="42531" y="76834"/>
                    <a:pt x="42531" y="76834"/>
                    <a:pt x="42531" y="76834"/>
                  </a:cubicBezTo>
                  <a:cubicBezTo>
                    <a:pt x="40253" y="74244"/>
                    <a:pt x="40253" y="74244"/>
                    <a:pt x="40253" y="74244"/>
                  </a:cubicBezTo>
                  <a:cubicBezTo>
                    <a:pt x="39493" y="74244"/>
                    <a:pt x="39493" y="74244"/>
                    <a:pt x="39493" y="74244"/>
                  </a:cubicBezTo>
                  <a:cubicBezTo>
                    <a:pt x="35696" y="72517"/>
                    <a:pt x="35696" y="72517"/>
                    <a:pt x="35696" y="72517"/>
                  </a:cubicBezTo>
                  <a:cubicBezTo>
                    <a:pt x="34936" y="70791"/>
                    <a:pt x="34936" y="70791"/>
                    <a:pt x="34936" y="70791"/>
                  </a:cubicBezTo>
                  <a:cubicBezTo>
                    <a:pt x="33417" y="69928"/>
                    <a:pt x="33417" y="69928"/>
                    <a:pt x="33417" y="69928"/>
                  </a:cubicBezTo>
                  <a:cubicBezTo>
                    <a:pt x="32658" y="68201"/>
                    <a:pt x="32658" y="68201"/>
                    <a:pt x="32658" y="68201"/>
                  </a:cubicBezTo>
                  <a:cubicBezTo>
                    <a:pt x="30379" y="67338"/>
                    <a:pt x="30379" y="67338"/>
                    <a:pt x="30379" y="67338"/>
                  </a:cubicBezTo>
                  <a:cubicBezTo>
                    <a:pt x="29620" y="65611"/>
                    <a:pt x="29620" y="65611"/>
                    <a:pt x="29620" y="65611"/>
                  </a:cubicBezTo>
                  <a:cubicBezTo>
                    <a:pt x="28860" y="64748"/>
                    <a:pt x="28860" y="64748"/>
                    <a:pt x="28860" y="64748"/>
                  </a:cubicBezTo>
                  <a:cubicBezTo>
                    <a:pt x="26582" y="61294"/>
                    <a:pt x="26582" y="61294"/>
                    <a:pt x="26582" y="61294"/>
                  </a:cubicBezTo>
                  <a:cubicBezTo>
                    <a:pt x="24303" y="59568"/>
                    <a:pt x="24303" y="59568"/>
                    <a:pt x="24303" y="59568"/>
                  </a:cubicBezTo>
                  <a:cubicBezTo>
                    <a:pt x="23544" y="58705"/>
                    <a:pt x="23544" y="58705"/>
                    <a:pt x="23544" y="58705"/>
                  </a:cubicBezTo>
                  <a:cubicBezTo>
                    <a:pt x="22784" y="57841"/>
                    <a:pt x="22784" y="57841"/>
                    <a:pt x="22784" y="57841"/>
                  </a:cubicBezTo>
                  <a:cubicBezTo>
                    <a:pt x="21265" y="55251"/>
                    <a:pt x="21265" y="55251"/>
                    <a:pt x="21265" y="55251"/>
                  </a:cubicBezTo>
                  <a:cubicBezTo>
                    <a:pt x="18987" y="52661"/>
                    <a:pt x="18987" y="52661"/>
                    <a:pt x="18987" y="52661"/>
                  </a:cubicBezTo>
                  <a:cubicBezTo>
                    <a:pt x="17468" y="50935"/>
                    <a:pt x="17468" y="50935"/>
                    <a:pt x="17468" y="50935"/>
                  </a:cubicBezTo>
                  <a:cubicBezTo>
                    <a:pt x="15949" y="48345"/>
                    <a:pt x="15949" y="48345"/>
                    <a:pt x="15949" y="48345"/>
                  </a:cubicBezTo>
                  <a:cubicBezTo>
                    <a:pt x="17468" y="46618"/>
                    <a:pt x="17468" y="46618"/>
                    <a:pt x="17468" y="46618"/>
                  </a:cubicBezTo>
                  <a:cubicBezTo>
                    <a:pt x="16708" y="45755"/>
                    <a:pt x="15949" y="45755"/>
                    <a:pt x="15949" y="44892"/>
                  </a:cubicBezTo>
                  <a:cubicBezTo>
                    <a:pt x="15189" y="44892"/>
                    <a:pt x="13670" y="44028"/>
                    <a:pt x="14430" y="43165"/>
                  </a:cubicBezTo>
                  <a:cubicBezTo>
                    <a:pt x="14430" y="42302"/>
                    <a:pt x="13670" y="41438"/>
                    <a:pt x="13670" y="39712"/>
                  </a:cubicBezTo>
                  <a:cubicBezTo>
                    <a:pt x="13670" y="38848"/>
                    <a:pt x="13670" y="37985"/>
                    <a:pt x="12911" y="37985"/>
                  </a:cubicBezTo>
                  <a:cubicBezTo>
                    <a:pt x="12151" y="37122"/>
                    <a:pt x="12151" y="37122"/>
                    <a:pt x="12151" y="37122"/>
                  </a:cubicBezTo>
                  <a:cubicBezTo>
                    <a:pt x="11392" y="37122"/>
                    <a:pt x="10632" y="37122"/>
                    <a:pt x="10632" y="37122"/>
                  </a:cubicBezTo>
                  <a:cubicBezTo>
                    <a:pt x="9873" y="37122"/>
                    <a:pt x="9873" y="37122"/>
                    <a:pt x="9873" y="37122"/>
                  </a:cubicBezTo>
                  <a:cubicBezTo>
                    <a:pt x="9873" y="37122"/>
                    <a:pt x="10632" y="35395"/>
                    <a:pt x="10632" y="33669"/>
                  </a:cubicBezTo>
                  <a:cubicBezTo>
                    <a:pt x="7594" y="32805"/>
                    <a:pt x="7594" y="32805"/>
                    <a:pt x="7594" y="32805"/>
                  </a:cubicBezTo>
                  <a:cubicBezTo>
                    <a:pt x="7594" y="32805"/>
                    <a:pt x="7594" y="30215"/>
                    <a:pt x="6075" y="29352"/>
                  </a:cubicBezTo>
                  <a:cubicBezTo>
                    <a:pt x="4556" y="29352"/>
                    <a:pt x="4556" y="29352"/>
                    <a:pt x="4556" y="29352"/>
                  </a:cubicBezTo>
                  <a:cubicBezTo>
                    <a:pt x="3797" y="30215"/>
                    <a:pt x="3797" y="31079"/>
                    <a:pt x="3797" y="31079"/>
                  </a:cubicBezTo>
                  <a:cubicBezTo>
                    <a:pt x="759" y="27625"/>
                    <a:pt x="759" y="27625"/>
                    <a:pt x="759" y="27625"/>
                  </a:cubicBezTo>
                  <a:cubicBezTo>
                    <a:pt x="759" y="27625"/>
                    <a:pt x="759" y="26762"/>
                    <a:pt x="1518" y="25035"/>
                  </a:cubicBezTo>
                  <a:cubicBezTo>
                    <a:pt x="3037" y="23309"/>
                    <a:pt x="1518" y="22446"/>
                    <a:pt x="1518" y="22446"/>
                  </a:cubicBezTo>
                  <a:cubicBezTo>
                    <a:pt x="759" y="19856"/>
                    <a:pt x="759" y="19856"/>
                    <a:pt x="759" y="19856"/>
                  </a:cubicBezTo>
                  <a:cubicBezTo>
                    <a:pt x="1518" y="18129"/>
                    <a:pt x="1518" y="18129"/>
                    <a:pt x="1518" y="18129"/>
                  </a:cubicBezTo>
                  <a:cubicBezTo>
                    <a:pt x="759" y="17266"/>
                    <a:pt x="759" y="17266"/>
                    <a:pt x="759" y="17266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1518" y="12949"/>
                    <a:pt x="1518" y="12949"/>
                    <a:pt x="1518" y="12949"/>
                  </a:cubicBezTo>
                  <a:cubicBezTo>
                    <a:pt x="1518" y="12949"/>
                    <a:pt x="759" y="11223"/>
                    <a:pt x="759" y="9496"/>
                  </a:cubicBezTo>
                  <a:cubicBezTo>
                    <a:pt x="759" y="9496"/>
                    <a:pt x="1518" y="8633"/>
                    <a:pt x="1518" y="8633"/>
                  </a:cubicBezTo>
                  <a:cubicBezTo>
                    <a:pt x="1518" y="8633"/>
                    <a:pt x="1518" y="8633"/>
                    <a:pt x="1518" y="8633"/>
                  </a:cubicBezTo>
                  <a:cubicBezTo>
                    <a:pt x="1518" y="7769"/>
                    <a:pt x="1518" y="7769"/>
                    <a:pt x="1518" y="7769"/>
                  </a:cubicBezTo>
                  <a:cubicBezTo>
                    <a:pt x="1518" y="7769"/>
                    <a:pt x="1518" y="7769"/>
                    <a:pt x="1518" y="7769"/>
                  </a:cubicBezTo>
                  <a:cubicBezTo>
                    <a:pt x="2278" y="7769"/>
                    <a:pt x="2278" y="7769"/>
                    <a:pt x="2278" y="7769"/>
                  </a:cubicBezTo>
                  <a:cubicBezTo>
                    <a:pt x="2278" y="7769"/>
                    <a:pt x="2278" y="7769"/>
                    <a:pt x="2278" y="7769"/>
                  </a:cubicBezTo>
                  <a:cubicBezTo>
                    <a:pt x="2278" y="6906"/>
                    <a:pt x="6075" y="6043"/>
                    <a:pt x="6075" y="6043"/>
                  </a:cubicBezTo>
                  <a:cubicBezTo>
                    <a:pt x="7594" y="5179"/>
                    <a:pt x="7594" y="5179"/>
                    <a:pt x="7594" y="5179"/>
                  </a:cubicBezTo>
                  <a:cubicBezTo>
                    <a:pt x="10632" y="9496"/>
                    <a:pt x="10632" y="9496"/>
                    <a:pt x="10632" y="9496"/>
                  </a:cubicBezTo>
                  <a:cubicBezTo>
                    <a:pt x="13670" y="12949"/>
                    <a:pt x="13670" y="12949"/>
                    <a:pt x="13670" y="12949"/>
                  </a:cubicBezTo>
                  <a:cubicBezTo>
                    <a:pt x="15949" y="14676"/>
                    <a:pt x="15949" y="14676"/>
                    <a:pt x="15949" y="14676"/>
                  </a:cubicBezTo>
                  <a:cubicBezTo>
                    <a:pt x="15949" y="14676"/>
                    <a:pt x="16708" y="13812"/>
                    <a:pt x="17468" y="13812"/>
                  </a:cubicBezTo>
                  <a:cubicBezTo>
                    <a:pt x="17468" y="12949"/>
                    <a:pt x="17468" y="11223"/>
                    <a:pt x="17468" y="11223"/>
                  </a:cubicBezTo>
                  <a:cubicBezTo>
                    <a:pt x="18987" y="9496"/>
                    <a:pt x="18987" y="9496"/>
                    <a:pt x="18987" y="9496"/>
                  </a:cubicBezTo>
                  <a:cubicBezTo>
                    <a:pt x="19746" y="7769"/>
                    <a:pt x="19746" y="7769"/>
                    <a:pt x="19746" y="7769"/>
                  </a:cubicBezTo>
                  <a:cubicBezTo>
                    <a:pt x="19746" y="6043"/>
                    <a:pt x="19746" y="6043"/>
                    <a:pt x="19746" y="6043"/>
                  </a:cubicBezTo>
                  <a:cubicBezTo>
                    <a:pt x="21265" y="5179"/>
                    <a:pt x="21265" y="5179"/>
                    <a:pt x="21265" y="5179"/>
                  </a:cubicBezTo>
                  <a:cubicBezTo>
                    <a:pt x="23544" y="4316"/>
                    <a:pt x="23544" y="4316"/>
                    <a:pt x="23544" y="4316"/>
                  </a:cubicBezTo>
                  <a:cubicBezTo>
                    <a:pt x="26582" y="3453"/>
                    <a:pt x="26582" y="3453"/>
                    <a:pt x="26582" y="3453"/>
                  </a:cubicBezTo>
                  <a:cubicBezTo>
                    <a:pt x="26582" y="3453"/>
                    <a:pt x="28860" y="4316"/>
                    <a:pt x="29620" y="4316"/>
                  </a:cubicBezTo>
                  <a:cubicBezTo>
                    <a:pt x="29620" y="4316"/>
                    <a:pt x="30379" y="4316"/>
                    <a:pt x="30379" y="4316"/>
                  </a:cubicBezTo>
                  <a:cubicBezTo>
                    <a:pt x="31898" y="1726"/>
                    <a:pt x="31898" y="1726"/>
                    <a:pt x="31898" y="1726"/>
                  </a:cubicBezTo>
                  <a:cubicBezTo>
                    <a:pt x="31898" y="1726"/>
                    <a:pt x="31898" y="1726"/>
                    <a:pt x="31898" y="1726"/>
                  </a:cubicBezTo>
                  <a:cubicBezTo>
                    <a:pt x="32658" y="0"/>
                    <a:pt x="32658" y="0"/>
                    <a:pt x="32658" y="0"/>
                  </a:cubicBezTo>
                  <a:cubicBezTo>
                    <a:pt x="36455" y="1726"/>
                    <a:pt x="36455" y="1726"/>
                    <a:pt x="36455" y="1726"/>
                  </a:cubicBezTo>
                  <a:cubicBezTo>
                    <a:pt x="37974" y="3453"/>
                    <a:pt x="37974" y="3453"/>
                    <a:pt x="37974" y="3453"/>
                  </a:cubicBezTo>
                  <a:cubicBezTo>
                    <a:pt x="41772" y="4316"/>
                    <a:pt x="41772" y="4316"/>
                    <a:pt x="41772" y="4316"/>
                  </a:cubicBezTo>
                  <a:cubicBezTo>
                    <a:pt x="41772" y="4316"/>
                    <a:pt x="41772" y="4316"/>
                    <a:pt x="41772" y="4316"/>
                  </a:cubicBezTo>
                  <a:cubicBezTo>
                    <a:pt x="43291" y="4316"/>
                    <a:pt x="43291" y="4316"/>
                    <a:pt x="43291" y="4316"/>
                  </a:cubicBezTo>
                  <a:cubicBezTo>
                    <a:pt x="43291" y="3453"/>
                    <a:pt x="43291" y="3453"/>
                    <a:pt x="43291" y="3453"/>
                  </a:cubicBezTo>
                  <a:cubicBezTo>
                    <a:pt x="46329" y="3453"/>
                    <a:pt x="46329" y="3453"/>
                    <a:pt x="46329" y="3453"/>
                  </a:cubicBezTo>
                  <a:cubicBezTo>
                    <a:pt x="50126" y="4316"/>
                    <a:pt x="50126" y="4316"/>
                    <a:pt x="50126" y="4316"/>
                  </a:cubicBezTo>
                  <a:cubicBezTo>
                    <a:pt x="52405" y="4316"/>
                    <a:pt x="52405" y="4316"/>
                    <a:pt x="52405" y="4316"/>
                  </a:cubicBezTo>
                  <a:cubicBezTo>
                    <a:pt x="56202" y="4316"/>
                    <a:pt x="56202" y="4316"/>
                    <a:pt x="56202" y="4316"/>
                  </a:cubicBezTo>
                  <a:cubicBezTo>
                    <a:pt x="58481" y="5179"/>
                    <a:pt x="58481" y="5179"/>
                    <a:pt x="58481" y="5179"/>
                  </a:cubicBezTo>
                  <a:cubicBezTo>
                    <a:pt x="60000" y="6043"/>
                    <a:pt x="60000" y="6043"/>
                    <a:pt x="60000" y="6043"/>
                  </a:cubicBezTo>
                  <a:cubicBezTo>
                    <a:pt x="60000" y="6043"/>
                    <a:pt x="60000" y="6043"/>
                    <a:pt x="60759" y="5179"/>
                  </a:cubicBezTo>
                  <a:cubicBezTo>
                    <a:pt x="60759" y="5179"/>
                    <a:pt x="63037" y="5179"/>
                    <a:pt x="63037" y="5179"/>
                  </a:cubicBezTo>
                  <a:cubicBezTo>
                    <a:pt x="63797" y="2589"/>
                    <a:pt x="63797" y="2589"/>
                    <a:pt x="63797" y="2589"/>
                  </a:cubicBezTo>
                  <a:cubicBezTo>
                    <a:pt x="64556" y="4316"/>
                    <a:pt x="64556" y="4316"/>
                    <a:pt x="64556" y="4316"/>
                  </a:cubicBezTo>
                  <a:cubicBezTo>
                    <a:pt x="65316" y="4316"/>
                    <a:pt x="66835" y="4316"/>
                    <a:pt x="66835" y="4316"/>
                  </a:cubicBezTo>
                  <a:cubicBezTo>
                    <a:pt x="67594" y="1726"/>
                    <a:pt x="67594" y="1726"/>
                    <a:pt x="67594" y="1726"/>
                  </a:cubicBezTo>
                  <a:cubicBezTo>
                    <a:pt x="68354" y="2589"/>
                    <a:pt x="68354" y="2589"/>
                    <a:pt x="68354" y="2589"/>
                  </a:cubicBezTo>
                  <a:cubicBezTo>
                    <a:pt x="69113" y="2589"/>
                    <a:pt x="69113" y="2589"/>
                    <a:pt x="69873" y="2589"/>
                  </a:cubicBezTo>
                  <a:cubicBezTo>
                    <a:pt x="70632" y="2589"/>
                    <a:pt x="71392" y="1726"/>
                    <a:pt x="71392" y="1726"/>
                  </a:cubicBezTo>
                  <a:cubicBezTo>
                    <a:pt x="71392" y="1726"/>
                    <a:pt x="72151" y="2589"/>
                    <a:pt x="72151" y="2589"/>
                  </a:cubicBezTo>
                  <a:cubicBezTo>
                    <a:pt x="72151" y="2589"/>
                    <a:pt x="72911" y="1726"/>
                    <a:pt x="73670" y="1726"/>
                  </a:cubicBezTo>
                  <a:cubicBezTo>
                    <a:pt x="73670" y="1726"/>
                    <a:pt x="73670" y="1726"/>
                    <a:pt x="73670" y="1726"/>
                  </a:cubicBezTo>
                  <a:cubicBezTo>
                    <a:pt x="73670" y="1726"/>
                    <a:pt x="73670" y="1726"/>
                    <a:pt x="7367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6708" y="2589"/>
                    <a:pt x="78227" y="3453"/>
                  </a:cubicBezTo>
                  <a:cubicBezTo>
                    <a:pt x="78227" y="3453"/>
                    <a:pt x="78227" y="3453"/>
                    <a:pt x="78227" y="3453"/>
                  </a:cubicBezTo>
                  <a:cubicBezTo>
                    <a:pt x="79746" y="3453"/>
                    <a:pt x="79746" y="3453"/>
                    <a:pt x="79746" y="3453"/>
                  </a:cubicBezTo>
                  <a:cubicBezTo>
                    <a:pt x="79746" y="3453"/>
                    <a:pt x="79746" y="3453"/>
                    <a:pt x="79746" y="3453"/>
                  </a:cubicBezTo>
                  <a:cubicBezTo>
                    <a:pt x="79746" y="3453"/>
                    <a:pt x="80506" y="2589"/>
                    <a:pt x="81265" y="2589"/>
                  </a:cubicBezTo>
                  <a:cubicBezTo>
                    <a:pt x="82784" y="2589"/>
                    <a:pt x="83544" y="2589"/>
                    <a:pt x="84303" y="2589"/>
                  </a:cubicBezTo>
                  <a:cubicBezTo>
                    <a:pt x="85822" y="2589"/>
                    <a:pt x="86582" y="4316"/>
                    <a:pt x="86582" y="4316"/>
                  </a:cubicBezTo>
                  <a:cubicBezTo>
                    <a:pt x="88860" y="6906"/>
                    <a:pt x="88860" y="6906"/>
                    <a:pt x="88860" y="6906"/>
                  </a:cubicBezTo>
                  <a:cubicBezTo>
                    <a:pt x="88860" y="6906"/>
                    <a:pt x="89620" y="8633"/>
                    <a:pt x="89620" y="9496"/>
                  </a:cubicBezTo>
                  <a:cubicBezTo>
                    <a:pt x="90379" y="10359"/>
                    <a:pt x="90379" y="11223"/>
                    <a:pt x="90379" y="11223"/>
                  </a:cubicBezTo>
                  <a:cubicBezTo>
                    <a:pt x="90379" y="11223"/>
                    <a:pt x="90379" y="11223"/>
                    <a:pt x="90379" y="11223"/>
                  </a:cubicBezTo>
                  <a:cubicBezTo>
                    <a:pt x="91139" y="11223"/>
                    <a:pt x="96455" y="13812"/>
                    <a:pt x="97215" y="13812"/>
                  </a:cubicBezTo>
                  <a:cubicBezTo>
                    <a:pt x="97215" y="13812"/>
                    <a:pt x="97974" y="13812"/>
                    <a:pt x="97974" y="13812"/>
                  </a:cubicBezTo>
                  <a:cubicBezTo>
                    <a:pt x="97974" y="12086"/>
                    <a:pt x="97215" y="11223"/>
                    <a:pt x="98734" y="10359"/>
                  </a:cubicBezTo>
                  <a:cubicBezTo>
                    <a:pt x="99493" y="10359"/>
                    <a:pt x="100253" y="12086"/>
                    <a:pt x="100253" y="10359"/>
                  </a:cubicBezTo>
                  <a:cubicBezTo>
                    <a:pt x="100253" y="8633"/>
                    <a:pt x="101012" y="9496"/>
                    <a:pt x="100253" y="7769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6" name="Shape 2027"/>
            <p:cNvSpPr/>
            <p:nvPr/>
          </p:nvSpPr>
          <p:spPr>
            <a:xfrm>
              <a:off x="4877542" y="1947009"/>
              <a:ext cx="322132" cy="3696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2340" y="23712"/>
                  </a:moveTo>
                  <a:cubicBezTo>
                    <a:pt x="37446" y="21556"/>
                    <a:pt x="37446" y="21556"/>
                    <a:pt x="37446" y="21556"/>
                  </a:cubicBezTo>
                  <a:cubicBezTo>
                    <a:pt x="40000" y="17245"/>
                    <a:pt x="40000" y="17245"/>
                    <a:pt x="40000" y="17245"/>
                  </a:cubicBezTo>
                  <a:cubicBezTo>
                    <a:pt x="43404" y="12215"/>
                    <a:pt x="43404" y="12215"/>
                    <a:pt x="43404" y="12215"/>
                  </a:cubicBezTo>
                  <a:cubicBezTo>
                    <a:pt x="45106" y="10059"/>
                    <a:pt x="45106" y="10059"/>
                    <a:pt x="45106" y="10059"/>
                  </a:cubicBezTo>
                  <a:cubicBezTo>
                    <a:pt x="46808" y="6467"/>
                    <a:pt x="46808" y="6467"/>
                    <a:pt x="46808" y="6467"/>
                  </a:cubicBezTo>
                  <a:cubicBezTo>
                    <a:pt x="51914" y="5029"/>
                    <a:pt x="51914" y="5029"/>
                    <a:pt x="51914" y="5029"/>
                  </a:cubicBezTo>
                  <a:cubicBezTo>
                    <a:pt x="51914" y="5029"/>
                    <a:pt x="55319" y="4311"/>
                    <a:pt x="56170" y="4311"/>
                  </a:cubicBezTo>
                  <a:cubicBezTo>
                    <a:pt x="57021" y="3592"/>
                    <a:pt x="62127" y="0"/>
                    <a:pt x="62127" y="0"/>
                  </a:cubicBezTo>
                  <a:cubicBezTo>
                    <a:pt x="62978" y="0"/>
                    <a:pt x="62978" y="0"/>
                    <a:pt x="62978" y="0"/>
                  </a:cubicBezTo>
                  <a:cubicBezTo>
                    <a:pt x="60425" y="3592"/>
                    <a:pt x="60425" y="3592"/>
                    <a:pt x="60425" y="3592"/>
                  </a:cubicBezTo>
                  <a:cubicBezTo>
                    <a:pt x="60425" y="5748"/>
                    <a:pt x="60425" y="5748"/>
                    <a:pt x="60425" y="5748"/>
                  </a:cubicBezTo>
                  <a:cubicBezTo>
                    <a:pt x="60425" y="7185"/>
                    <a:pt x="60425" y="7185"/>
                    <a:pt x="60425" y="7185"/>
                  </a:cubicBezTo>
                  <a:cubicBezTo>
                    <a:pt x="61276" y="10059"/>
                    <a:pt x="61276" y="10059"/>
                    <a:pt x="61276" y="10059"/>
                  </a:cubicBezTo>
                  <a:cubicBezTo>
                    <a:pt x="62127" y="10778"/>
                    <a:pt x="62127" y="10778"/>
                    <a:pt x="62127" y="10778"/>
                  </a:cubicBezTo>
                  <a:cubicBezTo>
                    <a:pt x="62127" y="13652"/>
                    <a:pt x="62127" y="13652"/>
                    <a:pt x="62127" y="13652"/>
                  </a:cubicBezTo>
                  <a:cubicBezTo>
                    <a:pt x="62127" y="16526"/>
                    <a:pt x="62127" y="16526"/>
                    <a:pt x="62127" y="16526"/>
                  </a:cubicBezTo>
                  <a:cubicBezTo>
                    <a:pt x="62127" y="16526"/>
                    <a:pt x="64680" y="17964"/>
                    <a:pt x="63829" y="18682"/>
                  </a:cubicBezTo>
                  <a:cubicBezTo>
                    <a:pt x="62127" y="19401"/>
                    <a:pt x="60425" y="21556"/>
                    <a:pt x="60425" y="21556"/>
                  </a:cubicBezTo>
                  <a:cubicBezTo>
                    <a:pt x="59574" y="25868"/>
                    <a:pt x="59574" y="25868"/>
                    <a:pt x="59574" y="25868"/>
                  </a:cubicBezTo>
                  <a:cubicBezTo>
                    <a:pt x="56170" y="29461"/>
                    <a:pt x="56170" y="29461"/>
                    <a:pt x="56170" y="29461"/>
                  </a:cubicBezTo>
                  <a:cubicBezTo>
                    <a:pt x="57021" y="33772"/>
                    <a:pt x="57021" y="33772"/>
                    <a:pt x="57021" y="33772"/>
                  </a:cubicBezTo>
                  <a:cubicBezTo>
                    <a:pt x="57872" y="37365"/>
                    <a:pt x="57872" y="37365"/>
                    <a:pt x="57872" y="37365"/>
                  </a:cubicBezTo>
                  <a:cubicBezTo>
                    <a:pt x="57021" y="40239"/>
                    <a:pt x="57021" y="40239"/>
                    <a:pt x="57021" y="40239"/>
                  </a:cubicBezTo>
                  <a:cubicBezTo>
                    <a:pt x="59574" y="42395"/>
                    <a:pt x="59574" y="42395"/>
                    <a:pt x="59574" y="42395"/>
                  </a:cubicBezTo>
                  <a:cubicBezTo>
                    <a:pt x="58723" y="43832"/>
                    <a:pt x="58723" y="43832"/>
                    <a:pt x="58723" y="43832"/>
                  </a:cubicBezTo>
                  <a:cubicBezTo>
                    <a:pt x="59574" y="45988"/>
                    <a:pt x="59574" y="45988"/>
                    <a:pt x="59574" y="45988"/>
                  </a:cubicBezTo>
                  <a:cubicBezTo>
                    <a:pt x="62127" y="47425"/>
                    <a:pt x="62127" y="47425"/>
                    <a:pt x="62127" y="47425"/>
                  </a:cubicBezTo>
                  <a:cubicBezTo>
                    <a:pt x="62127" y="47425"/>
                    <a:pt x="63829" y="47425"/>
                    <a:pt x="64680" y="47425"/>
                  </a:cubicBezTo>
                  <a:cubicBezTo>
                    <a:pt x="65531" y="47425"/>
                    <a:pt x="68085" y="46706"/>
                    <a:pt x="68936" y="46706"/>
                  </a:cubicBezTo>
                  <a:cubicBezTo>
                    <a:pt x="69787" y="46706"/>
                    <a:pt x="71489" y="47425"/>
                    <a:pt x="71489" y="47425"/>
                  </a:cubicBezTo>
                  <a:cubicBezTo>
                    <a:pt x="74042" y="50299"/>
                    <a:pt x="74042" y="50299"/>
                    <a:pt x="74042" y="50299"/>
                  </a:cubicBezTo>
                  <a:cubicBezTo>
                    <a:pt x="74042" y="52455"/>
                    <a:pt x="74042" y="52455"/>
                    <a:pt x="74042" y="52455"/>
                  </a:cubicBezTo>
                  <a:cubicBezTo>
                    <a:pt x="74042" y="52455"/>
                    <a:pt x="73191" y="53892"/>
                    <a:pt x="73191" y="54610"/>
                  </a:cubicBezTo>
                  <a:cubicBezTo>
                    <a:pt x="72340" y="55329"/>
                    <a:pt x="71489" y="56766"/>
                    <a:pt x="71489" y="56766"/>
                  </a:cubicBezTo>
                  <a:cubicBezTo>
                    <a:pt x="69787" y="58203"/>
                    <a:pt x="69787" y="58203"/>
                    <a:pt x="69787" y="58203"/>
                  </a:cubicBezTo>
                  <a:cubicBezTo>
                    <a:pt x="68936" y="60359"/>
                    <a:pt x="68936" y="60359"/>
                    <a:pt x="68936" y="60359"/>
                  </a:cubicBezTo>
                  <a:cubicBezTo>
                    <a:pt x="68085" y="61796"/>
                    <a:pt x="68085" y="61796"/>
                    <a:pt x="68085" y="61796"/>
                  </a:cubicBezTo>
                  <a:cubicBezTo>
                    <a:pt x="68085" y="61796"/>
                    <a:pt x="68085" y="61796"/>
                    <a:pt x="68085" y="61796"/>
                  </a:cubicBezTo>
                  <a:cubicBezTo>
                    <a:pt x="66382" y="60359"/>
                    <a:pt x="66382" y="60359"/>
                    <a:pt x="66382" y="60359"/>
                  </a:cubicBezTo>
                  <a:cubicBezTo>
                    <a:pt x="66382" y="60359"/>
                    <a:pt x="66382" y="58203"/>
                    <a:pt x="65531" y="58922"/>
                  </a:cubicBezTo>
                  <a:cubicBezTo>
                    <a:pt x="64680" y="58922"/>
                    <a:pt x="63829" y="60359"/>
                    <a:pt x="63829" y="60359"/>
                  </a:cubicBezTo>
                  <a:cubicBezTo>
                    <a:pt x="64680" y="61796"/>
                    <a:pt x="64680" y="61796"/>
                    <a:pt x="64680" y="61796"/>
                  </a:cubicBezTo>
                  <a:cubicBezTo>
                    <a:pt x="64680" y="61796"/>
                    <a:pt x="65531" y="63952"/>
                    <a:pt x="64680" y="63952"/>
                  </a:cubicBezTo>
                  <a:cubicBezTo>
                    <a:pt x="63829" y="63952"/>
                    <a:pt x="62978" y="63952"/>
                    <a:pt x="62978" y="63952"/>
                  </a:cubicBezTo>
                  <a:cubicBezTo>
                    <a:pt x="62127" y="61077"/>
                    <a:pt x="62127" y="61077"/>
                    <a:pt x="62127" y="61077"/>
                  </a:cubicBezTo>
                  <a:cubicBezTo>
                    <a:pt x="59574" y="60359"/>
                    <a:pt x="59574" y="60359"/>
                    <a:pt x="59574" y="60359"/>
                  </a:cubicBezTo>
                  <a:cubicBezTo>
                    <a:pt x="61276" y="57485"/>
                    <a:pt x="61276" y="57485"/>
                    <a:pt x="61276" y="57485"/>
                  </a:cubicBezTo>
                  <a:cubicBezTo>
                    <a:pt x="59574" y="56766"/>
                    <a:pt x="59574" y="56766"/>
                    <a:pt x="59574" y="56766"/>
                  </a:cubicBezTo>
                  <a:cubicBezTo>
                    <a:pt x="59574" y="56766"/>
                    <a:pt x="58723" y="56766"/>
                    <a:pt x="57872" y="57485"/>
                  </a:cubicBezTo>
                  <a:cubicBezTo>
                    <a:pt x="57872" y="58203"/>
                    <a:pt x="57021" y="61077"/>
                    <a:pt x="57021" y="61077"/>
                  </a:cubicBezTo>
                  <a:cubicBezTo>
                    <a:pt x="56170" y="63952"/>
                    <a:pt x="56170" y="63952"/>
                    <a:pt x="56170" y="63952"/>
                  </a:cubicBezTo>
                  <a:cubicBezTo>
                    <a:pt x="56170" y="63952"/>
                    <a:pt x="57021" y="64670"/>
                    <a:pt x="57021" y="65389"/>
                  </a:cubicBezTo>
                  <a:cubicBezTo>
                    <a:pt x="57021" y="66107"/>
                    <a:pt x="56170" y="66826"/>
                    <a:pt x="56170" y="66826"/>
                  </a:cubicBezTo>
                  <a:cubicBezTo>
                    <a:pt x="56170" y="66826"/>
                    <a:pt x="56170" y="67544"/>
                    <a:pt x="56170" y="68263"/>
                  </a:cubicBezTo>
                  <a:cubicBezTo>
                    <a:pt x="56170" y="68263"/>
                    <a:pt x="57021" y="69700"/>
                    <a:pt x="57021" y="70419"/>
                  </a:cubicBezTo>
                  <a:cubicBezTo>
                    <a:pt x="57021" y="70419"/>
                    <a:pt x="57021" y="71137"/>
                    <a:pt x="56170" y="71137"/>
                  </a:cubicBezTo>
                  <a:cubicBezTo>
                    <a:pt x="56170" y="71856"/>
                    <a:pt x="56170" y="71856"/>
                    <a:pt x="56170" y="72574"/>
                  </a:cubicBezTo>
                  <a:cubicBezTo>
                    <a:pt x="55319" y="72574"/>
                    <a:pt x="54468" y="73293"/>
                    <a:pt x="54468" y="73293"/>
                  </a:cubicBezTo>
                  <a:cubicBezTo>
                    <a:pt x="54468" y="73293"/>
                    <a:pt x="52765" y="74011"/>
                    <a:pt x="52765" y="74011"/>
                  </a:cubicBezTo>
                  <a:cubicBezTo>
                    <a:pt x="52765" y="74011"/>
                    <a:pt x="51914" y="73293"/>
                    <a:pt x="51063" y="73293"/>
                  </a:cubicBezTo>
                  <a:cubicBezTo>
                    <a:pt x="50212" y="73293"/>
                    <a:pt x="50212" y="72574"/>
                    <a:pt x="49361" y="73293"/>
                  </a:cubicBezTo>
                  <a:cubicBezTo>
                    <a:pt x="48510" y="74011"/>
                    <a:pt x="48510" y="74011"/>
                    <a:pt x="48510" y="74011"/>
                  </a:cubicBezTo>
                  <a:cubicBezTo>
                    <a:pt x="49361" y="74730"/>
                    <a:pt x="49361" y="74730"/>
                    <a:pt x="49361" y="74730"/>
                  </a:cubicBezTo>
                  <a:cubicBezTo>
                    <a:pt x="51063" y="74730"/>
                    <a:pt x="51063" y="74730"/>
                    <a:pt x="51063" y="74730"/>
                  </a:cubicBezTo>
                  <a:cubicBezTo>
                    <a:pt x="51063" y="76167"/>
                    <a:pt x="51063" y="76167"/>
                    <a:pt x="51063" y="76167"/>
                  </a:cubicBezTo>
                  <a:cubicBezTo>
                    <a:pt x="51063" y="76167"/>
                    <a:pt x="51914" y="76167"/>
                    <a:pt x="51914" y="76886"/>
                  </a:cubicBezTo>
                  <a:cubicBezTo>
                    <a:pt x="51063" y="77604"/>
                    <a:pt x="50212" y="78323"/>
                    <a:pt x="50212" y="78323"/>
                  </a:cubicBezTo>
                  <a:cubicBezTo>
                    <a:pt x="48510" y="79760"/>
                    <a:pt x="48510" y="79760"/>
                    <a:pt x="48510" y="79760"/>
                  </a:cubicBezTo>
                  <a:cubicBezTo>
                    <a:pt x="46808" y="80479"/>
                    <a:pt x="46808" y="80479"/>
                    <a:pt x="46808" y="80479"/>
                  </a:cubicBezTo>
                  <a:cubicBezTo>
                    <a:pt x="46808" y="80479"/>
                    <a:pt x="45106" y="79760"/>
                    <a:pt x="45106" y="80479"/>
                  </a:cubicBezTo>
                  <a:cubicBezTo>
                    <a:pt x="44255" y="80479"/>
                    <a:pt x="43404" y="80479"/>
                    <a:pt x="43404" y="80479"/>
                  </a:cubicBezTo>
                  <a:cubicBezTo>
                    <a:pt x="43404" y="81197"/>
                    <a:pt x="45106" y="82634"/>
                    <a:pt x="45106" y="82634"/>
                  </a:cubicBezTo>
                  <a:cubicBezTo>
                    <a:pt x="41702" y="79760"/>
                    <a:pt x="41702" y="79760"/>
                    <a:pt x="41702" y="79760"/>
                  </a:cubicBezTo>
                  <a:cubicBezTo>
                    <a:pt x="40000" y="79760"/>
                    <a:pt x="40000" y="79760"/>
                    <a:pt x="40000" y="79760"/>
                  </a:cubicBezTo>
                  <a:cubicBezTo>
                    <a:pt x="42553" y="81197"/>
                    <a:pt x="42553" y="81197"/>
                    <a:pt x="42553" y="81197"/>
                  </a:cubicBezTo>
                  <a:cubicBezTo>
                    <a:pt x="43404" y="82634"/>
                    <a:pt x="43404" y="82634"/>
                    <a:pt x="43404" y="82634"/>
                  </a:cubicBezTo>
                  <a:cubicBezTo>
                    <a:pt x="45106" y="83353"/>
                    <a:pt x="45106" y="83353"/>
                    <a:pt x="45106" y="83353"/>
                  </a:cubicBezTo>
                  <a:cubicBezTo>
                    <a:pt x="44255" y="84071"/>
                    <a:pt x="44255" y="84071"/>
                    <a:pt x="44255" y="84071"/>
                  </a:cubicBezTo>
                  <a:cubicBezTo>
                    <a:pt x="43404" y="84790"/>
                    <a:pt x="43404" y="84790"/>
                    <a:pt x="43404" y="84790"/>
                  </a:cubicBezTo>
                  <a:cubicBezTo>
                    <a:pt x="41702" y="86227"/>
                    <a:pt x="41702" y="86227"/>
                    <a:pt x="41702" y="86227"/>
                  </a:cubicBezTo>
                  <a:cubicBezTo>
                    <a:pt x="41702" y="86227"/>
                    <a:pt x="40851" y="86946"/>
                    <a:pt x="40000" y="86946"/>
                  </a:cubicBezTo>
                  <a:cubicBezTo>
                    <a:pt x="40000" y="86946"/>
                    <a:pt x="37446" y="86946"/>
                    <a:pt x="37446" y="86946"/>
                  </a:cubicBezTo>
                  <a:cubicBezTo>
                    <a:pt x="38297" y="87664"/>
                    <a:pt x="38297" y="87664"/>
                    <a:pt x="38297" y="87664"/>
                  </a:cubicBezTo>
                  <a:cubicBezTo>
                    <a:pt x="40000" y="88383"/>
                    <a:pt x="40000" y="88383"/>
                    <a:pt x="40000" y="88383"/>
                  </a:cubicBezTo>
                  <a:cubicBezTo>
                    <a:pt x="40000" y="88383"/>
                    <a:pt x="40851" y="87664"/>
                    <a:pt x="40851" y="88383"/>
                  </a:cubicBezTo>
                  <a:cubicBezTo>
                    <a:pt x="40000" y="88383"/>
                    <a:pt x="40000" y="88383"/>
                    <a:pt x="40000" y="89101"/>
                  </a:cubicBezTo>
                  <a:cubicBezTo>
                    <a:pt x="40000" y="90538"/>
                    <a:pt x="40000" y="92694"/>
                    <a:pt x="40000" y="92694"/>
                  </a:cubicBezTo>
                  <a:cubicBezTo>
                    <a:pt x="41702" y="94850"/>
                    <a:pt x="41702" y="94850"/>
                    <a:pt x="41702" y="94850"/>
                  </a:cubicBezTo>
                  <a:cubicBezTo>
                    <a:pt x="42553" y="95568"/>
                    <a:pt x="42553" y="95568"/>
                    <a:pt x="42553" y="95568"/>
                  </a:cubicBezTo>
                  <a:cubicBezTo>
                    <a:pt x="42553" y="95568"/>
                    <a:pt x="42553" y="95568"/>
                    <a:pt x="42553" y="96287"/>
                  </a:cubicBezTo>
                  <a:cubicBezTo>
                    <a:pt x="42553" y="96287"/>
                    <a:pt x="42553" y="97005"/>
                    <a:pt x="42553" y="97005"/>
                  </a:cubicBezTo>
                  <a:cubicBezTo>
                    <a:pt x="42553" y="98443"/>
                    <a:pt x="42553" y="98443"/>
                    <a:pt x="42553" y="98443"/>
                  </a:cubicBezTo>
                  <a:cubicBezTo>
                    <a:pt x="42553" y="98443"/>
                    <a:pt x="41702" y="99161"/>
                    <a:pt x="40851" y="99161"/>
                  </a:cubicBezTo>
                  <a:cubicBezTo>
                    <a:pt x="40851" y="99161"/>
                    <a:pt x="37446" y="99880"/>
                    <a:pt x="37446" y="99880"/>
                  </a:cubicBezTo>
                  <a:cubicBezTo>
                    <a:pt x="36595" y="101317"/>
                    <a:pt x="36595" y="101317"/>
                    <a:pt x="36595" y="101317"/>
                  </a:cubicBezTo>
                  <a:cubicBezTo>
                    <a:pt x="38297" y="102035"/>
                    <a:pt x="38297" y="102035"/>
                    <a:pt x="38297" y="102035"/>
                  </a:cubicBezTo>
                  <a:cubicBezTo>
                    <a:pt x="38297" y="102035"/>
                    <a:pt x="38297" y="103473"/>
                    <a:pt x="38297" y="103473"/>
                  </a:cubicBezTo>
                  <a:cubicBezTo>
                    <a:pt x="38297" y="104191"/>
                    <a:pt x="37446" y="104910"/>
                    <a:pt x="37446" y="104910"/>
                  </a:cubicBezTo>
                  <a:cubicBezTo>
                    <a:pt x="39148" y="104910"/>
                    <a:pt x="39148" y="104910"/>
                    <a:pt x="39148" y="104910"/>
                  </a:cubicBezTo>
                  <a:cubicBezTo>
                    <a:pt x="41702" y="105628"/>
                    <a:pt x="41702" y="105628"/>
                    <a:pt x="41702" y="105628"/>
                  </a:cubicBezTo>
                  <a:cubicBezTo>
                    <a:pt x="45106" y="109221"/>
                    <a:pt x="45106" y="109221"/>
                    <a:pt x="45106" y="109221"/>
                  </a:cubicBezTo>
                  <a:cubicBezTo>
                    <a:pt x="44255" y="112095"/>
                    <a:pt x="44255" y="112095"/>
                    <a:pt x="44255" y="112095"/>
                  </a:cubicBezTo>
                  <a:cubicBezTo>
                    <a:pt x="42553" y="113532"/>
                    <a:pt x="42553" y="113532"/>
                    <a:pt x="42553" y="113532"/>
                  </a:cubicBezTo>
                  <a:cubicBezTo>
                    <a:pt x="40851" y="110658"/>
                    <a:pt x="40851" y="110658"/>
                    <a:pt x="40851" y="110658"/>
                  </a:cubicBezTo>
                  <a:cubicBezTo>
                    <a:pt x="40851" y="110658"/>
                    <a:pt x="40000" y="110658"/>
                    <a:pt x="40000" y="111377"/>
                  </a:cubicBezTo>
                  <a:cubicBezTo>
                    <a:pt x="39148" y="111377"/>
                    <a:pt x="36595" y="112814"/>
                    <a:pt x="36595" y="112814"/>
                  </a:cubicBezTo>
                  <a:cubicBezTo>
                    <a:pt x="36595" y="112814"/>
                    <a:pt x="34893" y="113532"/>
                    <a:pt x="34042" y="113532"/>
                  </a:cubicBezTo>
                  <a:cubicBezTo>
                    <a:pt x="34042" y="113532"/>
                    <a:pt x="33191" y="113532"/>
                    <a:pt x="33191" y="113532"/>
                  </a:cubicBezTo>
                  <a:cubicBezTo>
                    <a:pt x="30638" y="112814"/>
                    <a:pt x="30638" y="112814"/>
                    <a:pt x="30638" y="112814"/>
                  </a:cubicBezTo>
                  <a:cubicBezTo>
                    <a:pt x="27234" y="111377"/>
                    <a:pt x="27234" y="111377"/>
                    <a:pt x="27234" y="111377"/>
                  </a:cubicBezTo>
                  <a:cubicBezTo>
                    <a:pt x="27234" y="111377"/>
                    <a:pt x="25531" y="110658"/>
                    <a:pt x="24680" y="110658"/>
                  </a:cubicBezTo>
                  <a:cubicBezTo>
                    <a:pt x="23829" y="110658"/>
                    <a:pt x="19574" y="109221"/>
                    <a:pt x="19574" y="109221"/>
                  </a:cubicBezTo>
                  <a:cubicBezTo>
                    <a:pt x="17872" y="109940"/>
                    <a:pt x="17872" y="109940"/>
                    <a:pt x="17872" y="109940"/>
                  </a:cubicBezTo>
                  <a:cubicBezTo>
                    <a:pt x="15319" y="109940"/>
                    <a:pt x="15319" y="109940"/>
                    <a:pt x="15319" y="109940"/>
                  </a:cubicBezTo>
                  <a:cubicBezTo>
                    <a:pt x="13617" y="109221"/>
                    <a:pt x="13617" y="109221"/>
                    <a:pt x="13617" y="109221"/>
                  </a:cubicBezTo>
                  <a:cubicBezTo>
                    <a:pt x="11914" y="107065"/>
                    <a:pt x="11914" y="107065"/>
                    <a:pt x="11914" y="107065"/>
                  </a:cubicBezTo>
                  <a:cubicBezTo>
                    <a:pt x="11914" y="107065"/>
                    <a:pt x="11063" y="105628"/>
                    <a:pt x="11063" y="105628"/>
                  </a:cubicBezTo>
                  <a:cubicBezTo>
                    <a:pt x="11063" y="105628"/>
                    <a:pt x="13617" y="104191"/>
                    <a:pt x="13617" y="104191"/>
                  </a:cubicBezTo>
                  <a:cubicBezTo>
                    <a:pt x="14468" y="104191"/>
                    <a:pt x="14468" y="103473"/>
                    <a:pt x="14468" y="103473"/>
                  </a:cubicBezTo>
                  <a:cubicBezTo>
                    <a:pt x="14468" y="100598"/>
                    <a:pt x="14468" y="100598"/>
                    <a:pt x="14468" y="100598"/>
                  </a:cubicBezTo>
                  <a:cubicBezTo>
                    <a:pt x="14468" y="100598"/>
                    <a:pt x="14468" y="99161"/>
                    <a:pt x="14468" y="99161"/>
                  </a:cubicBezTo>
                  <a:cubicBezTo>
                    <a:pt x="14468" y="98443"/>
                    <a:pt x="15319" y="97724"/>
                    <a:pt x="15319" y="97724"/>
                  </a:cubicBezTo>
                  <a:cubicBezTo>
                    <a:pt x="15319" y="97724"/>
                    <a:pt x="15319" y="95568"/>
                    <a:pt x="14468" y="94850"/>
                  </a:cubicBezTo>
                  <a:cubicBezTo>
                    <a:pt x="14468" y="93413"/>
                    <a:pt x="14468" y="91976"/>
                    <a:pt x="14468" y="91976"/>
                  </a:cubicBezTo>
                  <a:cubicBezTo>
                    <a:pt x="12765" y="89820"/>
                    <a:pt x="12765" y="89820"/>
                    <a:pt x="12765" y="89820"/>
                  </a:cubicBezTo>
                  <a:cubicBezTo>
                    <a:pt x="12765" y="89820"/>
                    <a:pt x="11914" y="89820"/>
                    <a:pt x="10212" y="89101"/>
                  </a:cubicBezTo>
                  <a:cubicBezTo>
                    <a:pt x="8510" y="88383"/>
                    <a:pt x="5957" y="87664"/>
                    <a:pt x="5957" y="87664"/>
                  </a:cubicBezTo>
                  <a:cubicBezTo>
                    <a:pt x="5957" y="85508"/>
                    <a:pt x="5957" y="85508"/>
                    <a:pt x="5957" y="85508"/>
                  </a:cubicBezTo>
                  <a:cubicBezTo>
                    <a:pt x="5106" y="84790"/>
                    <a:pt x="5106" y="84790"/>
                    <a:pt x="5106" y="84790"/>
                  </a:cubicBezTo>
                  <a:cubicBezTo>
                    <a:pt x="5106" y="84790"/>
                    <a:pt x="3404" y="84790"/>
                    <a:pt x="3404" y="85508"/>
                  </a:cubicBezTo>
                  <a:cubicBezTo>
                    <a:pt x="3404" y="85508"/>
                    <a:pt x="3404" y="86227"/>
                    <a:pt x="3404" y="86227"/>
                  </a:cubicBezTo>
                  <a:cubicBezTo>
                    <a:pt x="1702" y="85508"/>
                    <a:pt x="1702" y="85508"/>
                    <a:pt x="1702" y="85508"/>
                  </a:cubicBezTo>
                  <a:cubicBezTo>
                    <a:pt x="1702" y="85508"/>
                    <a:pt x="0" y="83353"/>
                    <a:pt x="0" y="82634"/>
                  </a:cubicBezTo>
                  <a:cubicBezTo>
                    <a:pt x="851" y="82634"/>
                    <a:pt x="1702" y="81916"/>
                    <a:pt x="1702" y="81197"/>
                  </a:cubicBezTo>
                  <a:cubicBezTo>
                    <a:pt x="2553" y="80479"/>
                    <a:pt x="3404" y="79041"/>
                    <a:pt x="3404" y="78323"/>
                  </a:cubicBezTo>
                  <a:cubicBezTo>
                    <a:pt x="3404" y="78323"/>
                    <a:pt x="3404" y="75449"/>
                    <a:pt x="3404" y="75449"/>
                  </a:cubicBezTo>
                  <a:cubicBezTo>
                    <a:pt x="3404" y="75449"/>
                    <a:pt x="2553" y="74730"/>
                    <a:pt x="3404" y="74730"/>
                  </a:cubicBezTo>
                  <a:cubicBezTo>
                    <a:pt x="4255" y="74730"/>
                    <a:pt x="3404" y="74730"/>
                    <a:pt x="4255" y="74730"/>
                  </a:cubicBezTo>
                  <a:cubicBezTo>
                    <a:pt x="5106" y="74011"/>
                    <a:pt x="7659" y="72574"/>
                    <a:pt x="7659" y="72574"/>
                  </a:cubicBezTo>
                  <a:cubicBezTo>
                    <a:pt x="7659" y="71137"/>
                    <a:pt x="7659" y="71137"/>
                    <a:pt x="7659" y="71137"/>
                  </a:cubicBezTo>
                  <a:cubicBezTo>
                    <a:pt x="7659" y="71137"/>
                    <a:pt x="6808" y="69700"/>
                    <a:pt x="6808" y="68982"/>
                  </a:cubicBezTo>
                  <a:cubicBezTo>
                    <a:pt x="6808" y="68982"/>
                    <a:pt x="6808" y="68982"/>
                    <a:pt x="6808" y="68263"/>
                  </a:cubicBezTo>
                  <a:cubicBezTo>
                    <a:pt x="6808" y="66826"/>
                    <a:pt x="3404" y="63952"/>
                    <a:pt x="3404" y="63952"/>
                  </a:cubicBezTo>
                  <a:cubicBezTo>
                    <a:pt x="1702" y="63952"/>
                    <a:pt x="1702" y="63952"/>
                    <a:pt x="1702" y="63952"/>
                  </a:cubicBezTo>
                  <a:cubicBezTo>
                    <a:pt x="1702" y="63952"/>
                    <a:pt x="1702" y="63233"/>
                    <a:pt x="1702" y="62514"/>
                  </a:cubicBezTo>
                  <a:cubicBezTo>
                    <a:pt x="1702" y="62514"/>
                    <a:pt x="1702" y="60359"/>
                    <a:pt x="1702" y="60359"/>
                  </a:cubicBezTo>
                  <a:cubicBezTo>
                    <a:pt x="2553" y="57485"/>
                    <a:pt x="2553" y="57485"/>
                    <a:pt x="2553" y="57485"/>
                  </a:cubicBezTo>
                  <a:cubicBezTo>
                    <a:pt x="1702" y="52455"/>
                    <a:pt x="1702" y="52455"/>
                    <a:pt x="1702" y="52455"/>
                  </a:cubicBezTo>
                  <a:cubicBezTo>
                    <a:pt x="1702" y="48862"/>
                    <a:pt x="1702" y="48862"/>
                    <a:pt x="1702" y="48862"/>
                  </a:cubicBezTo>
                  <a:cubicBezTo>
                    <a:pt x="1702" y="48862"/>
                    <a:pt x="1702" y="45988"/>
                    <a:pt x="1702" y="45269"/>
                  </a:cubicBezTo>
                  <a:cubicBezTo>
                    <a:pt x="1702" y="45269"/>
                    <a:pt x="3404" y="42395"/>
                    <a:pt x="3404" y="42395"/>
                  </a:cubicBezTo>
                  <a:cubicBezTo>
                    <a:pt x="4255" y="40958"/>
                    <a:pt x="4255" y="40958"/>
                    <a:pt x="4255" y="40958"/>
                  </a:cubicBezTo>
                  <a:cubicBezTo>
                    <a:pt x="5106" y="43113"/>
                    <a:pt x="5106" y="43113"/>
                    <a:pt x="5106" y="43113"/>
                  </a:cubicBezTo>
                  <a:cubicBezTo>
                    <a:pt x="5106" y="43113"/>
                    <a:pt x="4255" y="43832"/>
                    <a:pt x="5106" y="44550"/>
                  </a:cubicBezTo>
                  <a:cubicBezTo>
                    <a:pt x="5957" y="44550"/>
                    <a:pt x="6808" y="44550"/>
                    <a:pt x="7659" y="44550"/>
                  </a:cubicBezTo>
                  <a:cubicBezTo>
                    <a:pt x="7659" y="44550"/>
                    <a:pt x="8510" y="45269"/>
                    <a:pt x="8510" y="45269"/>
                  </a:cubicBezTo>
                  <a:cubicBezTo>
                    <a:pt x="11063" y="46706"/>
                    <a:pt x="11063" y="46706"/>
                    <a:pt x="11063" y="46706"/>
                  </a:cubicBezTo>
                  <a:cubicBezTo>
                    <a:pt x="12765" y="48143"/>
                    <a:pt x="12765" y="48143"/>
                    <a:pt x="12765" y="48143"/>
                  </a:cubicBezTo>
                  <a:cubicBezTo>
                    <a:pt x="14468" y="48862"/>
                    <a:pt x="14468" y="48862"/>
                    <a:pt x="14468" y="48862"/>
                  </a:cubicBezTo>
                  <a:cubicBezTo>
                    <a:pt x="16170" y="48862"/>
                    <a:pt x="16170" y="48862"/>
                    <a:pt x="16170" y="48862"/>
                  </a:cubicBezTo>
                  <a:cubicBezTo>
                    <a:pt x="17021" y="48143"/>
                    <a:pt x="17021" y="48143"/>
                    <a:pt x="17021" y="48143"/>
                  </a:cubicBezTo>
                  <a:cubicBezTo>
                    <a:pt x="17021" y="48143"/>
                    <a:pt x="17021" y="47425"/>
                    <a:pt x="17021" y="47425"/>
                  </a:cubicBezTo>
                  <a:cubicBezTo>
                    <a:pt x="17021" y="47425"/>
                    <a:pt x="16170" y="45988"/>
                    <a:pt x="16170" y="45988"/>
                  </a:cubicBezTo>
                  <a:cubicBezTo>
                    <a:pt x="16170" y="45269"/>
                    <a:pt x="15319" y="44550"/>
                    <a:pt x="15319" y="44550"/>
                  </a:cubicBezTo>
                  <a:cubicBezTo>
                    <a:pt x="17872" y="43113"/>
                    <a:pt x="17872" y="43113"/>
                    <a:pt x="17872" y="43113"/>
                  </a:cubicBezTo>
                  <a:cubicBezTo>
                    <a:pt x="18723" y="41676"/>
                    <a:pt x="18723" y="41676"/>
                    <a:pt x="18723" y="41676"/>
                  </a:cubicBezTo>
                  <a:cubicBezTo>
                    <a:pt x="18723" y="41676"/>
                    <a:pt x="18723" y="40958"/>
                    <a:pt x="17872" y="40958"/>
                  </a:cubicBezTo>
                  <a:cubicBezTo>
                    <a:pt x="17021" y="40958"/>
                    <a:pt x="15319" y="40958"/>
                    <a:pt x="15319" y="40958"/>
                  </a:cubicBezTo>
                  <a:cubicBezTo>
                    <a:pt x="15319" y="40958"/>
                    <a:pt x="14468" y="40239"/>
                    <a:pt x="14468" y="40239"/>
                  </a:cubicBezTo>
                  <a:cubicBezTo>
                    <a:pt x="14468" y="40239"/>
                    <a:pt x="13617" y="38802"/>
                    <a:pt x="13617" y="38802"/>
                  </a:cubicBezTo>
                  <a:cubicBezTo>
                    <a:pt x="13617" y="38802"/>
                    <a:pt x="13617" y="37365"/>
                    <a:pt x="14468" y="37365"/>
                  </a:cubicBezTo>
                  <a:cubicBezTo>
                    <a:pt x="14468" y="36646"/>
                    <a:pt x="15319" y="34491"/>
                    <a:pt x="15319" y="34491"/>
                  </a:cubicBezTo>
                  <a:cubicBezTo>
                    <a:pt x="15319" y="34491"/>
                    <a:pt x="14468" y="33053"/>
                    <a:pt x="16170" y="33053"/>
                  </a:cubicBezTo>
                  <a:cubicBezTo>
                    <a:pt x="17872" y="33053"/>
                    <a:pt x="18723" y="33053"/>
                    <a:pt x="18723" y="33053"/>
                  </a:cubicBezTo>
                  <a:cubicBezTo>
                    <a:pt x="18723" y="33053"/>
                    <a:pt x="19574" y="31616"/>
                    <a:pt x="20425" y="31616"/>
                  </a:cubicBezTo>
                  <a:cubicBezTo>
                    <a:pt x="20425" y="31616"/>
                    <a:pt x="21276" y="30898"/>
                    <a:pt x="21276" y="31616"/>
                  </a:cubicBezTo>
                  <a:cubicBezTo>
                    <a:pt x="22127" y="31616"/>
                    <a:pt x="21276" y="33772"/>
                    <a:pt x="21276" y="33772"/>
                  </a:cubicBezTo>
                  <a:cubicBezTo>
                    <a:pt x="19574" y="35209"/>
                    <a:pt x="19574" y="35209"/>
                    <a:pt x="19574" y="35209"/>
                  </a:cubicBezTo>
                  <a:cubicBezTo>
                    <a:pt x="19574" y="35209"/>
                    <a:pt x="20425" y="35928"/>
                    <a:pt x="20425" y="36646"/>
                  </a:cubicBezTo>
                  <a:cubicBezTo>
                    <a:pt x="20425" y="37365"/>
                    <a:pt x="20425" y="38083"/>
                    <a:pt x="20425" y="38083"/>
                  </a:cubicBezTo>
                  <a:cubicBezTo>
                    <a:pt x="18723" y="40239"/>
                    <a:pt x="18723" y="40239"/>
                    <a:pt x="18723" y="40239"/>
                  </a:cubicBezTo>
                  <a:cubicBezTo>
                    <a:pt x="18723" y="40239"/>
                    <a:pt x="19574" y="40239"/>
                    <a:pt x="19574" y="40239"/>
                  </a:cubicBezTo>
                  <a:cubicBezTo>
                    <a:pt x="19574" y="40958"/>
                    <a:pt x="19574" y="41676"/>
                    <a:pt x="19574" y="41676"/>
                  </a:cubicBezTo>
                  <a:cubicBezTo>
                    <a:pt x="22127" y="40958"/>
                    <a:pt x="22127" y="40958"/>
                    <a:pt x="22127" y="40958"/>
                  </a:cubicBezTo>
                  <a:cubicBezTo>
                    <a:pt x="22127" y="40958"/>
                    <a:pt x="21276" y="40239"/>
                    <a:pt x="21276" y="40239"/>
                  </a:cubicBezTo>
                  <a:cubicBezTo>
                    <a:pt x="21276" y="40239"/>
                    <a:pt x="20425" y="39520"/>
                    <a:pt x="21276" y="38802"/>
                  </a:cubicBezTo>
                  <a:cubicBezTo>
                    <a:pt x="22127" y="38083"/>
                    <a:pt x="22127" y="37365"/>
                    <a:pt x="22978" y="37365"/>
                  </a:cubicBezTo>
                  <a:cubicBezTo>
                    <a:pt x="22978" y="36646"/>
                    <a:pt x="22978" y="36646"/>
                    <a:pt x="24680" y="36646"/>
                  </a:cubicBezTo>
                  <a:cubicBezTo>
                    <a:pt x="25531" y="36646"/>
                    <a:pt x="27234" y="38083"/>
                    <a:pt x="27234" y="38083"/>
                  </a:cubicBezTo>
                  <a:cubicBezTo>
                    <a:pt x="27234" y="38083"/>
                    <a:pt x="28085" y="38802"/>
                    <a:pt x="27234" y="38802"/>
                  </a:cubicBezTo>
                  <a:cubicBezTo>
                    <a:pt x="27234" y="39520"/>
                    <a:pt x="26382" y="40239"/>
                    <a:pt x="26382" y="40239"/>
                  </a:cubicBezTo>
                  <a:cubicBezTo>
                    <a:pt x="28085" y="42395"/>
                    <a:pt x="28085" y="42395"/>
                    <a:pt x="28085" y="42395"/>
                  </a:cubicBezTo>
                  <a:cubicBezTo>
                    <a:pt x="28085" y="42395"/>
                    <a:pt x="27234" y="42395"/>
                    <a:pt x="26382" y="43113"/>
                  </a:cubicBezTo>
                  <a:cubicBezTo>
                    <a:pt x="26382" y="43113"/>
                    <a:pt x="26382" y="43832"/>
                    <a:pt x="26382" y="43832"/>
                  </a:cubicBezTo>
                  <a:cubicBezTo>
                    <a:pt x="26382" y="44550"/>
                    <a:pt x="23829" y="45269"/>
                    <a:pt x="26382" y="45269"/>
                  </a:cubicBezTo>
                  <a:cubicBezTo>
                    <a:pt x="28085" y="45269"/>
                    <a:pt x="28085" y="45269"/>
                    <a:pt x="28085" y="44550"/>
                  </a:cubicBezTo>
                  <a:cubicBezTo>
                    <a:pt x="28085" y="44550"/>
                    <a:pt x="28085" y="43113"/>
                    <a:pt x="28085" y="43113"/>
                  </a:cubicBezTo>
                  <a:cubicBezTo>
                    <a:pt x="28085" y="43113"/>
                    <a:pt x="28936" y="43113"/>
                    <a:pt x="28936" y="43113"/>
                  </a:cubicBezTo>
                  <a:cubicBezTo>
                    <a:pt x="29787" y="43113"/>
                    <a:pt x="30638" y="43113"/>
                    <a:pt x="30638" y="43113"/>
                  </a:cubicBezTo>
                  <a:cubicBezTo>
                    <a:pt x="31489" y="43832"/>
                    <a:pt x="31489" y="43832"/>
                    <a:pt x="31489" y="43832"/>
                  </a:cubicBezTo>
                  <a:cubicBezTo>
                    <a:pt x="31489" y="43832"/>
                    <a:pt x="31489" y="44550"/>
                    <a:pt x="31489" y="45269"/>
                  </a:cubicBezTo>
                  <a:cubicBezTo>
                    <a:pt x="31489" y="45269"/>
                    <a:pt x="31489" y="45988"/>
                    <a:pt x="31489" y="45988"/>
                  </a:cubicBezTo>
                  <a:cubicBezTo>
                    <a:pt x="31489" y="45988"/>
                    <a:pt x="33191" y="47425"/>
                    <a:pt x="33191" y="46706"/>
                  </a:cubicBezTo>
                  <a:cubicBezTo>
                    <a:pt x="33191" y="45988"/>
                    <a:pt x="34042" y="46706"/>
                    <a:pt x="33191" y="45269"/>
                  </a:cubicBezTo>
                  <a:cubicBezTo>
                    <a:pt x="32340" y="44550"/>
                    <a:pt x="32340" y="43113"/>
                    <a:pt x="32340" y="43113"/>
                  </a:cubicBezTo>
                  <a:cubicBezTo>
                    <a:pt x="32340" y="43113"/>
                    <a:pt x="32340" y="43113"/>
                    <a:pt x="32340" y="42395"/>
                  </a:cubicBezTo>
                  <a:cubicBezTo>
                    <a:pt x="32340" y="42395"/>
                    <a:pt x="32340" y="41676"/>
                    <a:pt x="32340" y="41676"/>
                  </a:cubicBezTo>
                  <a:cubicBezTo>
                    <a:pt x="31489" y="40958"/>
                    <a:pt x="30638" y="40958"/>
                    <a:pt x="30638" y="40239"/>
                  </a:cubicBezTo>
                  <a:cubicBezTo>
                    <a:pt x="30638" y="40239"/>
                    <a:pt x="28085" y="38083"/>
                    <a:pt x="28085" y="38083"/>
                  </a:cubicBezTo>
                  <a:cubicBezTo>
                    <a:pt x="28085" y="38083"/>
                    <a:pt x="28085" y="37365"/>
                    <a:pt x="28085" y="36646"/>
                  </a:cubicBezTo>
                  <a:cubicBezTo>
                    <a:pt x="28085" y="35209"/>
                    <a:pt x="28085" y="34491"/>
                    <a:pt x="28085" y="33772"/>
                  </a:cubicBezTo>
                  <a:cubicBezTo>
                    <a:pt x="28085" y="33772"/>
                    <a:pt x="28936" y="32335"/>
                    <a:pt x="28936" y="32335"/>
                  </a:cubicBezTo>
                  <a:cubicBezTo>
                    <a:pt x="28936" y="32335"/>
                    <a:pt x="28936" y="30898"/>
                    <a:pt x="29787" y="30179"/>
                  </a:cubicBezTo>
                  <a:cubicBezTo>
                    <a:pt x="30638" y="30179"/>
                    <a:pt x="29787" y="29461"/>
                    <a:pt x="30638" y="29461"/>
                  </a:cubicBezTo>
                  <a:cubicBezTo>
                    <a:pt x="32340" y="28742"/>
                    <a:pt x="31489" y="28742"/>
                    <a:pt x="33191" y="28742"/>
                  </a:cubicBezTo>
                  <a:cubicBezTo>
                    <a:pt x="34042" y="28742"/>
                    <a:pt x="35744" y="29461"/>
                    <a:pt x="36595" y="29461"/>
                  </a:cubicBezTo>
                  <a:cubicBezTo>
                    <a:pt x="36595" y="29461"/>
                    <a:pt x="39148" y="30179"/>
                    <a:pt x="39148" y="30179"/>
                  </a:cubicBezTo>
                  <a:cubicBezTo>
                    <a:pt x="39148" y="30179"/>
                    <a:pt x="39148" y="29461"/>
                    <a:pt x="39148" y="29461"/>
                  </a:cubicBezTo>
                  <a:cubicBezTo>
                    <a:pt x="40000" y="29461"/>
                    <a:pt x="40000" y="28023"/>
                    <a:pt x="40000" y="28742"/>
                  </a:cubicBezTo>
                  <a:cubicBezTo>
                    <a:pt x="40851" y="28742"/>
                    <a:pt x="40851" y="29461"/>
                    <a:pt x="41702" y="28742"/>
                  </a:cubicBezTo>
                  <a:cubicBezTo>
                    <a:pt x="42553" y="28023"/>
                    <a:pt x="42553" y="27305"/>
                    <a:pt x="42553" y="27305"/>
                  </a:cubicBezTo>
                  <a:cubicBezTo>
                    <a:pt x="42553" y="27305"/>
                    <a:pt x="43404" y="27305"/>
                    <a:pt x="44255" y="26586"/>
                  </a:cubicBezTo>
                  <a:cubicBezTo>
                    <a:pt x="44255" y="26586"/>
                    <a:pt x="43404" y="25868"/>
                    <a:pt x="42553" y="25868"/>
                  </a:cubicBezTo>
                  <a:cubicBezTo>
                    <a:pt x="42553" y="25868"/>
                    <a:pt x="40851" y="25868"/>
                    <a:pt x="40000" y="26586"/>
                  </a:cubicBezTo>
                  <a:cubicBezTo>
                    <a:pt x="39148" y="26586"/>
                    <a:pt x="40000" y="26586"/>
                    <a:pt x="38297" y="26586"/>
                  </a:cubicBezTo>
                  <a:cubicBezTo>
                    <a:pt x="37446" y="27305"/>
                    <a:pt x="37446" y="27305"/>
                    <a:pt x="35744" y="27305"/>
                  </a:cubicBezTo>
                  <a:cubicBezTo>
                    <a:pt x="34042" y="27305"/>
                    <a:pt x="34042" y="27305"/>
                    <a:pt x="33191" y="28023"/>
                  </a:cubicBezTo>
                  <a:cubicBezTo>
                    <a:pt x="32340" y="28742"/>
                    <a:pt x="31489" y="28742"/>
                    <a:pt x="31489" y="28742"/>
                  </a:cubicBezTo>
                  <a:cubicBezTo>
                    <a:pt x="30638" y="28742"/>
                    <a:pt x="30638" y="28742"/>
                    <a:pt x="30638" y="28742"/>
                  </a:cubicBezTo>
                  <a:cubicBezTo>
                    <a:pt x="30638" y="28742"/>
                    <a:pt x="29787" y="28742"/>
                    <a:pt x="28936" y="28742"/>
                  </a:cubicBezTo>
                  <a:cubicBezTo>
                    <a:pt x="28936" y="28742"/>
                    <a:pt x="28085" y="28023"/>
                    <a:pt x="28085" y="28023"/>
                  </a:cubicBezTo>
                  <a:cubicBezTo>
                    <a:pt x="28085" y="28023"/>
                    <a:pt x="28085" y="28023"/>
                    <a:pt x="27234" y="28023"/>
                  </a:cubicBezTo>
                  <a:cubicBezTo>
                    <a:pt x="26382" y="28023"/>
                    <a:pt x="25531" y="28742"/>
                    <a:pt x="25531" y="28742"/>
                  </a:cubicBezTo>
                  <a:cubicBezTo>
                    <a:pt x="23829" y="28742"/>
                    <a:pt x="23829" y="28742"/>
                    <a:pt x="23829" y="28742"/>
                  </a:cubicBezTo>
                  <a:cubicBezTo>
                    <a:pt x="23829" y="28742"/>
                    <a:pt x="22978" y="28742"/>
                    <a:pt x="22127" y="28742"/>
                  </a:cubicBezTo>
                  <a:cubicBezTo>
                    <a:pt x="22127" y="29461"/>
                    <a:pt x="20425" y="29461"/>
                    <a:pt x="20425" y="29461"/>
                  </a:cubicBezTo>
                  <a:cubicBezTo>
                    <a:pt x="20425" y="29461"/>
                    <a:pt x="20425" y="29461"/>
                    <a:pt x="19574" y="29461"/>
                  </a:cubicBezTo>
                  <a:cubicBezTo>
                    <a:pt x="19574" y="30179"/>
                    <a:pt x="20425" y="30179"/>
                    <a:pt x="19574" y="30898"/>
                  </a:cubicBezTo>
                  <a:cubicBezTo>
                    <a:pt x="18723" y="30898"/>
                    <a:pt x="17021" y="30898"/>
                    <a:pt x="17021" y="30898"/>
                  </a:cubicBezTo>
                  <a:cubicBezTo>
                    <a:pt x="16170" y="31616"/>
                    <a:pt x="16170" y="31616"/>
                    <a:pt x="16170" y="31616"/>
                  </a:cubicBezTo>
                  <a:cubicBezTo>
                    <a:pt x="15319" y="33053"/>
                    <a:pt x="15319" y="33053"/>
                    <a:pt x="15319" y="33053"/>
                  </a:cubicBezTo>
                  <a:cubicBezTo>
                    <a:pt x="14468" y="33053"/>
                    <a:pt x="14468" y="33053"/>
                    <a:pt x="14468" y="33053"/>
                  </a:cubicBezTo>
                  <a:cubicBezTo>
                    <a:pt x="13617" y="35209"/>
                    <a:pt x="13617" y="35209"/>
                    <a:pt x="13617" y="35209"/>
                  </a:cubicBezTo>
                  <a:cubicBezTo>
                    <a:pt x="13617" y="35928"/>
                    <a:pt x="13617" y="35928"/>
                    <a:pt x="13617" y="35928"/>
                  </a:cubicBezTo>
                  <a:cubicBezTo>
                    <a:pt x="11914" y="37365"/>
                    <a:pt x="11914" y="37365"/>
                    <a:pt x="11914" y="37365"/>
                  </a:cubicBezTo>
                  <a:cubicBezTo>
                    <a:pt x="11063" y="38083"/>
                    <a:pt x="11063" y="38083"/>
                    <a:pt x="11063" y="38083"/>
                  </a:cubicBezTo>
                  <a:cubicBezTo>
                    <a:pt x="11063" y="38083"/>
                    <a:pt x="11063" y="38083"/>
                    <a:pt x="11914" y="38802"/>
                  </a:cubicBezTo>
                  <a:cubicBezTo>
                    <a:pt x="11914" y="38802"/>
                    <a:pt x="11914" y="39520"/>
                    <a:pt x="11914" y="39520"/>
                  </a:cubicBezTo>
                  <a:cubicBezTo>
                    <a:pt x="11063" y="40239"/>
                    <a:pt x="11063" y="40239"/>
                    <a:pt x="11063" y="40239"/>
                  </a:cubicBezTo>
                  <a:cubicBezTo>
                    <a:pt x="11914" y="41676"/>
                    <a:pt x="11914" y="41676"/>
                    <a:pt x="11914" y="41676"/>
                  </a:cubicBezTo>
                  <a:cubicBezTo>
                    <a:pt x="13617" y="40958"/>
                    <a:pt x="13617" y="40958"/>
                    <a:pt x="13617" y="40958"/>
                  </a:cubicBezTo>
                  <a:cubicBezTo>
                    <a:pt x="14468" y="42395"/>
                    <a:pt x="14468" y="42395"/>
                    <a:pt x="14468" y="42395"/>
                  </a:cubicBezTo>
                  <a:cubicBezTo>
                    <a:pt x="13617" y="43832"/>
                    <a:pt x="13617" y="43832"/>
                    <a:pt x="13617" y="43832"/>
                  </a:cubicBezTo>
                  <a:cubicBezTo>
                    <a:pt x="13617" y="43832"/>
                    <a:pt x="12765" y="44550"/>
                    <a:pt x="11914" y="44550"/>
                  </a:cubicBezTo>
                  <a:cubicBezTo>
                    <a:pt x="11914" y="44550"/>
                    <a:pt x="11063" y="43832"/>
                    <a:pt x="11063" y="43832"/>
                  </a:cubicBezTo>
                  <a:cubicBezTo>
                    <a:pt x="10212" y="42395"/>
                    <a:pt x="10212" y="42395"/>
                    <a:pt x="10212" y="42395"/>
                  </a:cubicBezTo>
                  <a:cubicBezTo>
                    <a:pt x="10212" y="41676"/>
                    <a:pt x="10212" y="41676"/>
                    <a:pt x="10212" y="41676"/>
                  </a:cubicBezTo>
                  <a:cubicBezTo>
                    <a:pt x="10212" y="40958"/>
                    <a:pt x="10212" y="40958"/>
                    <a:pt x="10212" y="40958"/>
                  </a:cubicBezTo>
                  <a:cubicBezTo>
                    <a:pt x="7659" y="41676"/>
                    <a:pt x="7659" y="41676"/>
                    <a:pt x="7659" y="41676"/>
                  </a:cubicBezTo>
                  <a:cubicBezTo>
                    <a:pt x="7659" y="40958"/>
                    <a:pt x="7659" y="40958"/>
                    <a:pt x="7659" y="40958"/>
                  </a:cubicBezTo>
                  <a:cubicBezTo>
                    <a:pt x="7659" y="40958"/>
                    <a:pt x="6808" y="40239"/>
                    <a:pt x="6808" y="40239"/>
                  </a:cubicBezTo>
                  <a:cubicBezTo>
                    <a:pt x="6808" y="39520"/>
                    <a:pt x="5957" y="38802"/>
                    <a:pt x="5957" y="38802"/>
                  </a:cubicBezTo>
                  <a:cubicBezTo>
                    <a:pt x="4255" y="36646"/>
                    <a:pt x="4255" y="36646"/>
                    <a:pt x="4255" y="36646"/>
                  </a:cubicBezTo>
                  <a:cubicBezTo>
                    <a:pt x="4255" y="36646"/>
                    <a:pt x="4255" y="36646"/>
                    <a:pt x="5106" y="36646"/>
                  </a:cubicBezTo>
                  <a:cubicBezTo>
                    <a:pt x="5106" y="35928"/>
                    <a:pt x="5106" y="35928"/>
                    <a:pt x="5957" y="35209"/>
                  </a:cubicBezTo>
                  <a:cubicBezTo>
                    <a:pt x="5957" y="34491"/>
                    <a:pt x="7659" y="33053"/>
                    <a:pt x="7659" y="33053"/>
                  </a:cubicBezTo>
                  <a:cubicBezTo>
                    <a:pt x="8510" y="30898"/>
                    <a:pt x="8510" y="30898"/>
                    <a:pt x="8510" y="30898"/>
                  </a:cubicBezTo>
                  <a:cubicBezTo>
                    <a:pt x="10212" y="29461"/>
                    <a:pt x="10212" y="29461"/>
                    <a:pt x="10212" y="29461"/>
                  </a:cubicBezTo>
                  <a:cubicBezTo>
                    <a:pt x="11063" y="28023"/>
                    <a:pt x="11063" y="28023"/>
                    <a:pt x="11063" y="28023"/>
                  </a:cubicBezTo>
                  <a:cubicBezTo>
                    <a:pt x="12765" y="25868"/>
                    <a:pt x="12765" y="25868"/>
                    <a:pt x="12765" y="25868"/>
                  </a:cubicBezTo>
                  <a:cubicBezTo>
                    <a:pt x="14468" y="24431"/>
                    <a:pt x="14468" y="24431"/>
                    <a:pt x="14468" y="24431"/>
                  </a:cubicBezTo>
                  <a:cubicBezTo>
                    <a:pt x="17021" y="24431"/>
                    <a:pt x="17021" y="24431"/>
                    <a:pt x="17021" y="24431"/>
                  </a:cubicBezTo>
                  <a:cubicBezTo>
                    <a:pt x="17021" y="24431"/>
                    <a:pt x="18723" y="25149"/>
                    <a:pt x="18723" y="25149"/>
                  </a:cubicBezTo>
                  <a:cubicBezTo>
                    <a:pt x="19574" y="24431"/>
                    <a:pt x="20425" y="23712"/>
                    <a:pt x="20425" y="23712"/>
                  </a:cubicBezTo>
                  <a:cubicBezTo>
                    <a:pt x="23829" y="22994"/>
                    <a:pt x="23829" y="22994"/>
                    <a:pt x="23829" y="22994"/>
                  </a:cubicBezTo>
                  <a:cubicBezTo>
                    <a:pt x="24680" y="22994"/>
                    <a:pt x="24680" y="22994"/>
                    <a:pt x="24680" y="22994"/>
                  </a:cubicBezTo>
                  <a:cubicBezTo>
                    <a:pt x="27234" y="23712"/>
                    <a:pt x="27234" y="23712"/>
                    <a:pt x="27234" y="23712"/>
                  </a:cubicBezTo>
                  <a:cubicBezTo>
                    <a:pt x="28936" y="23712"/>
                    <a:pt x="28936" y="23712"/>
                    <a:pt x="28936" y="23712"/>
                  </a:cubicBezTo>
                  <a:cubicBezTo>
                    <a:pt x="32340" y="23712"/>
                    <a:pt x="32340" y="23712"/>
                    <a:pt x="32340" y="23712"/>
                  </a:cubicBezTo>
                  <a:close/>
                  <a:moveTo>
                    <a:pt x="13617" y="99880"/>
                  </a:moveTo>
                  <a:cubicBezTo>
                    <a:pt x="13617" y="99880"/>
                    <a:pt x="13617" y="99880"/>
                    <a:pt x="13617" y="99880"/>
                  </a:cubicBezTo>
                  <a:cubicBezTo>
                    <a:pt x="13617" y="99880"/>
                    <a:pt x="11914" y="99161"/>
                    <a:pt x="11914" y="99161"/>
                  </a:cubicBezTo>
                  <a:cubicBezTo>
                    <a:pt x="11914" y="99880"/>
                    <a:pt x="11063" y="100598"/>
                    <a:pt x="11063" y="100598"/>
                  </a:cubicBezTo>
                  <a:cubicBezTo>
                    <a:pt x="10212" y="102754"/>
                    <a:pt x="10212" y="102754"/>
                    <a:pt x="10212" y="102754"/>
                  </a:cubicBezTo>
                  <a:cubicBezTo>
                    <a:pt x="9361" y="103473"/>
                    <a:pt x="9361" y="103473"/>
                    <a:pt x="9361" y="103473"/>
                  </a:cubicBezTo>
                  <a:cubicBezTo>
                    <a:pt x="9361" y="104910"/>
                    <a:pt x="9361" y="104910"/>
                    <a:pt x="9361" y="104910"/>
                  </a:cubicBezTo>
                  <a:cubicBezTo>
                    <a:pt x="6808" y="105628"/>
                    <a:pt x="6808" y="105628"/>
                    <a:pt x="6808" y="105628"/>
                  </a:cubicBezTo>
                  <a:cubicBezTo>
                    <a:pt x="6808" y="105628"/>
                    <a:pt x="6808" y="106347"/>
                    <a:pt x="7659" y="106347"/>
                  </a:cubicBezTo>
                  <a:cubicBezTo>
                    <a:pt x="8510" y="106347"/>
                    <a:pt x="9361" y="106347"/>
                    <a:pt x="9361" y="106347"/>
                  </a:cubicBezTo>
                  <a:cubicBezTo>
                    <a:pt x="9361" y="105628"/>
                    <a:pt x="10212" y="104910"/>
                    <a:pt x="10212" y="104910"/>
                  </a:cubicBezTo>
                  <a:cubicBezTo>
                    <a:pt x="10212" y="104910"/>
                    <a:pt x="11063" y="104191"/>
                    <a:pt x="11063" y="104191"/>
                  </a:cubicBezTo>
                  <a:cubicBezTo>
                    <a:pt x="11914" y="104191"/>
                    <a:pt x="13617" y="104191"/>
                    <a:pt x="13617" y="103473"/>
                  </a:cubicBezTo>
                  <a:cubicBezTo>
                    <a:pt x="13617" y="102754"/>
                    <a:pt x="13617" y="102035"/>
                    <a:pt x="13617" y="102035"/>
                  </a:cubicBezTo>
                  <a:cubicBezTo>
                    <a:pt x="13617" y="101317"/>
                    <a:pt x="13617" y="101317"/>
                    <a:pt x="13617" y="101317"/>
                  </a:cubicBezTo>
                  <a:cubicBezTo>
                    <a:pt x="13617" y="99880"/>
                    <a:pt x="13617" y="99880"/>
                    <a:pt x="13617" y="99880"/>
                  </a:cubicBezTo>
                  <a:close/>
                  <a:moveTo>
                    <a:pt x="57872" y="80479"/>
                  </a:moveTo>
                  <a:cubicBezTo>
                    <a:pt x="57872" y="80479"/>
                    <a:pt x="57872" y="80479"/>
                    <a:pt x="57872" y="80479"/>
                  </a:cubicBezTo>
                  <a:cubicBezTo>
                    <a:pt x="57872" y="80479"/>
                    <a:pt x="57872" y="80479"/>
                    <a:pt x="57872" y="80479"/>
                  </a:cubicBezTo>
                  <a:cubicBezTo>
                    <a:pt x="57872" y="80479"/>
                    <a:pt x="58723" y="79760"/>
                    <a:pt x="58723" y="79760"/>
                  </a:cubicBezTo>
                  <a:cubicBezTo>
                    <a:pt x="58723" y="79041"/>
                    <a:pt x="57872" y="78323"/>
                    <a:pt x="57872" y="78323"/>
                  </a:cubicBezTo>
                  <a:cubicBezTo>
                    <a:pt x="57872" y="77604"/>
                    <a:pt x="58723" y="77604"/>
                    <a:pt x="58723" y="77604"/>
                  </a:cubicBezTo>
                  <a:cubicBezTo>
                    <a:pt x="58723" y="77604"/>
                    <a:pt x="58723" y="76886"/>
                    <a:pt x="58723" y="76886"/>
                  </a:cubicBezTo>
                  <a:cubicBezTo>
                    <a:pt x="58723" y="76886"/>
                    <a:pt x="57872" y="76886"/>
                    <a:pt x="57872" y="76886"/>
                  </a:cubicBezTo>
                  <a:cubicBezTo>
                    <a:pt x="57021" y="76886"/>
                    <a:pt x="57021" y="77604"/>
                    <a:pt x="57021" y="77604"/>
                  </a:cubicBezTo>
                  <a:cubicBezTo>
                    <a:pt x="57021" y="77604"/>
                    <a:pt x="57021" y="78323"/>
                    <a:pt x="57021" y="78323"/>
                  </a:cubicBezTo>
                  <a:cubicBezTo>
                    <a:pt x="57021" y="78323"/>
                    <a:pt x="57021" y="79041"/>
                    <a:pt x="57021" y="79041"/>
                  </a:cubicBezTo>
                  <a:cubicBezTo>
                    <a:pt x="57021" y="79041"/>
                    <a:pt x="57872" y="80479"/>
                    <a:pt x="57872" y="80479"/>
                  </a:cubicBezTo>
                  <a:close/>
                  <a:moveTo>
                    <a:pt x="80851" y="99880"/>
                  </a:moveTo>
                  <a:cubicBezTo>
                    <a:pt x="80851" y="99880"/>
                    <a:pt x="80851" y="99880"/>
                    <a:pt x="80851" y="99880"/>
                  </a:cubicBezTo>
                  <a:cubicBezTo>
                    <a:pt x="81702" y="99161"/>
                    <a:pt x="81702" y="99161"/>
                    <a:pt x="81702" y="99161"/>
                  </a:cubicBezTo>
                  <a:cubicBezTo>
                    <a:pt x="82553" y="99880"/>
                    <a:pt x="82553" y="99880"/>
                    <a:pt x="82553" y="99880"/>
                  </a:cubicBezTo>
                  <a:cubicBezTo>
                    <a:pt x="82553" y="99880"/>
                    <a:pt x="81702" y="100598"/>
                    <a:pt x="81702" y="100598"/>
                  </a:cubicBezTo>
                  <a:cubicBezTo>
                    <a:pt x="81702" y="100598"/>
                    <a:pt x="80851" y="99880"/>
                    <a:pt x="80851" y="99880"/>
                  </a:cubicBezTo>
                  <a:cubicBezTo>
                    <a:pt x="80851" y="99880"/>
                    <a:pt x="80851" y="99880"/>
                    <a:pt x="80851" y="99880"/>
                  </a:cubicBezTo>
                  <a:close/>
                  <a:moveTo>
                    <a:pt x="90212" y="109221"/>
                  </a:moveTo>
                  <a:cubicBezTo>
                    <a:pt x="90212" y="109221"/>
                    <a:pt x="90212" y="109221"/>
                    <a:pt x="90212" y="109221"/>
                  </a:cubicBezTo>
                  <a:cubicBezTo>
                    <a:pt x="91063" y="109221"/>
                    <a:pt x="91063" y="109221"/>
                    <a:pt x="91063" y="109221"/>
                  </a:cubicBezTo>
                  <a:cubicBezTo>
                    <a:pt x="91063" y="109940"/>
                    <a:pt x="91063" y="109940"/>
                    <a:pt x="91063" y="109940"/>
                  </a:cubicBezTo>
                  <a:cubicBezTo>
                    <a:pt x="90212" y="110658"/>
                    <a:pt x="90212" y="110658"/>
                    <a:pt x="90212" y="110658"/>
                  </a:cubicBezTo>
                  <a:cubicBezTo>
                    <a:pt x="90212" y="109940"/>
                    <a:pt x="90212" y="109940"/>
                    <a:pt x="90212" y="109940"/>
                  </a:cubicBezTo>
                  <a:cubicBezTo>
                    <a:pt x="90212" y="109221"/>
                    <a:pt x="90212" y="109221"/>
                    <a:pt x="90212" y="109221"/>
                  </a:cubicBezTo>
                  <a:close/>
                  <a:moveTo>
                    <a:pt x="87659" y="107784"/>
                  </a:moveTo>
                  <a:cubicBezTo>
                    <a:pt x="87659" y="107784"/>
                    <a:pt x="87659" y="107784"/>
                    <a:pt x="87659" y="107784"/>
                  </a:cubicBezTo>
                  <a:cubicBezTo>
                    <a:pt x="86808" y="107065"/>
                    <a:pt x="86808" y="107065"/>
                    <a:pt x="86808" y="107065"/>
                  </a:cubicBezTo>
                  <a:cubicBezTo>
                    <a:pt x="88510" y="107065"/>
                    <a:pt x="88510" y="107065"/>
                    <a:pt x="88510" y="107065"/>
                  </a:cubicBezTo>
                  <a:cubicBezTo>
                    <a:pt x="88510" y="107065"/>
                    <a:pt x="88510" y="107065"/>
                    <a:pt x="89361" y="107065"/>
                  </a:cubicBezTo>
                  <a:cubicBezTo>
                    <a:pt x="89361" y="107065"/>
                    <a:pt x="90212" y="107784"/>
                    <a:pt x="90212" y="107784"/>
                  </a:cubicBezTo>
                  <a:cubicBezTo>
                    <a:pt x="90212" y="107784"/>
                    <a:pt x="90212" y="107784"/>
                    <a:pt x="90212" y="107784"/>
                  </a:cubicBezTo>
                  <a:cubicBezTo>
                    <a:pt x="89361" y="107784"/>
                    <a:pt x="89361" y="108502"/>
                    <a:pt x="89361" y="108502"/>
                  </a:cubicBezTo>
                  <a:cubicBezTo>
                    <a:pt x="88510" y="108502"/>
                    <a:pt x="87659" y="107784"/>
                    <a:pt x="87659" y="107784"/>
                  </a:cubicBezTo>
                  <a:close/>
                  <a:moveTo>
                    <a:pt x="91914" y="107784"/>
                  </a:moveTo>
                  <a:cubicBezTo>
                    <a:pt x="91914" y="107784"/>
                    <a:pt x="91914" y="107784"/>
                    <a:pt x="91914" y="107784"/>
                  </a:cubicBezTo>
                  <a:cubicBezTo>
                    <a:pt x="91063" y="106347"/>
                    <a:pt x="91063" y="106347"/>
                    <a:pt x="91063" y="106347"/>
                  </a:cubicBezTo>
                  <a:cubicBezTo>
                    <a:pt x="91914" y="105628"/>
                    <a:pt x="91914" y="105628"/>
                    <a:pt x="91914" y="105628"/>
                  </a:cubicBezTo>
                  <a:cubicBezTo>
                    <a:pt x="91914" y="105628"/>
                    <a:pt x="92765" y="106347"/>
                    <a:pt x="92765" y="106347"/>
                  </a:cubicBezTo>
                  <a:cubicBezTo>
                    <a:pt x="92765" y="106347"/>
                    <a:pt x="91914" y="107065"/>
                    <a:pt x="91914" y="107065"/>
                  </a:cubicBezTo>
                  <a:cubicBezTo>
                    <a:pt x="91914" y="107784"/>
                    <a:pt x="91914" y="107784"/>
                    <a:pt x="91914" y="107784"/>
                  </a:cubicBezTo>
                  <a:close/>
                  <a:moveTo>
                    <a:pt x="109787" y="103473"/>
                  </a:moveTo>
                  <a:cubicBezTo>
                    <a:pt x="109787" y="103473"/>
                    <a:pt x="109787" y="103473"/>
                    <a:pt x="109787" y="103473"/>
                  </a:cubicBezTo>
                  <a:cubicBezTo>
                    <a:pt x="108936" y="102754"/>
                    <a:pt x="108936" y="102754"/>
                    <a:pt x="108936" y="102754"/>
                  </a:cubicBezTo>
                  <a:cubicBezTo>
                    <a:pt x="108936" y="102754"/>
                    <a:pt x="109787" y="102035"/>
                    <a:pt x="109787" y="102035"/>
                  </a:cubicBezTo>
                  <a:cubicBezTo>
                    <a:pt x="110638" y="102035"/>
                    <a:pt x="111489" y="102035"/>
                    <a:pt x="111489" y="102035"/>
                  </a:cubicBezTo>
                  <a:cubicBezTo>
                    <a:pt x="109787" y="103473"/>
                    <a:pt x="109787" y="103473"/>
                    <a:pt x="109787" y="103473"/>
                  </a:cubicBezTo>
                  <a:close/>
                  <a:moveTo>
                    <a:pt x="108085" y="104191"/>
                  </a:moveTo>
                  <a:cubicBezTo>
                    <a:pt x="108085" y="104191"/>
                    <a:pt x="108085" y="104191"/>
                    <a:pt x="108085" y="104191"/>
                  </a:cubicBezTo>
                  <a:cubicBezTo>
                    <a:pt x="108085" y="102035"/>
                    <a:pt x="108085" y="102035"/>
                    <a:pt x="108085" y="102035"/>
                  </a:cubicBezTo>
                  <a:cubicBezTo>
                    <a:pt x="108936" y="101317"/>
                    <a:pt x="108936" y="101317"/>
                    <a:pt x="108936" y="101317"/>
                  </a:cubicBezTo>
                  <a:cubicBezTo>
                    <a:pt x="108085" y="100598"/>
                    <a:pt x="108085" y="100598"/>
                    <a:pt x="108085" y="100598"/>
                  </a:cubicBezTo>
                  <a:cubicBezTo>
                    <a:pt x="107234" y="100598"/>
                    <a:pt x="107234" y="100598"/>
                    <a:pt x="107234" y="100598"/>
                  </a:cubicBezTo>
                  <a:cubicBezTo>
                    <a:pt x="107234" y="100598"/>
                    <a:pt x="106382" y="99161"/>
                    <a:pt x="106382" y="99161"/>
                  </a:cubicBezTo>
                  <a:cubicBezTo>
                    <a:pt x="106382" y="99161"/>
                    <a:pt x="105531" y="99161"/>
                    <a:pt x="105531" y="99161"/>
                  </a:cubicBezTo>
                  <a:cubicBezTo>
                    <a:pt x="105531" y="99161"/>
                    <a:pt x="104680" y="99161"/>
                    <a:pt x="104680" y="99161"/>
                  </a:cubicBezTo>
                  <a:cubicBezTo>
                    <a:pt x="104680" y="99161"/>
                    <a:pt x="105531" y="98443"/>
                    <a:pt x="105531" y="98443"/>
                  </a:cubicBezTo>
                  <a:cubicBezTo>
                    <a:pt x="105531" y="98443"/>
                    <a:pt x="105531" y="98443"/>
                    <a:pt x="106382" y="98443"/>
                  </a:cubicBezTo>
                  <a:cubicBezTo>
                    <a:pt x="107234" y="97724"/>
                    <a:pt x="107234" y="97724"/>
                    <a:pt x="107234" y="97724"/>
                  </a:cubicBezTo>
                  <a:cubicBezTo>
                    <a:pt x="107234" y="97724"/>
                    <a:pt x="108936" y="95568"/>
                    <a:pt x="110638" y="95568"/>
                  </a:cubicBezTo>
                  <a:cubicBezTo>
                    <a:pt x="111489" y="95568"/>
                    <a:pt x="113191" y="95568"/>
                    <a:pt x="113191" y="95568"/>
                  </a:cubicBezTo>
                  <a:cubicBezTo>
                    <a:pt x="114893" y="94131"/>
                    <a:pt x="114893" y="94131"/>
                    <a:pt x="114893" y="94131"/>
                  </a:cubicBezTo>
                  <a:cubicBezTo>
                    <a:pt x="114893" y="94131"/>
                    <a:pt x="114893" y="93413"/>
                    <a:pt x="114893" y="93413"/>
                  </a:cubicBezTo>
                  <a:cubicBezTo>
                    <a:pt x="115744" y="93413"/>
                    <a:pt x="114893" y="91976"/>
                    <a:pt x="114893" y="91976"/>
                  </a:cubicBezTo>
                  <a:cubicBezTo>
                    <a:pt x="114893" y="90538"/>
                    <a:pt x="114893" y="90538"/>
                    <a:pt x="114893" y="90538"/>
                  </a:cubicBezTo>
                  <a:cubicBezTo>
                    <a:pt x="114893" y="90538"/>
                    <a:pt x="112340" y="89101"/>
                    <a:pt x="112340" y="89101"/>
                  </a:cubicBezTo>
                  <a:cubicBezTo>
                    <a:pt x="112340" y="89101"/>
                    <a:pt x="108936" y="87664"/>
                    <a:pt x="108936" y="87664"/>
                  </a:cubicBezTo>
                  <a:cubicBezTo>
                    <a:pt x="108936" y="87664"/>
                    <a:pt x="108936" y="86227"/>
                    <a:pt x="108085" y="86227"/>
                  </a:cubicBezTo>
                  <a:cubicBezTo>
                    <a:pt x="108085" y="86227"/>
                    <a:pt x="108936" y="84790"/>
                    <a:pt x="108936" y="84790"/>
                  </a:cubicBezTo>
                  <a:cubicBezTo>
                    <a:pt x="108936" y="84790"/>
                    <a:pt x="110638" y="82634"/>
                    <a:pt x="112340" y="81916"/>
                  </a:cubicBezTo>
                  <a:cubicBezTo>
                    <a:pt x="113191" y="81197"/>
                    <a:pt x="114042" y="81197"/>
                    <a:pt x="114042" y="81197"/>
                  </a:cubicBezTo>
                  <a:cubicBezTo>
                    <a:pt x="114893" y="81197"/>
                    <a:pt x="115744" y="81916"/>
                    <a:pt x="116595" y="82634"/>
                  </a:cubicBezTo>
                  <a:cubicBezTo>
                    <a:pt x="116595" y="82634"/>
                    <a:pt x="117446" y="82634"/>
                    <a:pt x="118297" y="82634"/>
                  </a:cubicBezTo>
                  <a:cubicBezTo>
                    <a:pt x="119148" y="82634"/>
                    <a:pt x="120000" y="82634"/>
                    <a:pt x="120000" y="82634"/>
                  </a:cubicBezTo>
                  <a:cubicBezTo>
                    <a:pt x="120000" y="82634"/>
                    <a:pt x="120000" y="81197"/>
                    <a:pt x="120000" y="80479"/>
                  </a:cubicBezTo>
                  <a:cubicBezTo>
                    <a:pt x="120000" y="79760"/>
                    <a:pt x="120000" y="80479"/>
                    <a:pt x="119148" y="79760"/>
                  </a:cubicBezTo>
                  <a:cubicBezTo>
                    <a:pt x="119148" y="79760"/>
                    <a:pt x="118297" y="79041"/>
                    <a:pt x="118297" y="79041"/>
                  </a:cubicBezTo>
                  <a:cubicBezTo>
                    <a:pt x="118297" y="79041"/>
                    <a:pt x="118297" y="78323"/>
                    <a:pt x="118297" y="78323"/>
                  </a:cubicBezTo>
                  <a:cubicBezTo>
                    <a:pt x="118297" y="78323"/>
                    <a:pt x="118297" y="77604"/>
                    <a:pt x="118297" y="76886"/>
                  </a:cubicBezTo>
                  <a:cubicBezTo>
                    <a:pt x="118297" y="76886"/>
                    <a:pt x="118297" y="74730"/>
                    <a:pt x="118297" y="74730"/>
                  </a:cubicBezTo>
                  <a:cubicBezTo>
                    <a:pt x="118297" y="74011"/>
                    <a:pt x="117446" y="72574"/>
                    <a:pt x="117446" y="72574"/>
                  </a:cubicBezTo>
                  <a:cubicBezTo>
                    <a:pt x="117446" y="71856"/>
                    <a:pt x="116595" y="71137"/>
                    <a:pt x="116595" y="71137"/>
                  </a:cubicBezTo>
                  <a:cubicBezTo>
                    <a:pt x="115744" y="69700"/>
                    <a:pt x="115744" y="69700"/>
                    <a:pt x="115744" y="69700"/>
                  </a:cubicBezTo>
                  <a:cubicBezTo>
                    <a:pt x="115744" y="69700"/>
                    <a:pt x="115744" y="69700"/>
                    <a:pt x="115744" y="68982"/>
                  </a:cubicBezTo>
                  <a:cubicBezTo>
                    <a:pt x="115744" y="67544"/>
                    <a:pt x="116595" y="66107"/>
                    <a:pt x="116595" y="66107"/>
                  </a:cubicBezTo>
                  <a:cubicBezTo>
                    <a:pt x="117446" y="65389"/>
                    <a:pt x="117446" y="63952"/>
                    <a:pt x="117446" y="63952"/>
                  </a:cubicBezTo>
                  <a:cubicBezTo>
                    <a:pt x="116595" y="63233"/>
                    <a:pt x="116595" y="63233"/>
                    <a:pt x="116595" y="63233"/>
                  </a:cubicBezTo>
                  <a:cubicBezTo>
                    <a:pt x="116595" y="63233"/>
                    <a:pt x="113191" y="62514"/>
                    <a:pt x="113191" y="62514"/>
                  </a:cubicBezTo>
                  <a:cubicBezTo>
                    <a:pt x="113191" y="62514"/>
                    <a:pt x="112340" y="61796"/>
                    <a:pt x="112340" y="61796"/>
                  </a:cubicBezTo>
                  <a:cubicBezTo>
                    <a:pt x="112340" y="61077"/>
                    <a:pt x="111489" y="61077"/>
                    <a:pt x="111489" y="61077"/>
                  </a:cubicBezTo>
                  <a:cubicBezTo>
                    <a:pt x="111489" y="61077"/>
                    <a:pt x="108085" y="61796"/>
                    <a:pt x="108085" y="61796"/>
                  </a:cubicBezTo>
                  <a:cubicBezTo>
                    <a:pt x="108085" y="61796"/>
                    <a:pt x="106382" y="62514"/>
                    <a:pt x="105531" y="63233"/>
                  </a:cubicBezTo>
                  <a:cubicBezTo>
                    <a:pt x="103829" y="63233"/>
                    <a:pt x="103829" y="63233"/>
                    <a:pt x="102978" y="63952"/>
                  </a:cubicBezTo>
                  <a:cubicBezTo>
                    <a:pt x="101276" y="64670"/>
                    <a:pt x="101276" y="65389"/>
                    <a:pt x="100425" y="66107"/>
                  </a:cubicBezTo>
                  <a:cubicBezTo>
                    <a:pt x="99574" y="66107"/>
                    <a:pt x="98723" y="67544"/>
                    <a:pt x="98723" y="67544"/>
                  </a:cubicBezTo>
                  <a:cubicBezTo>
                    <a:pt x="97872" y="68263"/>
                    <a:pt x="97872" y="68263"/>
                    <a:pt x="98723" y="68982"/>
                  </a:cubicBezTo>
                  <a:cubicBezTo>
                    <a:pt x="98723" y="69700"/>
                    <a:pt x="99574" y="68982"/>
                    <a:pt x="99574" y="68982"/>
                  </a:cubicBezTo>
                  <a:cubicBezTo>
                    <a:pt x="99574" y="68982"/>
                    <a:pt x="100425" y="68982"/>
                    <a:pt x="101276" y="68982"/>
                  </a:cubicBezTo>
                  <a:cubicBezTo>
                    <a:pt x="102127" y="68982"/>
                    <a:pt x="102127" y="69700"/>
                    <a:pt x="101276" y="69700"/>
                  </a:cubicBezTo>
                  <a:cubicBezTo>
                    <a:pt x="101276" y="69700"/>
                    <a:pt x="101276" y="70419"/>
                    <a:pt x="101276" y="70419"/>
                  </a:cubicBezTo>
                  <a:cubicBezTo>
                    <a:pt x="101276" y="70419"/>
                    <a:pt x="101276" y="70419"/>
                    <a:pt x="100425" y="71137"/>
                  </a:cubicBezTo>
                  <a:cubicBezTo>
                    <a:pt x="100425" y="71137"/>
                    <a:pt x="100425" y="71856"/>
                    <a:pt x="100425" y="72574"/>
                  </a:cubicBezTo>
                  <a:cubicBezTo>
                    <a:pt x="100425" y="73293"/>
                    <a:pt x="99574" y="73293"/>
                    <a:pt x="99574" y="73293"/>
                  </a:cubicBezTo>
                  <a:cubicBezTo>
                    <a:pt x="98723" y="74011"/>
                    <a:pt x="98723" y="74011"/>
                    <a:pt x="97872" y="74730"/>
                  </a:cubicBezTo>
                  <a:cubicBezTo>
                    <a:pt x="97021" y="74730"/>
                    <a:pt x="97021" y="75449"/>
                    <a:pt x="97021" y="75449"/>
                  </a:cubicBezTo>
                  <a:cubicBezTo>
                    <a:pt x="97021" y="76167"/>
                    <a:pt x="97021" y="76167"/>
                    <a:pt x="97872" y="76886"/>
                  </a:cubicBezTo>
                  <a:cubicBezTo>
                    <a:pt x="97872" y="77604"/>
                    <a:pt x="97872" y="77604"/>
                    <a:pt x="97872" y="77604"/>
                  </a:cubicBezTo>
                  <a:cubicBezTo>
                    <a:pt x="97872" y="78323"/>
                    <a:pt x="97021" y="79041"/>
                    <a:pt x="97021" y="78323"/>
                  </a:cubicBezTo>
                  <a:cubicBezTo>
                    <a:pt x="97021" y="78323"/>
                    <a:pt x="97021" y="77604"/>
                    <a:pt x="97021" y="77604"/>
                  </a:cubicBezTo>
                  <a:cubicBezTo>
                    <a:pt x="94468" y="77604"/>
                    <a:pt x="94468" y="77604"/>
                    <a:pt x="94468" y="77604"/>
                  </a:cubicBezTo>
                  <a:cubicBezTo>
                    <a:pt x="94468" y="77604"/>
                    <a:pt x="94468" y="77604"/>
                    <a:pt x="93617" y="77604"/>
                  </a:cubicBezTo>
                  <a:cubicBezTo>
                    <a:pt x="93617" y="77604"/>
                    <a:pt x="95319" y="76167"/>
                    <a:pt x="95319" y="76167"/>
                  </a:cubicBezTo>
                  <a:cubicBezTo>
                    <a:pt x="96170" y="75449"/>
                    <a:pt x="96170" y="75449"/>
                    <a:pt x="96170" y="75449"/>
                  </a:cubicBezTo>
                  <a:cubicBezTo>
                    <a:pt x="96170" y="74730"/>
                    <a:pt x="96170" y="74730"/>
                    <a:pt x="96170" y="74730"/>
                  </a:cubicBezTo>
                  <a:cubicBezTo>
                    <a:pt x="93617" y="74730"/>
                    <a:pt x="93617" y="74730"/>
                    <a:pt x="93617" y="74730"/>
                  </a:cubicBezTo>
                  <a:cubicBezTo>
                    <a:pt x="92765" y="74730"/>
                    <a:pt x="92765" y="74730"/>
                    <a:pt x="92765" y="74730"/>
                  </a:cubicBezTo>
                  <a:cubicBezTo>
                    <a:pt x="93617" y="74011"/>
                    <a:pt x="93617" y="74011"/>
                    <a:pt x="93617" y="74011"/>
                  </a:cubicBezTo>
                  <a:cubicBezTo>
                    <a:pt x="93617" y="72574"/>
                    <a:pt x="93617" y="72574"/>
                    <a:pt x="93617" y="72574"/>
                  </a:cubicBezTo>
                  <a:cubicBezTo>
                    <a:pt x="94468" y="71137"/>
                    <a:pt x="94468" y="71137"/>
                    <a:pt x="94468" y="71137"/>
                  </a:cubicBezTo>
                  <a:cubicBezTo>
                    <a:pt x="94468" y="71137"/>
                    <a:pt x="94468" y="69700"/>
                    <a:pt x="95319" y="69700"/>
                  </a:cubicBezTo>
                  <a:cubicBezTo>
                    <a:pt x="95319" y="69700"/>
                    <a:pt x="96170" y="68982"/>
                    <a:pt x="96170" y="68263"/>
                  </a:cubicBezTo>
                  <a:cubicBezTo>
                    <a:pt x="97021" y="68263"/>
                    <a:pt x="96170" y="67544"/>
                    <a:pt x="96170" y="67544"/>
                  </a:cubicBezTo>
                  <a:cubicBezTo>
                    <a:pt x="94468" y="67544"/>
                    <a:pt x="94468" y="67544"/>
                    <a:pt x="94468" y="67544"/>
                  </a:cubicBezTo>
                  <a:cubicBezTo>
                    <a:pt x="92765" y="68263"/>
                    <a:pt x="92765" y="68263"/>
                    <a:pt x="92765" y="68263"/>
                  </a:cubicBezTo>
                  <a:cubicBezTo>
                    <a:pt x="92765" y="68263"/>
                    <a:pt x="90212" y="68982"/>
                    <a:pt x="89361" y="68982"/>
                  </a:cubicBezTo>
                  <a:cubicBezTo>
                    <a:pt x="88510" y="68982"/>
                    <a:pt x="89361" y="68982"/>
                    <a:pt x="88510" y="68982"/>
                  </a:cubicBezTo>
                  <a:cubicBezTo>
                    <a:pt x="88510" y="68263"/>
                    <a:pt x="87659" y="68263"/>
                    <a:pt x="87659" y="68263"/>
                  </a:cubicBezTo>
                  <a:cubicBezTo>
                    <a:pt x="87659" y="68263"/>
                    <a:pt x="85957" y="68263"/>
                    <a:pt x="85957" y="68263"/>
                  </a:cubicBezTo>
                  <a:cubicBezTo>
                    <a:pt x="85106" y="68263"/>
                    <a:pt x="85106" y="68982"/>
                    <a:pt x="85106" y="68982"/>
                  </a:cubicBezTo>
                  <a:cubicBezTo>
                    <a:pt x="85106" y="68982"/>
                    <a:pt x="87659" y="69700"/>
                    <a:pt x="88510" y="70419"/>
                  </a:cubicBezTo>
                  <a:cubicBezTo>
                    <a:pt x="88510" y="70419"/>
                    <a:pt x="89361" y="70419"/>
                    <a:pt x="89361" y="70419"/>
                  </a:cubicBezTo>
                  <a:cubicBezTo>
                    <a:pt x="89361" y="71137"/>
                    <a:pt x="89361" y="71137"/>
                    <a:pt x="89361" y="71137"/>
                  </a:cubicBezTo>
                  <a:cubicBezTo>
                    <a:pt x="89361" y="71137"/>
                    <a:pt x="88510" y="72574"/>
                    <a:pt x="87659" y="72574"/>
                  </a:cubicBezTo>
                  <a:cubicBezTo>
                    <a:pt x="87659" y="73293"/>
                    <a:pt x="86808" y="73293"/>
                    <a:pt x="86808" y="73293"/>
                  </a:cubicBezTo>
                  <a:cubicBezTo>
                    <a:pt x="85106" y="74011"/>
                    <a:pt x="85106" y="74011"/>
                    <a:pt x="85106" y="74011"/>
                  </a:cubicBezTo>
                  <a:cubicBezTo>
                    <a:pt x="85106" y="74011"/>
                    <a:pt x="85957" y="75449"/>
                    <a:pt x="85957" y="75449"/>
                  </a:cubicBezTo>
                  <a:cubicBezTo>
                    <a:pt x="85957" y="75449"/>
                    <a:pt x="85957" y="76886"/>
                    <a:pt x="85957" y="76886"/>
                  </a:cubicBezTo>
                  <a:cubicBezTo>
                    <a:pt x="84255" y="76167"/>
                    <a:pt x="84255" y="76167"/>
                    <a:pt x="84255" y="76167"/>
                  </a:cubicBezTo>
                  <a:cubicBezTo>
                    <a:pt x="81702" y="77604"/>
                    <a:pt x="81702" y="77604"/>
                    <a:pt x="81702" y="77604"/>
                  </a:cubicBezTo>
                  <a:cubicBezTo>
                    <a:pt x="81702" y="77604"/>
                    <a:pt x="80851" y="77604"/>
                    <a:pt x="80851" y="77604"/>
                  </a:cubicBezTo>
                  <a:cubicBezTo>
                    <a:pt x="80000" y="77604"/>
                    <a:pt x="80000" y="76886"/>
                    <a:pt x="80000" y="76886"/>
                  </a:cubicBezTo>
                  <a:cubicBezTo>
                    <a:pt x="79148" y="78323"/>
                    <a:pt x="79148" y="78323"/>
                    <a:pt x="79148" y="78323"/>
                  </a:cubicBezTo>
                  <a:cubicBezTo>
                    <a:pt x="79148" y="78323"/>
                    <a:pt x="75744" y="77604"/>
                    <a:pt x="74893" y="77604"/>
                  </a:cubicBezTo>
                  <a:cubicBezTo>
                    <a:pt x="74893" y="77604"/>
                    <a:pt x="74893" y="79041"/>
                    <a:pt x="74893" y="79041"/>
                  </a:cubicBezTo>
                  <a:cubicBezTo>
                    <a:pt x="76595" y="79760"/>
                    <a:pt x="76595" y="79760"/>
                    <a:pt x="76595" y="79760"/>
                  </a:cubicBezTo>
                  <a:cubicBezTo>
                    <a:pt x="74893" y="80479"/>
                    <a:pt x="74893" y="80479"/>
                    <a:pt x="74893" y="80479"/>
                  </a:cubicBezTo>
                  <a:cubicBezTo>
                    <a:pt x="78297" y="81916"/>
                    <a:pt x="78297" y="81916"/>
                    <a:pt x="78297" y="81916"/>
                  </a:cubicBezTo>
                  <a:cubicBezTo>
                    <a:pt x="79148" y="82634"/>
                    <a:pt x="79148" y="82634"/>
                    <a:pt x="79148" y="82634"/>
                  </a:cubicBezTo>
                  <a:cubicBezTo>
                    <a:pt x="80000" y="84790"/>
                    <a:pt x="80000" y="84790"/>
                    <a:pt x="80000" y="84790"/>
                  </a:cubicBezTo>
                  <a:cubicBezTo>
                    <a:pt x="79148" y="85508"/>
                    <a:pt x="79148" y="85508"/>
                    <a:pt x="79148" y="85508"/>
                  </a:cubicBezTo>
                  <a:cubicBezTo>
                    <a:pt x="80851" y="86946"/>
                    <a:pt x="80851" y="86946"/>
                    <a:pt x="80851" y="86946"/>
                  </a:cubicBezTo>
                  <a:cubicBezTo>
                    <a:pt x="80851" y="86946"/>
                    <a:pt x="80851" y="87664"/>
                    <a:pt x="81702" y="88383"/>
                  </a:cubicBezTo>
                  <a:cubicBezTo>
                    <a:pt x="81702" y="88383"/>
                    <a:pt x="81702" y="89820"/>
                    <a:pt x="81702" y="89820"/>
                  </a:cubicBezTo>
                  <a:cubicBezTo>
                    <a:pt x="81702" y="91257"/>
                    <a:pt x="81702" y="91257"/>
                    <a:pt x="81702" y="91257"/>
                  </a:cubicBezTo>
                  <a:cubicBezTo>
                    <a:pt x="81702" y="91976"/>
                    <a:pt x="81702" y="91976"/>
                    <a:pt x="81702" y="91976"/>
                  </a:cubicBezTo>
                  <a:cubicBezTo>
                    <a:pt x="81702" y="91976"/>
                    <a:pt x="80000" y="92694"/>
                    <a:pt x="80000" y="93413"/>
                  </a:cubicBezTo>
                  <a:cubicBezTo>
                    <a:pt x="80000" y="93413"/>
                    <a:pt x="80851" y="93413"/>
                    <a:pt x="80851" y="93413"/>
                  </a:cubicBezTo>
                  <a:cubicBezTo>
                    <a:pt x="82553" y="94850"/>
                    <a:pt x="82553" y="94850"/>
                    <a:pt x="82553" y="94850"/>
                  </a:cubicBezTo>
                  <a:cubicBezTo>
                    <a:pt x="83404" y="96287"/>
                    <a:pt x="83404" y="96287"/>
                    <a:pt x="83404" y="96287"/>
                  </a:cubicBezTo>
                  <a:cubicBezTo>
                    <a:pt x="83404" y="96287"/>
                    <a:pt x="82553" y="97005"/>
                    <a:pt x="82553" y="97724"/>
                  </a:cubicBezTo>
                  <a:cubicBezTo>
                    <a:pt x="82553" y="97724"/>
                    <a:pt x="84255" y="98443"/>
                    <a:pt x="84255" y="98443"/>
                  </a:cubicBezTo>
                  <a:cubicBezTo>
                    <a:pt x="87659" y="98443"/>
                    <a:pt x="87659" y="98443"/>
                    <a:pt x="87659" y="98443"/>
                  </a:cubicBezTo>
                  <a:cubicBezTo>
                    <a:pt x="89361" y="98443"/>
                    <a:pt x="89361" y="98443"/>
                    <a:pt x="89361" y="98443"/>
                  </a:cubicBezTo>
                  <a:cubicBezTo>
                    <a:pt x="89361" y="98443"/>
                    <a:pt x="91914" y="98443"/>
                    <a:pt x="92765" y="98443"/>
                  </a:cubicBezTo>
                  <a:cubicBezTo>
                    <a:pt x="92765" y="98443"/>
                    <a:pt x="95319" y="97724"/>
                    <a:pt x="95319" y="97724"/>
                  </a:cubicBezTo>
                  <a:cubicBezTo>
                    <a:pt x="95319" y="97724"/>
                    <a:pt x="97021" y="99161"/>
                    <a:pt x="97872" y="99161"/>
                  </a:cubicBezTo>
                  <a:cubicBezTo>
                    <a:pt x="98723" y="99880"/>
                    <a:pt x="97872" y="100598"/>
                    <a:pt x="97872" y="100598"/>
                  </a:cubicBezTo>
                  <a:cubicBezTo>
                    <a:pt x="97872" y="101317"/>
                    <a:pt x="97021" y="101317"/>
                    <a:pt x="97021" y="101317"/>
                  </a:cubicBezTo>
                  <a:cubicBezTo>
                    <a:pt x="97021" y="101317"/>
                    <a:pt x="97872" y="103473"/>
                    <a:pt x="97872" y="103473"/>
                  </a:cubicBezTo>
                  <a:cubicBezTo>
                    <a:pt x="98723" y="104191"/>
                    <a:pt x="98723" y="103473"/>
                    <a:pt x="98723" y="103473"/>
                  </a:cubicBezTo>
                  <a:cubicBezTo>
                    <a:pt x="98723" y="103473"/>
                    <a:pt x="99574" y="104191"/>
                    <a:pt x="100425" y="104910"/>
                  </a:cubicBezTo>
                  <a:cubicBezTo>
                    <a:pt x="100425" y="105628"/>
                    <a:pt x="101276" y="105628"/>
                    <a:pt x="101276" y="105628"/>
                  </a:cubicBezTo>
                  <a:cubicBezTo>
                    <a:pt x="102127" y="105628"/>
                    <a:pt x="102127" y="105628"/>
                    <a:pt x="102127" y="105628"/>
                  </a:cubicBezTo>
                  <a:cubicBezTo>
                    <a:pt x="102127" y="105628"/>
                    <a:pt x="102978" y="105628"/>
                    <a:pt x="102978" y="106347"/>
                  </a:cubicBezTo>
                  <a:cubicBezTo>
                    <a:pt x="103829" y="106347"/>
                    <a:pt x="104680" y="106347"/>
                    <a:pt x="105531" y="106347"/>
                  </a:cubicBezTo>
                  <a:cubicBezTo>
                    <a:pt x="105531" y="106347"/>
                    <a:pt x="106382" y="106347"/>
                    <a:pt x="106382" y="105628"/>
                  </a:cubicBezTo>
                  <a:cubicBezTo>
                    <a:pt x="106382" y="105628"/>
                    <a:pt x="107234" y="105628"/>
                    <a:pt x="108085" y="105628"/>
                  </a:cubicBezTo>
                  <a:cubicBezTo>
                    <a:pt x="108085" y="104910"/>
                    <a:pt x="108085" y="104191"/>
                    <a:pt x="108085" y="104191"/>
                  </a:cubicBezTo>
                  <a:cubicBezTo>
                    <a:pt x="108085" y="104191"/>
                    <a:pt x="108085" y="104191"/>
                    <a:pt x="108085" y="104191"/>
                  </a:cubicBezTo>
                  <a:close/>
                  <a:moveTo>
                    <a:pt x="108085" y="107784"/>
                  </a:moveTo>
                  <a:cubicBezTo>
                    <a:pt x="108085" y="107784"/>
                    <a:pt x="108085" y="107784"/>
                    <a:pt x="108085" y="107784"/>
                  </a:cubicBezTo>
                  <a:cubicBezTo>
                    <a:pt x="107234" y="108502"/>
                    <a:pt x="107234" y="108502"/>
                    <a:pt x="107234" y="108502"/>
                  </a:cubicBezTo>
                  <a:cubicBezTo>
                    <a:pt x="108085" y="108502"/>
                    <a:pt x="108085" y="108502"/>
                    <a:pt x="108085" y="108502"/>
                  </a:cubicBezTo>
                  <a:cubicBezTo>
                    <a:pt x="108085" y="108502"/>
                    <a:pt x="109787" y="109221"/>
                    <a:pt x="109787" y="109221"/>
                  </a:cubicBezTo>
                  <a:cubicBezTo>
                    <a:pt x="110638" y="109221"/>
                    <a:pt x="110638" y="109221"/>
                    <a:pt x="110638" y="109221"/>
                  </a:cubicBezTo>
                  <a:cubicBezTo>
                    <a:pt x="111489" y="108502"/>
                    <a:pt x="111489" y="108502"/>
                    <a:pt x="111489" y="108502"/>
                  </a:cubicBezTo>
                  <a:cubicBezTo>
                    <a:pt x="112340" y="107065"/>
                    <a:pt x="112340" y="107065"/>
                    <a:pt x="112340" y="107065"/>
                  </a:cubicBezTo>
                  <a:cubicBezTo>
                    <a:pt x="114893" y="106347"/>
                    <a:pt x="114893" y="106347"/>
                    <a:pt x="114893" y="106347"/>
                  </a:cubicBezTo>
                  <a:cubicBezTo>
                    <a:pt x="114893" y="106347"/>
                    <a:pt x="117446" y="106347"/>
                    <a:pt x="117446" y="106347"/>
                  </a:cubicBezTo>
                  <a:cubicBezTo>
                    <a:pt x="117446" y="106347"/>
                    <a:pt x="118297" y="105628"/>
                    <a:pt x="118297" y="105628"/>
                  </a:cubicBezTo>
                  <a:cubicBezTo>
                    <a:pt x="118297" y="104910"/>
                    <a:pt x="118297" y="104910"/>
                    <a:pt x="118297" y="104910"/>
                  </a:cubicBezTo>
                  <a:cubicBezTo>
                    <a:pt x="116595" y="103473"/>
                    <a:pt x="116595" y="103473"/>
                    <a:pt x="116595" y="103473"/>
                  </a:cubicBezTo>
                  <a:cubicBezTo>
                    <a:pt x="114893" y="103473"/>
                    <a:pt x="114893" y="103473"/>
                    <a:pt x="114893" y="103473"/>
                  </a:cubicBezTo>
                  <a:cubicBezTo>
                    <a:pt x="114893" y="103473"/>
                    <a:pt x="113191" y="103473"/>
                    <a:pt x="112340" y="103473"/>
                  </a:cubicBezTo>
                  <a:cubicBezTo>
                    <a:pt x="112340" y="103473"/>
                    <a:pt x="111489" y="103473"/>
                    <a:pt x="111489" y="103473"/>
                  </a:cubicBezTo>
                  <a:cubicBezTo>
                    <a:pt x="111489" y="103473"/>
                    <a:pt x="111489" y="104191"/>
                    <a:pt x="111489" y="104910"/>
                  </a:cubicBezTo>
                  <a:cubicBezTo>
                    <a:pt x="110638" y="105628"/>
                    <a:pt x="110638" y="105628"/>
                    <a:pt x="109787" y="105628"/>
                  </a:cubicBezTo>
                  <a:cubicBezTo>
                    <a:pt x="109787" y="105628"/>
                    <a:pt x="108936" y="105628"/>
                    <a:pt x="108936" y="105628"/>
                  </a:cubicBezTo>
                  <a:cubicBezTo>
                    <a:pt x="108085" y="107784"/>
                    <a:pt x="108085" y="107784"/>
                    <a:pt x="108085" y="107784"/>
                  </a:cubicBezTo>
                  <a:close/>
                  <a:moveTo>
                    <a:pt x="98723" y="116407"/>
                  </a:moveTo>
                  <a:cubicBezTo>
                    <a:pt x="98723" y="116407"/>
                    <a:pt x="98723" y="116407"/>
                    <a:pt x="98723" y="116407"/>
                  </a:cubicBezTo>
                  <a:cubicBezTo>
                    <a:pt x="99574" y="116407"/>
                    <a:pt x="99574" y="116407"/>
                    <a:pt x="99574" y="116407"/>
                  </a:cubicBezTo>
                  <a:cubicBezTo>
                    <a:pt x="100425" y="115688"/>
                    <a:pt x="100425" y="115688"/>
                    <a:pt x="100425" y="115688"/>
                  </a:cubicBezTo>
                  <a:cubicBezTo>
                    <a:pt x="99574" y="114251"/>
                    <a:pt x="99574" y="114251"/>
                    <a:pt x="99574" y="114251"/>
                  </a:cubicBezTo>
                  <a:cubicBezTo>
                    <a:pt x="98723" y="113532"/>
                    <a:pt x="98723" y="113532"/>
                    <a:pt x="98723" y="113532"/>
                  </a:cubicBezTo>
                  <a:cubicBezTo>
                    <a:pt x="97872" y="111377"/>
                    <a:pt x="97872" y="111377"/>
                    <a:pt x="97872" y="111377"/>
                  </a:cubicBezTo>
                  <a:cubicBezTo>
                    <a:pt x="96170" y="109940"/>
                    <a:pt x="96170" y="109940"/>
                    <a:pt x="96170" y="109940"/>
                  </a:cubicBezTo>
                  <a:cubicBezTo>
                    <a:pt x="95319" y="109221"/>
                    <a:pt x="95319" y="109221"/>
                    <a:pt x="95319" y="109221"/>
                  </a:cubicBezTo>
                  <a:cubicBezTo>
                    <a:pt x="94468" y="110658"/>
                    <a:pt x="94468" y="110658"/>
                    <a:pt x="94468" y="110658"/>
                  </a:cubicBezTo>
                  <a:cubicBezTo>
                    <a:pt x="93617" y="111377"/>
                    <a:pt x="93617" y="111377"/>
                    <a:pt x="93617" y="111377"/>
                  </a:cubicBezTo>
                  <a:cubicBezTo>
                    <a:pt x="92765" y="112095"/>
                    <a:pt x="92765" y="112095"/>
                    <a:pt x="92765" y="112095"/>
                  </a:cubicBezTo>
                  <a:cubicBezTo>
                    <a:pt x="92765" y="112095"/>
                    <a:pt x="90212" y="111377"/>
                    <a:pt x="89361" y="110658"/>
                  </a:cubicBezTo>
                  <a:cubicBezTo>
                    <a:pt x="87659" y="109940"/>
                    <a:pt x="87659" y="109940"/>
                    <a:pt x="87659" y="109940"/>
                  </a:cubicBezTo>
                  <a:cubicBezTo>
                    <a:pt x="87659" y="109940"/>
                    <a:pt x="86808" y="109940"/>
                    <a:pt x="85957" y="109221"/>
                  </a:cubicBezTo>
                  <a:cubicBezTo>
                    <a:pt x="85957" y="109221"/>
                    <a:pt x="85106" y="108502"/>
                    <a:pt x="85106" y="108502"/>
                  </a:cubicBezTo>
                  <a:cubicBezTo>
                    <a:pt x="85106" y="108502"/>
                    <a:pt x="85106" y="107784"/>
                    <a:pt x="84255" y="107784"/>
                  </a:cubicBezTo>
                  <a:cubicBezTo>
                    <a:pt x="84255" y="107065"/>
                    <a:pt x="83404" y="107784"/>
                    <a:pt x="82553" y="107784"/>
                  </a:cubicBezTo>
                  <a:cubicBezTo>
                    <a:pt x="80851" y="107784"/>
                    <a:pt x="80851" y="107784"/>
                    <a:pt x="80000" y="107784"/>
                  </a:cubicBezTo>
                  <a:cubicBezTo>
                    <a:pt x="80000" y="108502"/>
                    <a:pt x="79148" y="108502"/>
                    <a:pt x="79148" y="108502"/>
                  </a:cubicBezTo>
                  <a:cubicBezTo>
                    <a:pt x="78297" y="109221"/>
                    <a:pt x="79148" y="110658"/>
                    <a:pt x="79148" y="110658"/>
                  </a:cubicBezTo>
                  <a:cubicBezTo>
                    <a:pt x="79148" y="111377"/>
                    <a:pt x="79148" y="111377"/>
                    <a:pt x="79148" y="111377"/>
                  </a:cubicBezTo>
                  <a:cubicBezTo>
                    <a:pt x="80000" y="112814"/>
                    <a:pt x="80000" y="112814"/>
                    <a:pt x="80000" y="112814"/>
                  </a:cubicBezTo>
                  <a:cubicBezTo>
                    <a:pt x="78297" y="112814"/>
                    <a:pt x="78297" y="112814"/>
                    <a:pt x="78297" y="112814"/>
                  </a:cubicBezTo>
                  <a:cubicBezTo>
                    <a:pt x="77446" y="112814"/>
                    <a:pt x="77446" y="112814"/>
                    <a:pt x="77446" y="112814"/>
                  </a:cubicBezTo>
                  <a:cubicBezTo>
                    <a:pt x="78297" y="114251"/>
                    <a:pt x="78297" y="114251"/>
                    <a:pt x="78297" y="114251"/>
                  </a:cubicBezTo>
                  <a:cubicBezTo>
                    <a:pt x="78297" y="114251"/>
                    <a:pt x="78297" y="114970"/>
                    <a:pt x="79148" y="115688"/>
                  </a:cubicBezTo>
                  <a:cubicBezTo>
                    <a:pt x="79148" y="115688"/>
                    <a:pt x="80000" y="116407"/>
                    <a:pt x="80000" y="116407"/>
                  </a:cubicBezTo>
                  <a:cubicBezTo>
                    <a:pt x="80000" y="116407"/>
                    <a:pt x="84255" y="117125"/>
                    <a:pt x="84255" y="117125"/>
                  </a:cubicBezTo>
                  <a:cubicBezTo>
                    <a:pt x="85106" y="117125"/>
                    <a:pt x="85106" y="117125"/>
                    <a:pt x="85106" y="117125"/>
                  </a:cubicBezTo>
                  <a:cubicBezTo>
                    <a:pt x="85106" y="117125"/>
                    <a:pt x="86808" y="117844"/>
                    <a:pt x="88510" y="118562"/>
                  </a:cubicBezTo>
                  <a:cubicBezTo>
                    <a:pt x="89361" y="119281"/>
                    <a:pt x="90212" y="120000"/>
                    <a:pt x="90212" y="120000"/>
                  </a:cubicBezTo>
                  <a:cubicBezTo>
                    <a:pt x="90212" y="120000"/>
                    <a:pt x="91914" y="120000"/>
                    <a:pt x="91914" y="120000"/>
                  </a:cubicBezTo>
                  <a:cubicBezTo>
                    <a:pt x="92765" y="119281"/>
                    <a:pt x="92765" y="119281"/>
                    <a:pt x="92765" y="119281"/>
                  </a:cubicBezTo>
                  <a:cubicBezTo>
                    <a:pt x="95319" y="118562"/>
                    <a:pt x="95319" y="118562"/>
                    <a:pt x="95319" y="118562"/>
                  </a:cubicBezTo>
                  <a:cubicBezTo>
                    <a:pt x="97021" y="118562"/>
                    <a:pt x="97021" y="118562"/>
                    <a:pt x="97021" y="118562"/>
                  </a:cubicBezTo>
                  <a:cubicBezTo>
                    <a:pt x="99574" y="119281"/>
                    <a:pt x="99574" y="119281"/>
                    <a:pt x="99574" y="119281"/>
                  </a:cubicBezTo>
                  <a:cubicBezTo>
                    <a:pt x="100425" y="119281"/>
                    <a:pt x="100425" y="119281"/>
                    <a:pt x="100425" y="119281"/>
                  </a:cubicBezTo>
                  <a:cubicBezTo>
                    <a:pt x="100425" y="117844"/>
                    <a:pt x="100425" y="117844"/>
                    <a:pt x="100425" y="117844"/>
                  </a:cubicBezTo>
                  <a:cubicBezTo>
                    <a:pt x="100425" y="117125"/>
                    <a:pt x="100425" y="117125"/>
                    <a:pt x="100425" y="117125"/>
                  </a:cubicBezTo>
                  <a:cubicBezTo>
                    <a:pt x="98723" y="116407"/>
                    <a:pt x="98723" y="116407"/>
                    <a:pt x="98723" y="116407"/>
                  </a:cubicBezTo>
                  <a:close/>
                  <a:moveTo>
                    <a:pt x="65531" y="86946"/>
                  </a:moveTo>
                  <a:cubicBezTo>
                    <a:pt x="65531" y="86946"/>
                    <a:pt x="65531" y="86946"/>
                    <a:pt x="65531" y="86946"/>
                  </a:cubicBezTo>
                  <a:cubicBezTo>
                    <a:pt x="63829" y="86227"/>
                    <a:pt x="63829" y="86227"/>
                    <a:pt x="63829" y="86227"/>
                  </a:cubicBezTo>
                  <a:cubicBezTo>
                    <a:pt x="62127" y="84071"/>
                    <a:pt x="62127" y="84071"/>
                    <a:pt x="62127" y="84071"/>
                  </a:cubicBezTo>
                  <a:cubicBezTo>
                    <a:pt x="59574" y="83353"/>
                    <a:pt x="59574" y="83353"/>
                    <a:pt x="59574" y="83353"/>
                  </a:cubicBezTo>
                  <a:cubicBezTo>
                    <a:pt x="59574" y="83353"/>
                    <a:pt x="58723" y="81197"/>
                    <a:pt x="58723" y="81197"/>
                  </a:cubicBezTo>
                  <a:cubicBezTo>
                    <a:pt x="57872" y="80479"/>
                    <a:pt x="57872" y="81197"/>
                    <a:pt x="57872" y="81197"/>
                  </a:cubicBezTo>
                  <a:cubicBezTo>
                    <a:pt x="57872" y="81197"/>
                    <a:pt x="57872" y="82634"/>
                    <a:pt x="57021" y="83353"/>
                  </a:cubicBezTo>
                  <a:cubicBezTo>
                    <a:pt x="56170" y="83353"/>
                    <a:pt x="55319" y="83353"/>
                    <a:pt x="55319" y="83353"/>
                  </a:cubicBezTo>
                  <a:cubicBezTo>
                    <a:pt x="53617" y="84790"/>
                    <a:pt x="53617" y="84790"/>
                    <a:pt x="53617" y="84790"/>
                  </a:cubicBezTo>
                  <a:cubicBezTo>
                    <a:pt x="53617" y="84790"/>
                    <a:pt x="51063" y="85508"/>
                    <a:pt x="50212" y="85508"/>
                  </a:cubicBezTo>
                  <a:cubicBezTo>
                    <a:pt x="50212" y="85508"/>
                    <a:pt x="49361" y="86227"/>
                    <a:pt x="49361" y="86227"/>
                  </a:cubicBezTo>
                  <a:cubicBezTo>
                    <a:pt x="44255" y="85508"/>
                    <a:pt x="44255" y="85508"/>
                    <a:pt x="44255" y="85508"/>
                  </a:cubicBezTo>
                  <a:cubicBezTo>
                    <a:pt x="42553" y="86946"/>
                    <a:pt x="42553" y="86946"/>
                    <a:pt x="42553" y="86946"/>
                  </a:cubicBezTo>
                  <a:cubicBezTo>
                    <a:pt x="42553" y="87664"/>
                    <a:pt x="42553" y="87664"/>
                    <a:pt x="42553" y="87664"/>
                  </a:cubicBezTo>
                  <a:cubicBezTo>
                    <a:pt x="43404" y="89101"/>
                    <a:pt x="43404" y="89101"/>
                    <a:pt x="43404" y="89101"/>
                  </a:cubicBezTo>
                  <a:cubicBezTo>
                    <a:pt x="44255" y="89820"/>
                    <a:pt x="44255" y="89820"/>
                    <a:pt x="44255" y="89820"/>
                  </a:cubicBezTo>
                  <a:cubicBezTo>
                    <a:pt x="45106" y="89820"/>
                    <a:pt x="45106" y="89820"/>
                    <a:pt x="45106" y="89820"/>
                  </a:cubicBezTo>
                  <a:cubicBezTo>
                    <a:pt x="45106" y="91257"/>
                    <a:pt x="45106" y="91257"/>
                    <a:pt x="45106" y="91257"/>
                  </a:cubicBezTo>
                  <a:cubicBezTo>
                    <a:pt x="45957" y="92694"/>
                    <a:pt x="45957" y="92694"/>
                    <a:pt x="45957" y="92694"/>
                  </a:cubicBezTo>
                  <a:cubicBezTo>
                    <a:pt x="45957" y="92694"/>
                    <a:pt x="46808" y="93413"/>
                    <a:pt x="47659" y="94850"/>
                  </a:cubicBezTo>
                  <a:cubicBezTo>
                    <a:pt x="48510" y="96287"/>
                    <a:pt x="47659" y="97005"/>
                    <a:pt x="47659" y="97005"/>
                  </a:cubicBezTo>
                  <a:cubicBezTo>
                    <a:pt x="50212" y="99161"/>
                    <a:pt x="50212" y="99161"/>
                    <a:pt x="50212" y="99161"/>
                  </a:cubicBezTo>
                  <a:cubicBezTo>
                    <a:pt x="51914" y="99880"/>
                    <a:pt x="51914" y="99880"/>
                    <a:pt x="51914" y="99880"/>
                  </a:cubicBezTo>
                  <a:cubicBezTo>
                    <a:pt x="51914" y="99880"/>
                    <a:pt x="52765" y="100598"/>
                    <a:pt x="53617" y="100598"/>
                  </a:cubicBezTo>
                  <a:cubicBezTo>
                    <a:pt x="53617" y="100598"/>
                    <a:pt x="53617" y="101317"/>
                    <a:pt x="53617" y="101317"/>
                  </a:cubicBezTo>
                  <a:cubicBezTo>
                    <a:pt x="53617" y="102754"/>
                    <a:pt x="53617" y="102754"/>
                    <a:pt x="53617" y="102754"/>
                  </a:cubicBezTo>
                  <a:cubicBezTo>
                    <a:pt x="54468" y="104191"/>
                    <a:pt x="54468" y="104191"/>
                    <a:pt x="54468" y="104191"/>
                  </a:cubicBezTo>
                  <a:cubicBezTo>
                    <a:pt x="55319" y="103473"/>
                    <a:pt x="55319" y="103473"/>
                    <a:pt x="55319" y="103473"/>
                  </a:cubicBezTo>
                  <a:cubicBezTo>
                    <a:pt x="56170" y="102754"/>
                    <a:pt x="56170" y="102754"/>
                    <a:pt x="56170" y="102754"/>
                  </a:cubicBezTo>
                  <a:cubicBezTo>
                    <a:pt x="60425" y="104191"/>
                    <a:pt x="60425" y="104191"/>
                    <a:pt x="60425" y="104191"/>
                  </a:cubicBezTo>
                  <a:cubicBezTo>
                    <a:pt x="60425" y="104191"/>
                    <a:pt x="63829" y="105628"/>
                    <a:pt x="64680" y="105628"/>
                  </a:cubicBezTo>
                  <a:cubicBezTo>
                    <a:pt x="64680" y="105628"/>
                    <a:pt x="66382" y="104191"/>
                    <a:pt x="66382" y="104191"/>
                  </a:cubicBezTo>
                  <a:cubicBezTo>
                    <a:pt x="67234" y="103473"/>
                    <a:pt x="69787" y="103473"/>
                    <a:pt x="69787" y="103473"/>
                  </a:cubicBezTo>
                  <a:cubicBezTo>
                    <a:pt x="70638" y="103473"/>
                    <a:pt x="70638" y="102754"/>
                    <a:pt x="70638" y="102754"/>
                  </a:cubicBezTo>
                  <a:cubicBezTo>
                    <a:pt x="70638" y="102035"/>
                    <a:pt x="71489" y="101317"/>
                    <a:pt x="71489" y="100598"/>
                  </a:cubicBezTo>
                  <a:cubicBezTo>
                    <a:pt x="71489" y="99880"/>
                    <a:pt x="72340" y="99161"/>
                    <a:pt x="72340" y="99161"/>
                  </a:cubicBezTo>
                  <a:cubicBezTo>
                    <a:pt x="72340" y="97724"/>
                    <a:pt x="72340" y="97724"/>
                    <a:pt x="72340" y="97724"/>
                  </a:cubicBezTo>
                  <a:cubicBezTo>
                    <a:pt x="71489" y="95568"/>
                    <a:pt x="71489" y="95568"/>
                    <a:pt x="71489" y="95568"/>
                  </a:cubicBezTo>
                  <a:cubicBezTo>
                    <a:pt x="72340" y="92694"/>
                    <a:pt x="72340" y="92694"/>
                    <a:pt x="72340" y="92694"/>
                  </a:cubicBezTo>
                  <a:cubicBezTo>
                    <a:pt x="70638" y="91257"/>
                    <a:pt x="70638" y="91257"/>
                    <a:pt x="70638" y="91257"/>
                  </a:cubicBezTo>
                  <a:cubicBezTo>
                    <a:pt x="69787" y="90538"/>
                    <a:pt x="69787" y="90538"/>
                    <a:pt x="69787" y="90538"/>
                  </a:cubicBezTo>
                  <a:cubicBezTo>
                    <a:pt x="69787" y="89820"/>
                    <a:pt x="69787" y="89820"/>
                    <a:pt x="69787" y="89820"/>
                  </a:cubicBezTo>
                  <a:cubicBezTo>
                    <a:pt x="69787" y="89101"/>
                    <a:pt x="69787" y="89101"/>
                    <a:pt x="69787" y="89101"/>
                  </a:cubicBezTo>
                  <a:cubicBezTo>
                    <a:pt x="71489" y="88383"/>
                    <a:pt x="71489" y="88383"/>
                    <a:pt x="71489" y="88383"/>
                  </a:cubicBezTo>
                  <a:cubicBezTo>
                    <a:pt x="71489" y="86227"/>
                    <a:pt x="71489" y="86227"/>
                    <a:pt x="71489" y="86227"/>
                  </a:cubicBezTo>
                  <a:cubicBezTo>
                    <a:pt x="74042" y="84790"/>
                    <a:pt x="74042" y="84790"/>
                    <a:pt x="74042" y="84790"/>
                  </a:cubicBezTo>
                  <a:cubicBezTo>
                    <a:pt x="74893" y="82634"/>
                    <a:pt x="74893" y="82634"/>
                    <a:pt x="74893" y="82634"/>
                  </a:cubicBezTo>
                  <a:cubicBezTo>
                    <a:pt x="74893" y="82634"/>
                    <a:pt x="71489" y="81916"/>
                    <a:pt x="70638" y="81916"/>
                  </a:cubicBezTo>
                  <a:cubicBezTo>
                    <a:pt x="68936" y="81916"/>
                    <a:pt x="69787" y="81916"/>
                    <a:pt x="69787" y="81197"/>
                  </a:cubicBezTo>
                  <a:cubicBezTo>
                    <a:pt x="69787" y="81197"/>
                    <a:pt x="68936" y="80479"/>
                    <a:pt x="68936" y="80479"/>
                  </a:cubicBezTo>
                  <a:cubicBezTo>
                    <a:pt x="68936" y="80479"/>
                    <a:pt x="67234" y="81197"/>
                    <a:pt x="67234" y="81197"/>
                  </a:cubicBezTo>
                  <a:cubicBezTo>
                    <a:pt x="66382" y="81197"/>
                    <a:pt x="66382" y="79760"/>
                    <a:pt x="66382" y="79760"/>
                  </a:cubicBezTo>
                  <a:cubicBezTo>
                    <a:pt x="66382" y="79760"/>
                    <a:pt x="64680" y="80479"/>
                    <a:pt x="64680" y="80479"/>
                  </a:cubicBezTo>
                  <a:cubicBezTo>
                    <a:pt x="63829" y="80479"/>
                    <a:pt x="62127" y="80479"/>
                    <a:pt x="62127" y="80479"/>
                  </a:cubicBezTo>
                  <a:cubicBezTo>
                    <a:pt x="62127" y="80479"/>
                    <a:pt x="62127" y="81197"/>
                    <a:pt x="62127" y="81197"/>
                  </a:cubicBezTo>
                  <a:cubicBezTo>
                    <a:pt x="61276" y="81916"/>
                    <a:pt x="62127" y="82634"/>
                    <a:pt x="62978" y="82634"/>
                  </a:cubicBezTo>
                  <a:cubicBezTo>
                    <a:pt x="62978" y="83353"/>
                    <a:pt x="63829" y="84790"/>
                    <a:pt x="63829" y="84790"/>
                  </a:cubicBezTo>
                  <a:cubicBezTo>
                    <a:pt x="64680" y="86227"/>
                    <a:pt x="64680" y="86227"/>
                    <a:pt x="64680" y="86227"/>
                  </a:cubicBezTo>
                  <a:cubicBezTo>
                    <a:pt x="65531" y="86946"/>
                    <a:pt x="65531" y="86946"/>
                    <a:pt x="65531" y="86946"/>
                  </a:cubicBezTo>
                  <a:close/>
                  <a:moveTo>
                    <a:pt x="63829" y="76886"/>
                  </a:moveTo>
                  <a:cubicBezTo>
                    <a:pt x="63829" y="76886"/>
                    <a:pt x="63829" y="76886"/>
                    <a:pt x="63829" y="76886"/>
                  </a:cubicBezTo>
                  <a:cubicBezTo>
                    <a:pt x="65531" y="76886"/>
                    <a:pt x="65531" y="76886"/>
                    <a:pt x="65531" y="76886"/>
                  </a:cubicBezTo>
                  <a:cubicBezTo>
                    <a:pt x="66382" y="75449"/>
                    <a:pt x="66382" y="75449"/>
                    <a:pt x="66382" y="75449"/>
                  </a:cubicBezTo>
                  <a:cubicBezTo>
                    <a:pt x="66382" y="75449"/>
                    <a:pt x="67234" y="74730"/>
                    <a:pt x="67234" y="74011"/>
                  </a:cubicBezTo>
                  <a:cubicBezTo>
                    <a:pt x="67234" y="74011"/>
                    <a:pt x="67234" y="73293"/>
                    <a:pt x="67234" y="73293"/>
                  </a:cubicBezTo>
                  <a:cubicBezTo>
                    <a:pt x="67234" y="71856"/>
                    <a:pt x="67234" y="71856"/>
                    <a:pt x="67234" y="71856"/>
                  </a:cubicBezTo>
                  <a:cubicBezTo>
                    <a:pt x="66382" y="71137"/>
                    <a:pt x="66382" y="71137"/>
                    <a:pt x="66382" y="71137"/>
                  </a:cubicBezTo>
                  <a:cubicBezTo>
                    <a:pt x="65531" y="69700"/>
                    <a:pt x="65531" y="69700"/>
                    <a:pt x="65531" y="69700"/>
                  </a:cubicBezTo>
                  <a:cubicBezTo>
                    <a:pt x="64680" y="67544"/>
                    <a:pt x="64680" y="67544"/>
                    <a:pt x="64680" y="67544"/>
                  </a:cubicBezTo>
                  <a:cubicBezTo>
                    <a:pt x="62978" y="67544"/>
                    <a:pt x="62978" y="67544"/>
                    <a:pt x="62978" y="67544"/>
                  </a:cubicBezTo>
                  <a:cubicBezTo>
                    <a:pt x="62978" y="67544"/>
                    <a:pt x="62978" y="68982"/>
                    <a:pt x="62978" y="68982"/>
                  </a:cubicBezTo>
                  <a:cubicBezTo>
                    <a:pt x="62978" y="69700"/>
                    <a:pt x="63829" y="70419"/>
                    <a:pt x="63829" y="70419"/>
                  </a:cubicBezTo>
                  <a:cubicBezTo>
                    <a:pt x="64680" y="71137"/>
                    <a:pt x="64680" y="71137"/>
                    <a:pt x="64680" y="71137"/>
                  </a:cubicBezTo>
                  <a:cubicBezTo>
                    <a:pt x="64680" y="71856"/>
                    <a:pt x="64680" y="71856"/>
                    <a:pt x="64680" y="71856"/>
                  </a:cubicBezTo>
                  <a:cubicBezTo>
                    <a:pt x="63829" y="72574"/>
                    <a:pt x="63829" y="72574"/>
                    <a:pt x="63829" y="72574"/>
                  </a:cubicBezTo>
                  <a:cubicBezTo>
                    <a:pt x="62978" y="74011"/>
                    <a:pt x="62978" y="74011"/>
                    <a:pt x="62978" y="74011"/>
                  </a:cubicBezTo>
                  <a:cubicBezTo>
                    <a:pt x="63829" y="75449"/>
                    <a:pt x="63829" y="75449"/>
                    <a:pt x="63829" y="75449"/>
                  </a:cubicBezTo>
                  <a:cubicBezTo>
                    <a:pt x="63829" y="76886"/>
                    <a:pt x="63829" y="76886"/>
                    <a:pt x="63829" y="76886"/>
                  </a:cubicBezTo>
                  <a:close/>
                  <a:moveTo>
                    <a:pt x="68085" y="112814"/>
                  </a:moveTo>
                  <a:cubicBezTo>
                    <a:pt x="68085" y="112814"/>
                    <a:pt x="68085" y="112814"/>
                    <a:pt x="68085" y="112814"/>
                  </a:cubicBezTo>
                  <a:cubicBezTo>
                    <a:pt x="68936" y="114970"/>
                    <a:pt x="68936" y="114970"/>
                    <a:pt x="68936" y="114970"/>
                  </a:cubicBezTo>
                  <a:cubicBezTo>
                    <a:pt x="69787" y="116407"/>
                    <a:pt x="69787" y="116407"/>
                    <a:pt x="69787" y="116407"/>
                  </a:cubicBezTo>
                  <a:cubicBezTo>
                    <a:pt x="69787" y="116407"/>
                    <a:pt x="71489" y="117125"/>
                    <a:pt x="71489" y="116407"/>
                  </a:cubicBezTo>
                  <a:cubicBezTo>
                    <a:pt x="71489" y="115688"/>
                    <a:pt x="70638" y="114970"/>
                    <a:pt x="71489" y="114251"/>
                  </a:cubicBezTo>
                  <a:cubicBezTo>
                    <a:pt x="71489" y="113532"/>
                    <a:pt x="72340" y="112095"/>
                    <a:pt x="72340" y="111377"/>
                  </a:cubicBezTo>
                  <a:cubicBezTo>
                    <a:pt x="72340" y="110658"/>
                    <a:pt x="73191" y="109940"/>
                    <a:pt x="73191" y="109221"/>
                  </a:cubicBezTo>
                  <a:cubicBezTo>
                    <a:pt x="74042" y="108502"/>
                    <a:pt x="74893" y="107065"/>
                    <a:pt x="74893" y="106347"/>
                  </a:cubicBezTo>
                  <a:cubicBezTo>
                    <a:pt x="74893" y="106347"/>
                    <a:pt x="75744" y="104910"/>
                    <a:pt x="75744" y="104191"/>
                  </a:cubicBezTo>
                  <a:cubicBezTo>
                    <a:pt x="75744" y="104191"/>
                    <a:pt x="75744" y="102035"/>
                    <a:pt x="75744" y="102035"/>
                  </a:cubicBezTo>
                  <a:cubicBezTo>
                    <a:pt x="75744" y="102035"/>
                    <a:pt x="74893" y="99880"/>
                    <a:pt x="74893" y="99880"/>
                  </a:cubicBezTo>
                  <a:cubicBezTo>
                    <a:pt x="74042" y="101317"/>
                    <a:pt x="74042" y="101317"/>
                    <a:pt x="74042" y="101317"/>
                  </a:cubicBezTo>
                  <a:cubicBezTo>
                    <a:pt x="74042" y="102754"/>
                    <a:pt x="74042" y="102754"/>
                    <a:pt x="74042" y="102754"/>
                  </a:cubicBezTo>
                  <a:cubicBezTo>
                    <a:pt x="72340" y="105628"/>
                    <a:pt x="72340" y="105628"/>
                    <a:pt x="72340" y="105628"/>
                  </a:cubicBezTo>
                  <a:cubicBezTo>
                    <a:pt x="71489" y="107065"/>
                    <a:pt x="71489" y="107065"/>
                    <a:pt x="71489" y="107065"/>
                  </a:cubicBezTo>
                  <a:cubicBezTo>
                    <a:pt x="69787" y="108502"/>
                    <a:pt x="69787" y="108502"/>
                    <a:pt x="69787" y="108502"/>
                  </a:cubicBezTo>
                  <a:cubicBezTo>
                    <a:pt x="69787" y="109221"/>
                    <a:pt x="69787" y="109221"/>
                    <a:pt x="69787" y="109221"/>
                  </a:cubicBezTo>
                  <a:cubicBezTo>
                    <a:pt x="69787" y="110658"/>
                    <a:pt x="69787" y="110658"/>
                    <a:pt x="69787" y="110658"/>
                  </a:cubicBezTo>
                  <a:cubicBezTo>
                    <a:pt x="68936" y="111377"/>
                    <a:pt x="68936" y="111377"/>
                    <a:pt x="68936" y="111377"/>
                  </a:cubicBezTo>
                  <a:cubicBezTo>
                    <a:pt x="68936" y="112095"/>
                    <a:pt x="68936" y="112095"/>
                    <a:pt x="68936" y="112095"/>
                  </a:cubicBezTo>
                  <a:cubicBezTo>
                    <a:pt x="68085" y="112814"/>
                    <a:pt x="68085" y="112814"/>
                    <a:pt x="68085" y="112814"/>
                  </a:cubicBezTo>
                  <a:close/>
                  <a:moveTo>
                    <a:pt x="63829" y="106347"/>
                  </a:moveTo>
                  <a:cubicBezTo>
                    <a:pt x="63829" y="106347"/>
                    <a:pt x="63829" y="106347"/>
                    <a:pt x="63829" y="106347"/>
                  </a:cubicBezTo>
                  <a:cubicBezTo>
                    <a:pt x="64680" y="107065"/>
                    <a:pt x="64680" y="107065"/>
                    <a:pt x="64680" y="107065"/>
                  </a:cubicBezTo>
                  <a:cubicBezTo>
                    <a:pt x="64680" y="107065"/>
                    <a:pt x="65531" y="109221"/>
                    <a:pt x="66382" y="109221"/>
                  </a:cubicBezTo>
                  <a:cubicBezTo>
                    <a:pt x="66382" y="109221"/>
                    <a:pt x="68936" y="107065"/>
                    <a:pt x="68936" y="107065"/>
                  </a:cubicBezTo>
                  <a:cubicBezTo>
                    <a:pt x="68936" y="105628"/>
                    <a:pt x="68936" y="105628"/>
                    <a:pt x="68936" y="105628"/>
                  </a:cubicBezTo>
                  <a:cubicBezTo>
                    <a:pt x="69787" y="104191"/>
                    <a:pt x="69787" y="104191"/>
                    <a:pt x="69787" y="104191"/>
                  </a:cubicBezTo>
                  <a:cubicBezTo>
                    <a:pt x="67234" y="104910"/>
                    <a:pt x="67234" y="104910"/>
                    <a:pt x="67234" y="104910"/>
                  </a:cubicBezTo>
                  <a:cubicBezTo>
                    <a:pt x="65531" y="106347"/>
                    <a:pt x="65531" y="106347"/>
                    <a:pt x="65531" y="106347"/>
                  </a:cubicBezTo>
                  <a:cubicBezTo>
                    <a:pt x="63829" y="106347"/>
                    <a:pt x="63829" y="106347"/>
                    <a:pt x="63829" y="106347"/>
                  </a:cubicBezTo>
                  <a:close/>
                  <a:moveTo>
                    <a:pt x="56170" y="107784"/>
                  </a:moveTo>
                  <a:cubicBezTo>
                    <a:pt x="56170" y="107784"/>
                    <a:pt x="56170" y="107784"/>
                    <a:pt x="56170" y="107784"/>
                  </a:cubicBezTo>
                  <a:cubicBezTo>
                    <a:pt x="56170" y="107784"/>
                    <a:pt x="57021" y="109940"/>
                    <a:pt x="57021" y="109940"/>
                  </a:cubicBezTo>
                  <a:cubicBezTo>
                    <a:pt x="57872" y="109940"/>
                    <a:pt x="58723" y="110658"/>
                    <a:pt x="58723" y="110658"/>
                  </a:cubicBezTo>
                  <a:cubicBezTo>
                    <a:pt x="60425" y="112095"/>
                    <a:pt x="60425" y="112095"/>
                    <a:pt x="60425" y="112095"/>
                  </a:cubicBezTo>
                  <a:cubicBezTo>
                    <a:pt x="60425" y="112095"/>
                    <a:pt x="60425" y="112814"/>
                    <a:pt x="61276" y="112814"/>
                  </a:cubicBezTo>
                  <a:cubicBezTo>
                    <a:pt x="61276" y="112814"/>
                    <a:pt x="62978" y="112095"/>
                    <a:pt x="62978" y="112095"/>
                  </a:cubicBezTo>
                  <a:cubicBezTo>
                    <a:pt x="63829" y="110658"/>
                    <a:pt x="63829" y="110658"/>
                    <a:pt x="63829" y="110658"/>
                  </a:cubicBezTo>
                  <a:cubicBezTo>
                    <a:pt x="63829" y="110658"/>
                    <a:pt x="62127" y="110658"/>
                    <a:pt x="62127" y="110658"/>
                  </a:cubicBezTo>
                  <a:cubicBezTo>
                    <a:pt x="61276" y="110658"/>
                    <a:pt x="60425" y="109221"/>
                    <a:pt x="60425" y="109221"/>
                  </a:cubicBezTo>
                  <a:cubicBezTo>
                    <a:pt x="60425" y="109221"/>
                    <a:pt x="59574" y="109221"/>
                    <a:pt x="59574" y="109221"/>
                  </a:cubicBezTo>
                  <a:cubicBezTo>
                    <a:pt x="58723" y="109221"/>
                    <a:pt x="57021" y="107784"/>
                    <a:pt x="57021" y="107784"/>
                  </a:cubicBezTo>
                  <a:cubicBezTo>
                    <a:pt x="56170" y="107784"/>
                    <a:pt x="56170" y="107784"/>
                    <a:pt x="56170" y="107784"/>
                  </a:cubicBezTo>
                  <a:close/>
                  <a:moveTo>
                    <a:pt x="42553" y="105628"/>
                  </a:moveTo>
                  <a:cubicBezTo>
                    <a:pt x="42553" y="105628"/>
                    <a:pt x="42553" y="105628"/>
                    <a:pt x="42553" y="105628"/>
                  </a:cubicBezTo>
                  <a:cubicBezTo>
                    <a:pt x="44255" y="106347"/>
                    <a:pt x="44255" y="106347"/>
                    <a:pt x="44255" y="106347"/>
                  </a:cubicBezTo>
                  <a:cubicBezTo>
                    <a:pt x="45106" y="107065"/>
                    <a:pt x="45106" y="107065"/>
                    <a:pt x="45106" y="107065"/>
                  </a:cubicBezTo>
                  <a:cubicBezTo>
                    <a:pt x="46808" y="107784"/>
                    <a:pt x="46808" y="107784"/>
                    <a:pt x="46808" y="107784"/>
                  </a:cubicBezTo>
                  <a:cubicBezTo>
                    <a:pt x="45106" y="109221"/>
                    <a:pt x="45106" y="109221"/>
                    <a:pt x="45106" y="109221"/>
                  </a:cubicBezTo>
                  <a:cubicBezTo>
                    <a:pt x="45106" y="109221"/>
                    <a:pt x="45957" y="110658"/>
                    <a:pt x="46808" y="109940"/>
                  </a:cubicBezTo>
                  <a:cubicBezTo>
                    <a:pt x="47659" y="109940"/>
                    <a:pt x="47659" y="109940"/>
                    <a:pt x="47659" y="109940"/>
                  </a:cubicBezTo>
                  <a:cubicBezTo>
                    <a:pt x="47659" y="109940"/>
                    <a:pt x="49361" y="110658"/>
                    <a:pt x="49361" y="110658"/>
                  </a:cubicBezTo>
                  <a:cubicBezTo>
                    <a:pt x="50212" y="111377"/>
                    <a:pt x="51063" y="111377"/>
                    <a:pt x="51914" y="111377"/>
                  </a:cubicBezTo>
                  <a:cubicBezTo>
                    <a:pt x="52765" y="111377"/>
                    <a:pt x="52765" y="110658"/>
                    <a:pt x="52765" y="110658"/>
                  </a:cubicBezTo>
                  <a:cubicBezTo>
                    <a:pt x="52765" y="109940"/>
                    <a:pt x="52765" y="109221"/>
                    <a:pt x="52765" y="109221"/>
                  </a:cubicBezTo>
                  <a:cubicBezTo>
                    <a:pt x="51914" y="107784"/>
                    <a:pt x="51914" y="107784"/>
                    <a:pt x="51914" y="107784"/>
                  </a:cubicBezTo>
                  <a:cubicBezTo>
                    <a:pt x="51063" y="106347"/>
                    <a:pt x="51063" y="106347"/>
                    <a:pt x="51063" y="106347"/>
                  </a:cubicBezTo>
                  <a:cubicBezTo>
                    <a:pt x="47659" y="105628"/>
                    <a:pt x="47659" y="105628"/>
                    <a:pt x="47659" y="105628"/>
                  </a:cubicBezTo>
                  <a:cubicBezTo>
                    <a:pt x="45957" y="104191"/>
                    <a:pt x="45957" y="104191"/>
                    <a:pt x="45957" y="104191"/>
                  </a:cubicBezTo>
                  <a:cubicBezTo>
                    <a:pt x="43404" y="103473"/>
                    <a:pt x="43404" y="103473"/>
                    <a:pt x="43404" y="103473"/>
                  </a:cubicBezTo>
                  <a:cubicBezTo>
                    <a:pt x="42553" y="103473"/>
                    <a:pt x="42553" y="103473"/>
                    <a:pt x="42553" y="103473"/>
                  </a:cubicBezTo>
                  <a:cubicBezTo>
                    <a:pt x="42553" y="105628"/>
                    <a:pt x="42553" y="105628"/>
                    <a:pt x="42553" y="105628"/>
                  </a:cubicBezTo>
                  <a:close/>
                  <a:moveTo>
                    <a:pt x="70638" y="17964"/>
                  </a:moveTo>
                  <a:cubicBezTo>
                    <a:pt x="70638" y="17964"/>
                    <a:pt x="70638" y="17964"/>
                    <a:pt x="70638" y="17964"/>
                  </a:cubicBezTo>
                  <a:cubicBezTo>
                    <a:pt x="70638" y="18682"/>
                    <a:pt x="70638" y="18682"/>
                    <a:pt x="70638" y="18682"/>
                  </a:cubicBezTo>
                  <a:cubicBezTo>
                    <a:pt x="70638" y="18682"/>
                    <a:pt x="71489" y="18682"/>
                    <a:pt x="71489" y="18682"/>
                  </a:cubicBezTo>
                  <a:cubicBezTo>
                    <a:pt x="71489" y="18682"/>
                    <a:pt x="72340" y="18682"/>
                    <a:pt x="72340" y="18682"/>
                  </a:cubicBezTo>
                  <a:cubicBezTo>
                    <a:pt x="72340" y="18682"/>
                    <a:pt x="74042" y="19401"/>
                    <a:pt x="74042" y="19401"/>
                  </a:cubicBezTo>
                  <a:cubicBezTo>
                    <a:pt x="74042" y="20119"/>
                    <a:pt x="74893" y="19401"/>
                    <a:pt x="74893" y="19401"/>
                  </a:cubicBezTo>
                  <a:cubicBezTo>
                    <a:pt x="75744" y="19401"/>
                    <a:pt x="75744" y="18682"/>
                    <a:pt x="75744" y="17964"/>
                  </a:cubicBezTo>
                  <a:cubicBezTo>
                    <a:pt x="75744" y="17964"/>
                    <a:pt x="76595" y="17245"/>
                    <a:pt x="76595" y="17245"/>
                  </a:cubicBezTo>
                  <a:cubicBezTo>
                    <a:pt x="76595" y="17245"/>
                    <a:pt x="79148" y="15808"/>
                    <a:pt x="79148" y="15808"/>
                  </a:cubicBezTo>
                  <a:cubicBezTo>
                    <a:pt x="79148" y="15089"/>
                    <a:pt x="77446" y="15089"/>
                    <a:pt x="77446" y="15089"/>
                  </a:cubicBezTo>
                  <a:cubicBezTo>
                    <a:pt x="77446" y="15089"/>
                    <a:pt x="74893" y="15808"/>
                    <a:pt x="74893" y="15808"/>
                  </a:cubicBezTo>
                  <a:cubicBezTo>
                    <a:pt x="74893" y="15808"/>
                    <a:pt x="72340" y="16526"/>
                    <a:pt x="72340" y="16526"/>
                  </a:cubicBezTo>
                  <a:lnTo>
                    <a:pt x="70638" y="17964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7" name="Shape 2028"/>
            <p:cNvSpPr/>
            <p:nvPr/>
          </p:nvSpPr>
          <p:spPr>
            <a:xfrm>
              <a:off x="4518028" y="2422185"/>
              <a:ext cx="310038" cy="35158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3529" y="26415"/>
                  </a:moveTo>
                  <a:cubicBezTo>
                    <a:pt x="62647" y="24905"/>
                    <a:pt x="62647" y="24905"/>
                    <a:pt x="62647" y="24905"/>
                  </a:cubicBezTo>
                  <a:cubicBezTo>
                    <a:pt x="60882" y="24905"/>
                    <a:pt x="60882" y="24905"/>
                    <a:pt x="60882" y="24905"/>
                  </a:cubicBezTo>
                  <a:cubicBezTo>
                    <a:pt x="58235" y="26415"/>
                    <a:pt x="58235" y="26415"/>
                    <a:pt x="58235" y="26415"/>
                  </a:cubicBezTo>
                  <a:cubicBezTo>
                    <a:pt x="58235" y="24905"/>
                    <a:pt x="58235" y="24905"/>
                    <a:pt x="58235" y="24905"/>
                  </a:cubicBezTo>
                  <a:cubicBezTo>
                    <a:pt x="61764" y="23396"/>
                    <a:pt x="61764" y="23396"/>
                    <a:pt x="61764" y="23396"/>
                  </a:cubicBezTo>
                  <a:cubicBezTo>
                    <a:pt x="63529" y="22641"/>
                    <a:pt x="63529" y="22641"/>
                    <a:pt x="63529" y="22641"/>
                  </a:cubicBezTo>
                  <a:cubicBezTo>
                    <a:pt x="64411" y="21132"/>
                    <a:pt x="64411" y="21132"/>
                    <a:pt x="64411" y="21132"/>
                  </a:cubicBezTo>
                  <a:cubicBezTo>
                    <a:pt x="66176" y="18867"/>
                    <a:pt x="66176" y="18867"/>
                    <a:pt x="66176" y="18867"/>
                  </a:cubicBezTo>
                  <a:cubicBezTo>
                    <a:pt x="66176" y="18867"/>
                    <a:pt x="67941" y="17358"/>
                    <a:pt x="68823" y="16603"/>
                  </a:cubicBezTo>
                  <a:cubicBezTo>
                    <a:pt x="69705" y="16603"/>
                    <a:pt x="73235" y="15094"/>
                    <a:pt x="73235" y="15094"/>
                  </a:cubicBezTo>
                  <a:cubicBezTo>
                    <a:pt x="73235" y="15094"/>
                    <a:pt x="76764" y="13584"/>
                    <a:pt x="77647" y="13584"/>
                  </a:cubicBezTo>
                  <a:cubicBezTo>
                    <a:pt x="78529" y="13584"/>
                    <a:pt x="84705" y="12830"/>
                    <a:pt x="84705" y="12830"/>
                  </a:cubicBezTo>
                  <a:cubicBezTo>
                    <a:pt x="90882" y="14339"/>
                    <a:pt x="90882" y="14339"/>
                    <a:pt x="90882" y="14339"/>
                  </a:cubicBezTo>
                  <a:cubicBezTo>
                    <a:pt x="90882" y="14339"/>
                    <a:pt x="92647" y="12830"/>
                    <a:pt x="94411" y="12830"/>
                  </a:cubicBezTo>
                  <a:cubicBezTo>
                    <a:pt x="94411" y="12830"/>
                    <a:pt x="96176" y="13584"/>
                    <a:pt x="97058" y="13584"/>
                  </a:cubicBezTo>
                  <a:cubicBezTo>
                    <a:pt x="97941" y="13584"/>
                    <a:pt x="99705" y="12830"/>
                    <a:pt x="99705" y="12830"/>
                  </a:cubicBezTo>
                  <a:cubicBezTo>
                    <a:pt x="103235" y="12830"/>
                    <a:pt x="103235" y="12830"/>
                    <a:pt x="103235" y="12830"/>
                  </a:cubicBezTo>
                  <a:cubicBezTo>
                    <a:pt x="105882" y="15849"/>
                    <a:pt x="105882" y="15849"/>
                    <a:pt x="105882" y="15849"/>
                  </a:cubicBezTo>
                  <a:cubicBezTo>
                    <a:pt x="106764" y="18867"/>
                    <a:pt x="106764" y="18867"/>
                    <a:pt x="106764" y="18867"/>
                  </a:cubicBezTo>
                  <a:cubicBezTo>
                    <a:pt x="111176" y="19622"/>
                    <a:pt x="111176" y="19622"/>
                    <a:pt x="111176" y="19622"/>
                  </a:cubicBezTo>
                  <a:cubicBezTo>
                    <a:pt x="111176" y="19622"/>
                    <a:pt x="110294" y="21132"/>
                    <a:pt x="110294" y="21886"/>
                  </a:cubicBezTo>
                  <a:cubicBezTo>
                    <a:pt x="111176" y="21886"/>
                    <a:pt x="113823" y="22641"/>
                    <a:pt x="113823" y="22641"/>
                  </a:cubicBezTo>
                  <a:cubicBezTo>
                    <a:pt x="113823" y="23396"/>
                    <a:pt x="113823" y="23396"/>
                    <a:pt x="113823" y="23396"/>
                  </a:cubicBezTo>
                  <a:cubicBezTo>
                    <a:pt x="113823" y="23396"/>
                    <a:pt x="113823" y="26415"/>
                    <a:pt x="113823" y="27169"/>
                  </a:cubicBezTo>
                  <a:cubicBezTo>
                    <a:pt x="113823" y="27924"/>
                    <a:pt x="113823" y="32452"/>
                    <a:pt x="113823" y="32452"/>
                  </a:cubicBezTo>
                  <a:cubicBezTo>
                    <a:pt x="113823" y="32452"/>
                    <a:pt x="111176" y="36981"/>
                    <a:pt x="110294" y="36981"/>
                  </a:cubicBezTo>
                  <a:cubicBezTo>
                    <a:pt x="109411" y="37735"/>
                    <a:pt x="110294" y="40754"/>
                    <a:pt x="110294" y="40754"/>
                  </a:cubicBezTo>
                  <a:cubicBezTo>
                    <a:pt x="109411" y="44528"/>
                    <a:pt x="109411" y="44528"/>
                    <a:pt x="109411" y="44528"/>
                  </a:cubicBezTo>
                  <a:cubicBezTo>
                    <a:pt x="109411" y="44528"/>
                    <a:pt x="109411" y="47547"/>
                    <a:pt x="108529" y="46792"/>
                  </a:cubicBezTo>
                  <a:cubicBezTo>
                    <a:pt x="107647" y="46792"/>
                    <a:pt x="103235" y="45283"/>
                    <a:pt x="103235" y="45283"/>
                  </a:cubicBezTo>
                  <a:cubicBezTo>
                    <a:pt x="99705" y="46037"/>
                    <a:pt x="99705" y="46037"/>
                    <a:pt x="99705" y="46037"/>
                  </a:cubicBezTo>
                  <a:cubicBezTo>
                    <a:pt x="99705" y="48301"/>
                    <a:pt x="99705" y="48301"/>
                    <a:pt x="99705" y="48301"/>
                  </a:cubicBezTo>
                  <a:cubicBezTo>
                    <a:pt x="101470" y="49056"/>
                    <a:pt x="101470" y="49056"/>
                    <a:pt x="101470" y="49056"/>
                  </a:cubicBezTo>
                  <a:cubicBezTo>
                    <a:pt x="98823" y="49056"/>
                    <a:pt x="98823" y="49056"/>
                    <a:pt x="98823" y="49056"/>
                  </a:cubicBezTo>
                  <a:cubicBezTo>
                    <a:pt x="98823" y="50566"/>
                    <a:pt x="98823" y="50566"/>
                    <a:pt x="98823" y="50566"/>
                  </a:cubicBezTo>
                  <a:cubicBezTo>
                    <a:pt x="98823" y="50566"/>
                    <a:pt x="99705" y="52075"/>
                    <a:pt x="100588" y="52830"/>
                  </a:cubicBezTo>
                  <a:cubicBezTo>
                    <a:pt x="100588" y="53584"/>
                    <a:pt x="103235" y="53584"/>
                    <a:pt x="103235" y="53584"/>
                  </a:cubicBezTo>
                  <a:cubicBezTo>
                    <a:pt x="105000" y="55094"/>
                    <a:pt x="105000" y="55094"/>
                    <a:pt x="105000" y="55094"/>
                  </a:cubicBezTo>
                  <a:cubicBezTo>
                    <a:pt x="107647" y="54339"/>
                    <a:pt x="107647" y="54339"/>
                    <a:pt x="107647" y="54339"/>
                  </a:cubicBezTo>
                  <a:cubicBezTo>
                    <a:pt x="109411" y="57358"/>
                    <a:pt x="109411" y="57358"/>
                    <a:pt x="109411" y="57358"/>
                  </a:cubicBezTo>
                  <a:cubicBezTo>
                    <a:pt x="108529" y="58867"/>
                    <a:pt x="108529" y="58867"/>
                    <a:pt x="108529" y="58867"/>
                  </a:cubicBezTo>
                  <a:cubicBezTo>
                    <a:pt x="108529" y="58867"/>
                    <a:pt x="108529" y="60377"/>
                    <a:pt x="108529" y="61132"/>
                  </a:cubicBezTo>
                  <a:cubicBezTo>
                    <a:pt x="108529" y="61886"/>
                    <a:pt x="109411" y="62641"/>
                    <a:pt x="108529" y="62641"/>
                  </a:cubicBezTo>
                  <a:cubicBezTo>
                    <a:pt x="108529" y="62641"/>
                    <a:pt x="106764" y="63396"/>
                    <a:pt x="106764" y="63396"/>
                  </a:cubicBezTo>
                  <a:cubicBezTo>
                    <a:pt x="105882" y="64905"/>
                    <a:pt x="105882" y="64905"/>
                    <a:pt x="105882" y="64905"/>
                  </a:cubicBezTo>
                  <a:cubicBezTo>
                    <a:pt x="105882" y="64905"/>
                    <a:pt x="104117" y="65660"/>
                    <a:pt x="103235" y="65660"/>
                  </a:cubicBezTo>
                  <a:cubicBezTo>
                    <a:pt x="102352" y="66415"/>
                    <a:pt x="102352" y="66415"/>
                    <a:pt x="102352" y="67169"/>
                  </a:cubicBezTo>
                  <a:cubicBezTo>
                    <a:pt x="102352" y="67169"/>
                    <a:pt x="98823" y="66415"/>
                    <a:pt x="98823" y="66415"/>
                  </a:cubicBezTo>
                  <a:cubicBezTo>
                    <a:pt x="98823" y="68679"/>
                    <a:pt x="98823" y="68679"/>
                    <a:pt x="98823" y="68679"/>
                  </a:cubicBezTo>
                  <a:cubicBezTo>
                    <a:pt x="97058" y="68679"/>
                    <a:pt x="97058" y="68679"/>
                    <a:pt x="97058" y="68679"/>
                  </a:cubicBezTo>
                  <a:cubicBezTo>
                    <a:pt x="98823" y="70943"/>
                    <a:pt x="98823" y="70943"/>
                    <a:pt x="98823" y="70943"/>
                  </a:cubicBezTo>
                  <a:cubicBezTo>
                    <a:pt x="101470" y="72452"/>
                    <a:pt x="101470" y="72452"/>
                    <a:pt x="101470" y="72452"/>
                  </a:cubicBezTo>
                  <a:cubicBezTo>
                    <a:pt x="100588" y="73207"/>
                    <a:pt x="100588" y="73207"/>
                    <a:pt x="100588" y="73207"/>
                  </a:cubicBezTo>
                  <a:cubicBezTo>
                    <a:pt x="98823" y="73962"/>
                    <a:pt x="98823" y="73962"/>
                    <a:pt x="98823" y="73962"/>
                  </a:cubicBezTo>
                  <a:cubicBezTo>
                    <a:pt x="97941" y="75471"/>
                    <a:pt x="97941" y="75471"/>
                    <a:pt x="97941" y="75471"/>
                  </a:cubicBezTo>
                  <a:cubicBezTo>
                    <a:pt x="95294" y="75471"/>
                    <a:pt x="95294" y="75471"/>
                    <a:pt x="95294" y="75471"/>
                  </a:cubicBezTo>
                  <a:cubicBezTo>
                    <a:pt x="92647" y="76226"/>
                    <a:pt x="92647" y="76226"/>
                    <a:pt x="92647" y="76226"/>
                  </a:cubicBezTo>
                  <a:cubicBezTo>
                    <a:pt x="91764" y="76226"/>
                    <a:pt x="91764" y="76226"/>
                    <a:pt x="91764" y="76226"/>
                  </a:cubicBezTo>
                  <a:cubicBezTo>
                    <a:pt x="89117" y="76226"/>
                    <a:pt x="89117" y="76226"/>
                    <a:pt x="89117" y="76226"/>
                  </a:cubicBezTo>
                  <a:cubicBezTo>
                    <a:pt x="88235" y="77735"/>
                    <a:pt x="88235" y="77735"/>
                    <a:pt x="88235" y="77735"/>
                  </a:cubicBezTo>
                  <a:cubicBezTo>
                    <a:pt x="87352" y="76226"/>
                    <a:pt x="87352" y="76226"/>
                    <a:pt x="87352" y="76226"/>
                  </a:cubicBezTo>
                  <a:cubicBezTo>
                    <a:pt x="84705" y="75471"/>
                    <a:pt x="84705" y="75471"/>
                    <a:pt x="84705" y="75471"/>
                  </a:cubicBezTo>
                  <a:cubicBezTo>
                    <a:pt x="82941" y="73962"/>
                    <a:pt x="82941" y="73962"/>
                    <a:pt x="82941" y="73962"/>
                  </a:cubicBezTo>
                  <a:cubicBezTo>
                    <a:pt x="80294" y="74716"/>
                    <a:pt x="80294" y="74716"/>
                    <a:pt x="80294" y="74716"/>
                  </a:cubicBezTo>
                  <a:cubicBezTo>
                    <a:pt x="82941" y="76226"/>
                    <a:pt x="82941" y="76226"/>
                    <a:pt x="82941" y="76226"/>
                  </a:cubicBezTo>
                  <a:cubicBezTo>
                    <a:pt x="81176" y="76226"/>
                    <a:pt x="81176" y="76226"/>
                    <a:pt x="81176" y="76226"/>
                  </a:cubicBezTo>
                  <a:cubicBezTo>
                    <a:pt x="76764" y="75471"/>
                    <a:pt x="76764" y="75471"/>
                    <a:pt x="76764" y="75471"/>
                  </a:cubicBezTo>
                  <a:cubicBezTo>
                    <a:pt x="76764" y="77735"/>
                    <a:pt x="76764" y="77735"/>
                    <a:pt x="76764" y="77735"/>
                  </a:cubicBezTo>
                  <a:cubicBezTo>
                    <a:pt x="76764" y="79245"/>
                    <a:pt x="76764" y="79245"/>
                    <a:pt x="76764" y="79245"/>
                  </a:cubicBezTo>
                  <a:cubicBezTo>
                    <a:pt x="76764" y="79245"/>
                    <a:pt x="75882" y="80000"/>
                    <a:pt x="76764" y="80000"/>
                  </a:cubicBezTo>
                  <a:cubicBezTo>
                    <a:pt x="77647" y="80000"/>
                    <a:pt x="79411" y="81509"/>
                    <a:pt x="79411" y="81509"/>
                  </a:cubicBezTo>
                  <a:cubicBezTo>
                    <a:pt x="79411" y="83018"/>
                    <a:pt x="79411" y="83018"/>
                    <a:pt x="79411" y="83018"/>
                  </a:cubicBezTo>
                  <a:cubicBezTo>
                    <a:pt x="80294" y="84528"/>
                    <a:pt x="80294" y="84528"/>
                    <a:pt x="80294" y="84528"/>
                  </a:cubicBezTo>
                  <a:cubicBezTo>
                    <a:pt x="80294" y="85283"/>
                    <a:pt x="80294" y="85283"/>
                    <a:pt x="80294" y="85283"/>
                  </a:cubicBezTo>
                  <a:cubicBezTo>
                    <a:pt x="82058" y="87547"/>
                    <a:pt x="82058" y="87547"/>
                    <a:pt x="82058" y="87547"/>
                  </a:cubicBezTo>
                  <a:cubicBezTo>
                    <a:pt x="82058" y="89811"/>
                    <a:pt x="82058" y="89811"/>
                    <a:pt x="82058" y="89811"/>
                  </a:cubicBezTo>
                  <a:cubicBezTo>
                    <a:pt x="83823" y="92075"/>
                    <a:pt x="83823" y="92075"/>
                    <a:pt x="83823" y="92075"/>
                  </a:cubicBezTo>
                  <a:cubicBezTo>
                    <a:pt x="82941" y="94339"/>
                    <a:pt x="82941" y="94339"/>
                    <a:pt x="82941" y="94339"/>
                  </a:cubicBezTo>
                  <a:cubicBezTo>
                    <a:pt x="82941" y="94339"/>
                    <a:pt x="83823" y="95849"/>
                    <a:pt x="82941" y="96603"/>
                  </a:cubicBezTo>
                  <a:cubicBezTo>
                    <a:pt x="82941" y="96603"/>
                    <a:pt x="81176" y="98113"/>
                    <a:pt x="81176" y="98113"/>
                  </a:cubicBezTo>
                  <a:cubicBezTo>
                    <a:pt x="80294" y="99622"/>
                    <a:pt x="80294" y="99622"/>
                    <a:pt x="80294" y="99622"/>
                  </a:cubicBezTo>
                  <a:cubicBezTo>
                    <a:pt x="78529" y="100377"/>
                    <a:pt x="78529" y="100377"/>
                    <a:pt x="78529" y="100377"/>
                  </a:cubicBezTo>
                  <a:cubicBezTo>
                    <a:pt x="78529" y="101886"/>
                    <a:pt x="78529" y="101886"/>
                    <a:pt x="78529" y="101886"/>
                  </a:cubicBezTo>
                  <a:cubicBezTo>
                    <a:pt x="78529" y="101886"/>
                    <a:pt x="78529" y="104150"/>
                    <a:pt x="79411" y="104150"/>
                  </a:cubicBezTo>
                  <a:cubicBezTo>
                    <a:pt x="79411" y="104150"/>
                    <a:pt x="81176" y="102641"/>
                    <a:pt x="81176" y="102641"/>
                  </a:cubicBezTo>
                  <a:cubicBezTo>
                    <a:pt x="81176" y="102641"/>
                    <a:pt x="82941" y="104150"/>
                    <a:pt x="82058" y="104905"/>
                  </a:cubicBezTo>
                  <a:cubicBezTo>
                    <a:pt x="82058" y="104905"/>
                    <a:pt x="78529" y="104905"/>
                    <a:pt x="78529" y="104905"/>
                  </a:cubicBezTo>
                  <a:cubicBezTo>
                    <a:pt x="76764" y="104905"/>
                    <a:pt x="76764" y="104905"/>
                    <a:pt x="76764" y="104905"/>
                  </a:cubicBezTo>
                  <a:cubicBezTo>
                    <a:pt x="76764" y="104905"/>
                    <a:pt x="75882" y="106415"/>
                    <a:pt x="75000" y="106415"/>
                  </a:cubicBezTo>
                  <a:cubicBezTo>
                    <a:pt x="75000" y="107169"/>
                    <a:pt x="75000" y="107924"/>
                    <a:pt x="75000" y="107924"/>
                  </a:cubicBezTo>
                  <a:cubicBezTo>
                    <a:pt x="73235" y="106415"/>
                    <a:pt x="73235" y="106415"/>
                    <a:pt x="73235" y="106415"/>
                  </a:cubicBezTo>
                  <a:cubicBezTo>
                    <a:pt x="72352" y="107169"/>
                    <a:pt x="72352" y="107169"/>
                    <a:pt x="72352" y="107169"/>
                  </a:cubicBezTo>
                  <a:cubicBezTo>
                    <a:pt x="73235" y="108679"/>
                    <a:pt x="73235" y="108679"/>
                    <a:pt x="73235" y="108679"/>
                  </a:cubicBezTo>
                  <a:cubicBezTo>
                    <a:pt x="73235" y="110188"/>
                    <a:pt x="73235" y="110188"/>
                    <a:pt x="73235" y="110188"/>
                  </a:cubicBezTo>
                  <a:cubicBezTo>
                    <a:pt x="73235" y="110188"/>
                    <a:pt x="75000" y="110188"/>
                    <a:pt x="75000" y="110188"/>
                  </a:cubicBezTo>
                  <a:cubicBezTo>
                    <a:pt x="75000" y="110188"/>
                    <a:pt x="76764" y="110943"/>
                    <a:pt x="76764" y="110943"/>
                  </a:cubicBezTo>
                  <a:cubicBezTo>
                    <a:pt x="76764" y="110943"/>
                    <a:pt x="75882" y="111698"/>
                    <a:pt x="76764" y="111698"/>
                  </a:cubicBezTo>
                  <a:cubicBezTo>
                    <a:pt x="76764" y="112452"/>
                    <a:pt x="76764" y="112452"/>
                    <a:pt x="77647" y="112452"/>
                  </a:cubicBezTo>
                  <a:cubicBezTo>
                    <a:pt x="78529" y="113207"/>
                    <a:pt x="78529" y="113207"/>
                    <a:pt x="78529" y="113207"/>
                  </a:cubicBezTo>
                  <a:cubicBezTo>
                    <a:pt x="78529" y="113207"/>
                    <a:pt x="78529" y="114716"/>
                    <a:pt x="78529" y="115471"/>
                  </a:cubicBezTo>
                  <a:cubicBezTo>
                    <a:pt x="77647" y="115471"/>
                    <a:pt x="77647" y="116226"/>
                    <a:pt x="77647" y="116226"/>
                  </a:cubicBezTo>
                  <a:cubicBezTo>
                    <a:pt x="76764" y="116226"/>
                    <a:pt x="76764" y="116226"/>
                    <a:pt x="76764" y="116226"/>
                  </a:cubicBezTo>
                  <a:cubicBezTo>
                    <a:pt x="75882" y="116981"/>
                    <a:pt x="75882" y="117735"/>
                    <a:pt x="75882" y="117735"/>
                  </a:cubicBezTo>
                  <a:cubicBezTo>
                    <a:pt x="75882" y="117735"/>
                    <a:pt x="75000" y="117735"/>
                    <a:pt x="75000" y="117735"/>
                  </a:cubicBezTo>
                  <a:cubicBezTo>
                    <a:pt x="75000" y="118490"/>
                    <a:pt x="75882" y="119245"/>
                    <a:pt x="75882" y="120000"/>
                  </a:cubicBezTo>
                  <a:cubicBezTo>
                    <a:pt x="75882" y="120000"/>
                    <a:pt x="75882" y="120000"/>
                    <a:pt x="75000" y="120000"/>
                  </a:cubicBezTo>
                  <a:cubicBezTo>
                    <a:pt x="75000" y="120000"/>
                    <a:pt x="75000" y="120000"/>
                    <a:pt x="75000" y="120000"/>
                  </a:cubicBezTo>
                  <a:cubicBezTo>
                    <a:pt x="75000" y="120000"/>
                    <a:pt x="73235" y="118490"/>
                    <a:pt x="73235" y="118490"/>
                  </a:cubicBezTo>
                  <a:cubicBezTo>
                    <a:pt x="72352" y="118490"/>
                    <a:pt x="71470" y="119245"/>
                    <a:pt x="69705" y="119245"/>
                  </a:cubicBezTo>
                  <a:cubicBezTo>
                    <a:pt x="68823" y="118490"/>
                    <a:pt x="68823" y="118490"/>
                    <a:pt x="68823" y="118490"/>
                  </a:cubicBezTo>
                  <a:cubicBezTo>
                    <a:pt x="65294" y="119245"/>
                    <a:pt x="65294" y="119245"/>
                    <a:pt x="65294" y="119245"/>
                  </a:cubicBezTo>
                  <a:cubicBezTo>
                    <a:pt x="65294" y="117735"/>
                    <a:pt x="65294" y="117735"/>
                    <a:pt x="65294" y="117735"/>
                  </a:cubicBezTo>
                  <a:cubicBezTo>
                    <a:pt x="64411" y="116226"/>
                    <a:pt x="64411" y="116226"/>
                    <a:pt x="64411" y="116226"/>
                  </a:cubicBezTo>
                  <a:cubicBezTo>
                    <a:pt x="64411" y="116226"/>
                    <a:pt x="64411" y="114716"/>
                    <a:pt x="64411" y="113962"/>
                  </a:cubicBezTo>
                  <a:cubicBezTo>
                    <a:pt x="64411" y="113962"/>
                    <a:pt x="65294" y="113207"/>
                    <a:pt x="65294" y="113207"/>
                  </a:cubicBezTo>
                  <a:cubicBezTo>
                    <a:pt x="66176" y="113207"/>
                    <a:pt x="67058" y="111698"/>
                    <a:pt x="67058" y="111698"/>
                  </a:cubicBezTo>
                  <a:cubicBezTo>
                    <a:pt x="67058" y="111698"/>
                    <a:pt x="67941" y="110188"/>
                    <a:pt x="68823" y="109433"/>
                  </a:cubicBezTo>
                  <a:cubicBezTo>
                    <a:pt x="68823" y="109433"/>
                    <a:pt x="69705" y="107169"/>
                    <a:pt x="69705" y="107169"/>
                  </a:cubicBezTo>
                  <a:cubicBezTo>
                    <a:pt x="69705" y="106415"/>
                    <a:pt x="70588" y="105660"/>
                    <a:pt x="70588" y="105660"/>
                  </a:cubicBezTo>
                  <a:cubicBezTo>
                    <a:pt x="70588" y="105660"/>
                    <a:pt x="72352" y="104150"/>
                    <a:pt x="72352" y="103396"/>
                  </a:cubicBezTo>
                  <a:cubicBezTo>
                    <a:pt x="72352" y="102641"/>
                    <a:pt x="71470" y="102641"/>
                    <a:pt x="70588" y="102641"/>
                  </a:cubicBezTo>
                  <a:cubicBezTo>
                    <a:pt x="70588" y="102641"/>
                    <a:pt x="67941" y="101886"/>
                    <a:pt x="67058" y="101132"/>
                  </a:cubicBezTo>
                  <a:cubicBezTo>
                    <a:pt x="66176" y="101132"/>
                    <a:pt x="64411" y="100377"/>
                    <a:pt x="62647" y="100377"/>
                  </a:cubicBezTo>
                  <a:cubicBezTo>
                    <a:pt x="60882" y="99622"/>
                    <a:pt x="61764" y="99622"/>
                    <a:pt x="62647" y="98113"/>
                  </a:cubicBezTo>
                  <a:cubicBezTo>
                    <a:pt x="62647" y="97358"/>
                    <a:pt x="60882" y="97358"/>
                    <a:pt x="60882" y="96603"/>
                  </a:cubicBezTo>
                  <a:cubicBezTo>
                    <a:pt x="60882" y="96603"/>
                    <a:pt x="60000" y="97358"/>
                    <a:pt x="59117" y="98113"/>
                  </a:cubicBezTo>
                  <a:cubicBezTo>
                    <a:pt x="58235" y="98113"/>
                    <a:pt x="57352" y="97358"/>
                    <a:pt x="56470" y="97358"/>
                  </a:cubicBezTo>
                  <a:cubicBezTo>
                    <a:pt x="56470" y="97358"/>
                    <a:pt x="53823" y="97358"/>
                    <a:pt x="53823" y="97358"/>
                  </a:cubicBezTo>
                  <a:cubicBezTo>
                    <a:pt x="53823" y="97358"/>
                    <a:pt x="53823" y="96603"/>
                    <a:pt x="53823" y="95849"/>
                  </a:cubicBezTo>
                  <a:cubicBezTo>
                    <a:pt x="53823" y="95094"/>
                    <a:pt x="52941" y="95094"/>
                    <a:pt x="52941" y="95094"/>
                  </a:cubicBezTo>
                  <a:cubicBezTo>
                    <a:pt x="52941" y="95094"/>
                    <a:pt x="51176" y="95094"/>
                    <a:pt x="51176" y="94339"/>
                  </a:cubicBezTo>
                  <a:cubicBezTo>
                    <a:pt x="50294" y="94339"/>
                    <a:pt x="51176" y="94339"/>
                    <a:pt x="51176" y="93584"/>
                  </a:cubicBezTo>
                  <a:cubicBezTo>
                    <a:pt x="51176" y="92830"/>
                    <a:pt x="51176" y="93584"/>
                    <a:pt x="50294" y="93584"/>
                  </a:cubicBezTo>
                  <a:cubicBezTo>
                    <a:pt x="49411" y="93584"/>
                    <a:pt x="49411" y="91320"/>
                    <a:pt x="49411" y="91320"/>
                  </a:cubicBezTo>
                  <a:cubicBezTo>
                    <a:pt x="49411" y="91320"/>
                    <a:pt x="48529" y="89811"/>
                    <a:pt x="48529" y="89056"/>
                  </a:cubicBezTo>
                  <a:cubicBezTo>
                    <a:pt x="47647" y="87547"/>
                    <a:pt x="47647" y="89056"/>
                    <a:pt x="47647" y="89056"/>
                  </a:cubicBezTo>
                  <a:cubicBezTo>
                    <a:pt x="45882" y="91320"/>
                    <a:pt x="45882" y="91320"/>
                    <a:pt x="45882" y="91320"/>
                  </a:cubicBezTo>
                  <a:cubicBezTo>
                    <a:pt x="45882" y="91320"/>
                    <a:pt x="45000" y="91320"/>
                    <a:pt x="42352" y="90566"/>
                  </a:cubicBezTo>
                  <a:cubicBezTo>
                    <a:pt x="40588" y="89811"/>
                    <a:pt x="41470" y="89811"/>
                    <a:pt x="41470" y="89811"/>
                  </a:cubicBezTo>
                  <a:cubicBezTo>
                    <a:pt x="43235" y="88301"/>
                    <a:pt x="43235" y="88301"/>
                    <a:pt x="43235" y="88301"/>
                  </a:cubicBezTo>
                  <a:cubicBezTo>
                    <a:pt x="43235" y="88301"/>
                    <a:pt x="41470" y="87547"/>
                    <a:pt x="40588" y="87547"/>
                  </a:cubicBezTo>
                  <a:cubicBezTo>
                    <a:pt x="39705" y="86792"/>
                    <a:pt x="39705" y="86792"/>
                    <a:pt x="38823" y="88301"/>
                  </a:cubicBezTo>
                  <a:cubicBezTo>
                    <a:pt x="37941" y="89056"/>
                    <a:pt x="37941" y="89056"/>
                    <a:pt x="37058" y="89811"/>
                  </a:cubicBezTo>
                  <a:cubicBezTo>
                    <a:pt x="36176" y="90566"/>
                    <a:pt x="36176" y="90566"/>
                    <a:pt x="34411" y="90566"/>
                  </a:cubicBezTo>
                  <a:cubicBezTo>
                    <a:pt x="33529" y="90566"/>
                    <a:pt x="33529" y="89811"/>
                    <a:pt x="32647" y="89811"/>
                  </a:cubicBezTo>
                  <a:cubicBezTo>
                    <a:pt x="32647" y="89056"/>
                    <a:pt x="32647" y="89056"/>
                    <a:pt x="31764" y="88301"/>
                  </a:cubicBezTo>
                  <a:cubicBezTo>
                    <a:pt x="31764" y="87547"/>
                    <a:pt x="30882" y="87547"/>
                    <a:pt x="30882" y="87547"/>
                  </a:cubicBezTo>
                  <a:cubicBezTo>
                    <a:pt x="30882" y="87547"/>
                    <a:pt x="29117" y="88301"/>
                    <a:pt x="29117" y="89056"/>
                  </a:cubicBezTo>
                  <a:cubicBezTo>
                    <a:pt x="28235" y="89056"/>
                    <a:pt x="29117" y="89811"/>
                    <a:pt x="29117" y="90566"/>
                  </a:cubicBezTo>
                  <a:cubicBezTo>
                    <a:pt x="30000" y="91320"/>
                    <a:pt x="29117" y="92075"/>
                    <a:pt x="29117" y="92075"/>
                  </a:cubicBezTo>
                  <a:cubicBezTo>
                    <a:pt x="29117" y="92075"/>
                    <a:pt x="27352" y="92075"/>
                    <a:pt x="26470" y="92075"/>
                  </a:cubicBezTo>
                  <a:cubicBezTo>
                    <a:pt x="25588" y="92075"/>
                    <a:pt x="24705" y="92075"/>
                    <a:pt x="23823" y="91320"/>
                  </a:cubicBezTo>
                  <a:cubicBezTo>
                    <a:pt x="22058" y="90566"/>
                    <a:pt x="22941" y="92075"/>
                    <a:pt x="22941" y="92830"/>
                  </a:cubicBezTo>
                  <a:cubicBezTo>
                    <a:pt x="22941" y="92830"/>
                    <a:pt x="21176" y="94339"/>
                    <a:pt x="21176" y="94339"/>
                  </a:cubicBezTo>
                  <a:cubicBezTo>
                    <a:pt x="21176" y="94339"/>
                    <a:pt x="21176" y="94339"/>
                    <a:pt x="21176" y="94339"/>
                  </a:cubicBezTo>
                  <a:cubicBezTo>
                    <a:pt x="19411" y="94339"/>
                    <a:pt x="17647" y="93584"/>
                    <a:pt x="17647" y="93584"/>
                  </a:cubicBezTo>
                  <a:cubicBezTo>
                    <a:pt x="16764" y="94339"/>
                    <a:pt x="16764" y="94339"/>
                    <a:pt x="16764" y="94339"/>
                  </a:cubicBezTo>
                  <a:cubicBezTo>
                    <a:pt x="14117" y="93584"/>
                    <a:pt x="14117" y="93584"/>
                    <a:pt x="14117" y="93584"/>
                  </a:cubicBezTo>
                  <a:cubicBezTo>
                    <a:pt x="13235" y="93584"/>
                    <a:pt x="13235" y="93584"/>
                    <a:pt x="13235" y="93584"/>
                  </a:cubicBezTo>
                  <a:cubicBezTo>
                    <a:pt x="12352" y="91320"/>
                    <a:pt x="12352" y="91320"/>
                    <a:pt x="12352" y="91320"/>
                  </a:cubicBezTo>
                  <a:cubicBezTo>
                    <a:pt x="11470" y="91320"/>
                    <a:pt x="11470" y="91320"/>
                    <a:pt x="11470" y="91320"/>
                  </a:cubicBezTo>
                  <a:cubicBezTo>
                    <a:pt x="7941" y="89811"/>
                    <a:pt x="7941" y="89811"/>
                    <a:pt x="7941" y="89811"/>
                  </a:cubicBezTo>
                  <a:cubicBezTo>
                    <a:pt x="7058" y="89056"/>
                    <a:pt x="7058" y="89056"/>
                    <a:pt x="7058" y="89056"/>
                  </a:cubicBezTo>
                  <a:cubicBezTo>
                    <a:pt x="5294" y="89811"/>
                    <a:pt x="5294" y="89811"/>
                    <a:pt x="5294" y="89811"/>
                  </a:cubicBezTo>
                  <a:cubicBezTo>
                    <a:pt x="4411" y="90566"/>
                    <a:pt x="4411" y="90566"/>
                    <a:pt x="4411" y="90566"/>
                  </a:cubicBezTo>
                  <a:cubicBezTo>
                    <a:pt x="4411" y="90566"/>
                    <a:pt x="2647" y="91320"/>
                    <a:pt x="1764" y="91320"/>
                  </a:cubicBezTo>
                  <a:cubicBezTo>
                    <a:pt x="1764" y="90566"/>
                    <a:pt x="0" y="87547"/>
                    <a:pt x="0" y="87547"/>
                  </a:cubicBezTo>
                  <a:cubicBezTo>
                    <a:pt x="882" y="85283"/>
                    <a:pt x="882" y="85283"/>
                    <a:pt x="882" y="85283"/>
                  </a:cubicBezTo>
                  <a:cubicBezTo>
                    <a:pt x="882" y="85283"/>
                    <a:pt x="3529" y="84528"/>
                    <a:pt x="3529" y="84528"/>
                  </a:cubicBezTo>
                  <a:cubicBezTo>
                    <a:pt x="3529" y="84528"/>
                    <a:pt x="5294" y="84528"/>
                    <a:pt x="5294" y="84528"/>
                  </a:cubicBezTo>
                  <a:cubicBezTo>
                    <a:pt x="5294" y="84528"/>
                    <a:pt x="6176" y="84528"/>
                    <a:pt x="6176" y="85283"/>
                  </a:cubicBezTo>
                  <a:cubicBezTo>
                    <a:pt x="7058" y="85283"/>
                    <a:pt x="8823" y="86792"/>
                    <a:pt x="9705" y="86792"/>
                  </a:cubicBezTo>
                  <a:cubicBezTo>
                    <a:pt x="9705" y="86792"/>
                    <a:pt x="11470" y="87547"/>
                    <a:pt x="11470" y="87547"/>
                  </a:cubicBezTo>
                  <a:cubicBezTo>
                    <a:pt x="12352" y="87547"/>
                    <a:pt x="14117" y="88301"/>
                    <a:pt x="14117" y="88301"/>
                  </a:cubicBezTo>
                  <a:cubicBezTo>
                    <a:pt x="14117" y="88301"/>
                    <a:pt x="15882" y="88301"/>
                    <a:pt x="15882" y="88301"/>
                  </a:cubicBezTo>
                  <a:cubicBezTo>
                    <a:pt x="15882" y="88301"/>
                    <a:pt x="17647" y="87547"/>
                    <a:pt x="17647" y="87547"/>
                  </a:cubicBezTo>
                  <a:cubicBezTo>
                    <a:pt x="17647" y="87547"/>
                    <a:pt x="17647" y="87547"/>
                    <a:pt x="17647" y="87547"/>
                  </a:cubicBezTo>
                  <a:cubicBezTo>
                    <a:pt x="18529" y="86792"/>
                    <a:pt x="18529" y="86037"/>
                    <a:pt x="18529" y="86037"/>
                  </a:cubicBezTo>
                  <a:cubicBezTo>
                    <a:pt x="18529" y="86037"/>
                    <a:pt x="19411" y="86037"/>
                    <a:pt x="19411" y="86037"/>
                  </a:cubicBezTo>
                  <a:cubicBezTo>
                    <a:pt x="19411" y="86792"/>
                    <a:pt x="20294" y="87547"/>
                    <a:pt x="20294" y="87547"/>
                  </a:cubicBezTo>
                  <a:cubicBezTo>
                    <a:pt x="20294" y="87547"/>
                    <a:pt x="21176" y="88301"/>
                    <a:pt x="21176" y="88301"/>
                  </a:cubicBezTo>
                  <a:cubicBezTo>
                    <a:pt x="22058" y="89056"/>
                    <a:pt x="22941" y="89056"/>
                    <a:pt x="22941" y="89056"/>
                  </a:cubicBezTo>
                  <a:cubicBezTo>
                    <a:pt x="22941" y="89056"/>
                    <a:pt x="23823" y="88301"/>
                    <a:pt x="23823" y="88301"/>
                  </a:cubicBezTo>
                  <a:cubicBezTo>
                    <a:pt x="23823" y="88301"/>
                    <a:pt x="24705" y="89056"/>
                    <a:pt x="24705" y="88301"/>
                  </a:cubicBezTo>
                  <a:cubicBezTo>
                    <a:pt x="24705" y="88301"/>
                    <a:pt x="25588" y="88301"/>
                    <a:pt x="25588" y="88301"/>
                  </a:cubicBezTo>
                  <a:cubicBezTo>
                    <a:pt x="25588" y="88301"/>
                    <a:pt x="26470" y="87547"/>
                    <a:pt x="25588" y="87547"/>
                  </a:cubicBezTo>
                  <a:cubicBezTo>
                    <a:pt x="25588" y="87547"/>
                    <a:pt x="25588" y="86792"/>
                    <a:pt x="25588" y="87547"/>
                  </a:cubicBezTo>
                  <a:cubicBezTo>
                    <a:pt x="24705" y="87547"/>
                    <a:pt x="24705" y="87547"/>
                    <a:pt x="23823" y="87547"/>
                  </a:cubicBezTo>
                  <a:cubicBezTo>
                    <a:pt x="22941" y="87547"/>
                    <a:pt x="21176" y="86792"/>
                    <a:pt x="21176" y="86792"/>
                  </a:cubicBezTo>
                  <a:cubicBezTo>
                    <a:pt x="21176" y="86037"/>
                    <a:pt x="20294" y="86037"/>
                    <a:pt x="20294" y="85283"/>
                  </a:cubicBezTo>
                  <a:cubicBezTo>
                    <a:pt x="19411" y="85283"/>
                    <a:pt x="19411" y="84528"/>
                    <a:pt x="18529" y="84528"/>
                  </a:cubicBezTo>
                  <a:cubicBezTo>
                    <a:pt x="17647" y="84528"/>
                    <a:pt x="17647" y="84528"/>
                    <a:pt x="17647" y="84528"/>
                  </a:cubicBezTo>
                  <a:cubicBezTo>
                    <a:pt x="17647" y="84528"/>
                    <a:pt x="16764" y="85283"/>
                    <a:pt x="16764" y="86037"/>
                  </a:cubicBezTo>
                  <a:cubicBezTo>
                    <a:pt x="16764" y="86037"/>
                    <a:pt x="17647" y="86792"/>
                    <a:pt x="15882" y="86037"/>
                  </a:cubicBezTo>
                  <a:cubicBezTo>
                    <a:pt x="14117" y="86037"/>
                    <a:pt x="12352" y="86037"/>
                    <a:pt x="12352" y="86037"/>
                  </a:cubicBezTo>
                  <a:cubicBezTo>
                    <a:pt x="9705" y="83773"/>
                    <a:pt x="9705" y="83773"/>
                    <a:pt x="9705" y="83773"/>
                  </a:cubicBezTo>
                  <a:cubicBezTo>
                    <a:pt x="9705" y="83773"/>
                    <a:pt x="8823" y="83773"/>
                    <a:pt x="7941" y="83773"/>
                  </a:cubicBezTo>
                  <a:cubicBezTo>
                    <a:pt x="7941" y="83773"/>
                    <a:pt x="6176" y="83018"/>
                    <a:pt x="6176" y="82264"/>
                  </a:cubicBezTo>
                  <a:cubicBezTo>
                    <a:pt x="6176" y="82264"/>
                    <a:pt x="5294" y="81509"/>
                    <a:pt x="5294" y="80754"/>
                  </a:cubicBezTo>
                  <a:cubicBezTo>
                    <a:pt x="5294" y="80754"/>
                    <a:pt x="4411" y="80754"/>
                    <a:pt x="4411" y="80000"/>
                  </a:cubicBezTo>
                  <a:cubicBezTo>
                    <a:pt x="4411" y="80000"/>
                    <a:pt x="3529" y="79245"/>
                    <a:pt x="3529" y="79245"/>
                  </a:cubicBezTo>
                  <a:cubicBezTo>
                    <a:pt x="3529" y="79245"/>
                    <a:pt x="3529" y="78490"/>
                    <a:pt x="4411" y="77735"/>
                  </a:cubicBezTo>
                  <a:cubicBezTo>
                    <a:pt x="6176" y="77735"/>
                    <a:pt x="6176" y="77735"/>
                    <a:pt x="7058" y="77735"/>
                  </a:cubicBezTo>
                  <a:cubicBezTo>
                    <a:pt x="7941" y="77735"/>
                    <a:pt x="7058" y="77735"/>
                    <a:pt x="8823" y="77735"/>
                  </a:cubicBezTo>
                  <a:cubicBezTo>
                    <a:pt x="10588" y="77735"/>
                    <a:pt x="9705" y="77735"/>
                    <a:pt x="10588" y="77735"/>
                  </a:cubicBezTo>
                  <a:cubicBezTo>
                    <a:pt x="11470" y="77735"/>
                    <a:pt x="13235" y="77735"/>
                    <a:pt x="13235" y="77735"/>
                  </a:cubicBezTo>
                  <a:cubicBezTo>
                    <a:pt x="13235" y="77735"/>
                    <a:pt x="11470" y="76981"/>
                    <a:pt x="14117" y="77735"/>
                  </a:cubicBezTo>
                  <a:cubicBezTo>
                    <a:pt x="14117" y="77735"/>
                    <a:pt x="17647" y="78490"/>
                    <a:pt x="16764" y="80000"/>
                  </a:cubicBezTo>
                  <a:cubicBezTo>
                    <a:pt x="16764" y="80000"/>
                    <a:pt x="15882" y="80754"/>
                    <a:pt x="15882" y="80754"/>
                  </a:cubicBezTo>
                  <a:cubicBezTo>
                    <a:pt x="15882" y="80754"/>
                    <a:pt x="17647" y="81509"/>
                    <a:pt x="17647" y="81509"/>
                  </a:cubicBezTo>
                  <a:cubicBezTo>
                    <a:pt x="17647" y="81509"/>
                    <a:pt x="18529" y="80754"/>
                    <a:pt x="18529" y="80754"/>
                  </a:cubicBezTo>
                  <a:cubicBezTo>
                    <a:pt x="19411" y="81509"/>
                    <a:pt x="19411" y="81509"/>
                    <a:pt x="19411" y="81509"/>
                  </a:cubicBezTo>
                  <a:cubicBezTo>
                    <a:pt x="21176" y="83018"/>
                    <a:pt x="21176" y="83018"/>
                    <a:pt x="21176" y="83018"/>
                  </a:cubicBezTo>
                  <a:cubicBezTo>
                    <a:pt x="21176" y="83018"/>
                    <a:pt x="22941" y="83018"/>
                    <a:pt x="22941" y="83018"/>
                  </a:cubicBezTo>
                  <a:cubicBezTo>
                    <a:pt x="22058" y="83773"/>
                    <a:pt x="21176" y="82264"/>
                    <a:pt x="22058" y="83773"/>
                  </a:cubicBezTo>
                  <a:cubicBezTo>
                    <a:pt x="22941" y="85283"/>
                    <a:pt x="23823" y="86037"/>
                    <a:pt x="23823" y="86037"/>
                  </a:cubicBezTo>
                  <a:cubicBezTo>
                    <a:pt x="24705" y="86037"/>
                    <a:pt x="24705" y="86037"/>
                    <a:pt x="24705" y="86037"/>
                  </a:cubicBezTo>
                  <a:cubicBezTo>
                    <a:pt x="24705" y="86037"/>
                    <a:pt x="24705" y="85283"/>
                    <a:pt x="25588" y="85283"/>
                  </a:cubicBezTo>
                  <a:cubicBezTo>
                    <a:pt x="25588" y="86037"/>
                    <a:pt x="27352" y="86037"/>
                    <a:pt x="28235" y="86037"/>
                  </a:cubicBezTo>
                  <a:cubicBezTo>
                    <a:pt x="28235" y="86037"/>
                    <a:pt x="28235" y="85283"/>
                    <a:pt x="27352" y="83773"/>
                  </a:cubicBezTo>
                  <a:cubicBezTo>
                    <a:pt x="26470" y="83018"/>
                    <a:pt x="25588" y="82264"/>
                    <a:pt x="25588" y="82264"/>
                  </a:cubicBezTo>
                  <a:cubicBezTo>
                    <a:pt x="24705" y="82264"/>
                    <a:pt x="25588" y="83018"/>
                    <a:pt x="23823" y="82264"/>
                  </a:cubicBezTo>
                  <a:cubicBezTo>
                    <a:pt x="22058" y="81509"/>
                    <a:pt x="22058" y="82264"/>
                    <a:pt x="21176" y="81509"/>
                  </a:cubicBezTo>
                  <a:cubicBezTo>
                    <a:pt x="20294" y="80000"/>
                    <a:pt x="19411" y="80000"/>
                    <a:pt x="19411" y="79245"/>
                  </a:cubicBezTo>
                  <a:cubicBezTo>
                    <a:pt x="19411" y="79245"/>
                    <a:pt x="20294" y="79245"/>
                    <a:pt x="21176" y="78490"/>
                  </a:cubicBezTo>
                  <a:cubicBezTo>
                    <a:pt x="22058" y="78490"/>
                    <a:pt x="20294" y="77735"/>
                    <a:pt x="22058" y="78490"/>
                  </a:cubicBezTo>
                  <a:cubicBezTo>
                    <a:pt x="24705" y="79245"/>
                    <a:pt x="24705" y="79245"/>
                    <a:pt x="25588" y="79245"/>
                  </a:cubicBezTo>
                  <a:cubicBezTo>
                    <a:pt x="25588" y="79245"/>
                    <a:pt x="27352" y="79245"/>
                    <a:pt x="25588" y="78490"/>
                  </a:cubicBezTo>
                  <a:cubicBezTo>
                    <a:pt x="23823" y="78490"/>
                    <a:pt x="22941" y="77735"/>
                    <a:pt x="22941" y="77735"/>
                  </a:cubicBezTo>
                  <a:cubicBezTo>
                    <a:pt x="21176" y="77735"/>
                    <a:pt x="21176" y="77735"/>
                    <a:pt x="21176" y="77735"/>
                  </a:cubicBezTo>
                  <a:cubicBezTo>
                    <a:pt x="21176" y="77735"/>
                    <a:pt x="21176" y="77735"/>
                    <a:pt x="20294" y="77735"/>
                  </a:cubicBezTo>
                  <a:cubicBezTo>
                    <a:pt x="19411" y="77735"/>
                    <a:pt x="19411" y="78490"/>
                    <a:pt x="19411" y="77735"/>
                  </a:cubicBezTo>
                  <a:cubicBezTo>
                    <a:pt x="18529" y="77735"/>
                    <a:pt x="17647" y="77735"/>
                    <a:pt x="17647" y="76981"/>
                  </a:cubicBezTo>
                  <a:cubicBezTo>
                    <a:pt x="16764" y="76981"/>
                    <a:pt x="15882" y="76226"/>
                    <a:pt x="15882" y="76226"/>
                  </a:cubicBezTo>
                  <a:cubicBezTo>
                    <a:pt x="15882" y="75471"/>
                    <a:pt x="15000" y="74716"/>
                    <a:pt x="15000" y="74716"/>
                  </a:cubicBezTo>
                  <a:cubicBezTo>
                    <a:pt x="15000" y="74716"/>
                    <a:pt x="15000" y="74716"/>
                    <a:pt x="15000" y="74716"/>
                  </a:cubicBezTo>
                  <a:cubicBezTo>
                    <a:pt x="14117" y="74716"/>
                    <a:pt x="13235" y="74716"/>
                    <a:pt x="12352" y="74716"/>
                  </a:cubicBezTo>
                  <a:cubicBezTo>
                    <a:pt x="12352" y="74716"/>
                    <a:pt x="11470" y="74716"/>
                    <a:pt x="11470" y="74716"/>
                  </a:cubicBezTo>
                  <a:cubicBezTo>
                    <a:pt x="11470" y="73962"/>
                    <a:pt x="11470" y="73962"/>
                    <a:pt x="11470" y="73207"/>
                  </a:cubicBezTo>
                  <a:cubicBezTo>
                    <a:pt x="11470" y="73207"/>
                    <a:pt x="11470" y="72452"/>
                    <a:pt x="12352" y="72452"/>
                  </a:cubicBezTo>
                  <a:cubicBezTo>
                    <a:pt x="13235" y="72452"/>
                    <a:pt x="14117" y="72452"/>
                    <a:pt x="15000" y="72452"/>
                  </a:cubicBezTo>
                  <a:cubicBezTo>
                    <a:pt x="15882" y="72452"/>
                    <a:pt x="16764" y="72452"/>
                    <a:pt x="17647" y="72452"/>
                  </a:cubicBezTo>
                  <a:cubicBezTo>
                    <a:pt x="17647" y="72452"/>
                    <a:pt x="18529" y="73207"/>
                    <a:pt x="18529" y="73207"/>
                  </a:cubicBezTo>
                  <a:cubicBezTo>
                    <a:pt x="19411" y="73962"/>
                    <a:pt x="20294" y="73962"/>
                    <a:pt x="20294" y="73962"/>
                  </a:cubicBezTo>
                  <a:cubicBezTo>
                    <a:pt x="20294" y="74716"/>
                    <a:pt x="20294" y="74716"/>
                    <a:pt x="21176" y="74716"/>
                  </a:cubicBezTo>
                  <a:cubicBezTo>
                    <a:pt x="21176" y="75471"/>
                    <a:pt x="22058" y="75471"/>
                    <a:pt x="22058" y="75471"/>
                  </a:cubicBezTo>
                  <a:cubicBezTo>
                    <a:pt x="22941" y="76981"/>
                    <a:pt x="22941" y="76981"/>
                    <a:pt x="22941" y="76981"/>
                  </a:cubicBezTo>
                  <a:cubicBezTo>
                    <a:pt x="22941" y="76981"/>
                    <a:pt x="22941" y="76981"/>
                    <a:pt x="22941" y="76981"/>
                  </a:cubicBezTo>
                  <a:cubicBezTo>
                    <a:pt x="24705" y="77735"/>
                    <a:pt x="24705" y="77735"/>
                    <a:pt x="24705" y="77735"/>
                  </a:cubicBezTo>
                  <a:cubicBezTo>
                    <a:pt x="24705" y="77735"/>
                    <a:pt x="27352" y="78490"/>
                    <a:pt x="27352" y="78490"/>
                  </a:cubicBezTo>
                  <a:cubicBezTo>
                    <a:pt x="27352" y="78490"/>
                    <a:pt x="27352" y="78490"/>
                    <a:pt x="28235" y="78490"/>
                  </a:cubicBezTo>
                  <a:cubicBezTo>
                    <a:pt x="29117" y="78490"/>
                    <a:pt x="29117" y="77735"/>
                    <a:pt x="29117" y="77735"/>
                  </a:cubicBezTo>
                  <a:cubicBezTo>
                    <a:pt x="29117" y="77735"/>
                    <a:pt x="30000" y="77735"/>
                    <a:pt x="30000" y="77735"/>
                  </a:cubicBezTo>
                  <a:cubicBezTo>
                    <a:pt x="30000" y="77735"/>
                    <a:pt x="32647" y="76226"/>
                    <a:pt x="32647" y="76226"/>
                  </a:cubicBezTo>
                  <a:cubicBezTo>
                    <a:pt x="32647" y="76981"/>
                    <a:pt x="33529" y="76981"/>
                    <a:pt x="34411" y="76981"/>
                  </a:cubicBezTo>
                  <a:cubicBezTo>
                    <a:pt x="34411" y="76981"/>
                    <a:pt x="37058" y="78490"/>
                    <a:pt x="37058" y="78490"/>
                  </a:cubicBezTo>
                  <a:cubicBezTo>
                    <a:pt x="37058" y="77735"/>
                    <a:pt x="37058" y="76981"/>
                    <a:pt x="37058" y="76981"/>
                  </a:cubicBezTo>
                  <a:cubicBezTo>
                    <a:pt x="37058" y="76981"/>
                    <a:pt x="37941" y="76226"/>
                    <a:pt x="37941" y="76226"/>
                  </a:cubicBezTo>
                  <a:cubicBezTo>
                    <a:pt x="41470" y="76226"/>
                    <a:pt x="41470" y="76226"/>
                    <a:pt x="41470" y="76226"/>
                  </a:cubicBezTo>
                  <a:cubicBezTo>
                    <a:pt x="41470" y="76226"/>
                    <a:pt x="42352" y="75471"/>
                    <a:pt x="42352" y="75471"/>
                  </a:cubicBezTo>
                  <a:cubicBezTo>
                    <a:pt x="41470" y="75471"/>
                    <a:pt x="40588" y="75471"/>
                    <a:pt x="40588" y="75471"/>
                  </a:cubicBezTo>
                  <a:cubicBezTo>
                    <a:pt x="38823" y="76226"/>
                    <a:pt x="38823" y="76226"/>
                    <a:pt x="38823" y="76226"/>
                  </a:cubicBezTo>
                  <a:cubicBezTo>
                    <a:pt x="37058" y="76226"/>
                    <a:pt x="37058" y="76226"/>
                    <a:pt x="37058" y="76226"/>
                  </a:cubicBezTo>
                  <a:cubicBezTo>
                    <a:pt x="37058" y="76226"/>
                    <a:pt x="36176" y="76981"/>
                    <a:pt x="36176" y="76981"/>
                  </a:cubicBezTo>
                  <a:cubicBezTo>
                    <a:pt x="35294" y="76981"/>
                    <a:pt x="34411" y="76226"/>
                    <a:pt x="34411" y="76226"/>
                  </a:cubicBezTo>
                  <a:cubicBezTo>
                    <a:pt x="33529" y="75471"/>
                    <a:pt x="31764" y="74716"/>
                    <a:pt x="31764" y="74716"/>
                  </a:cubicBezTo>
                  <a:cubicBezTo>
                    <a:pt x="30882" y="74716"/>
                    <a:pt x="31764" y="74716"/>
                    <a:pt x="30000" y="73962"/>
                  </a:cubicBezTo>
                  <a:cubicBezTo>
                    <a:pt x="28235" y="73207"/>
                    <a:pt x="27352" y="72452"/>
                    <a:pt x="27352" y="72452"/>
                  </a:cubicBezTo>
                  <a:cubicBezTo>
                    <a:pt x="26470" y="71698"/>
                    <a:pt x="26470" y="71698"/>
                    <a:pt x="26470" y="71698"/>
                  </a:cubicBezTo>
                  <a:cubicBezTo>
                    <a:pt x="26470" y="71698"/>
                    <a:pt x="26470" y="70943"/>
                    <a:pt x="25588" y="70943"/>
                  </a:cubicBezTo>
                  <a:cubicBezTo>
                    <a:pt x="24705" y="70188"/>
                    <a:pt x="22058" y="69433"/>
                    <a:pt x="22058" y="69433"/>
                  </a:cubicBezTo>
                  <a:cubicBezTo>
                    <a:pt x="22058" y="69433"/>
                    <a:pt x="22058" y="68679"/>
                    <a:pt x="22058" y="68679"/>
                  </a:cubicBezTo>
                  <a:cubicBezTo>
                    <a:pt x="22058" y="68679"/>
                    <a:pt x="22058" y="66415"/>
                    <a:pt x="22058" y="66415"/>
                  </a:cubicBezTo>
                  <a:cubicBezTo>
                    <a:pt x="22058" y="65660"/>
                    <a:pt x="21176" y="64150"/>
                    <a:pt x="21176" y="64150"/>
                  </a:cubicBezTo>
                  <a:cubicBezTo>
                    <a:pt x="21176" y="64150"/>
                    <a:pt x="22941" y="63396"/>
                    <a:pt x="22941" y="63396"/>
                  </a:cubicBezTo>
                  <a:cubicBezTo>
                    <a:pt x="23823" y="63396"/>
                    <a:pt x="24705" y="64150"/>
                    <a:pt x="24705" y="64150"/>
                  </a:cubicBezTo>
                  <a:cubicBezTo>
                    <a:pt x="25588" y="63396"/>
                    <a:pt x="25588" y="63396"/>
                    <a:pt x="25588" y="63396"/>
                  </a:cubicBezTo>
                  <a:cubicBezTo>
                    <a:pt x="32647" y="55094"/>
                    <a:pt x="32647" y="55094"/>
                    <a:pt x="32647" y="55094"/>
                  </a:cubicBezTo>
                  <a:cubicBezTo>
                    <a:pt x="38823" y="47547"/>
                    <a:pt x="38823" y="47547"/>
                    <a:pt x="38823" y="47547"/>
                  </a:cubicBezTo>
                  <a:cubicBezTo>
                    <a:pt x="41470" y="36226"/>
                    <a:pt x="41470" y="36226"/>
                    <a:pt x="41470" y="36226"/>
                  </a:cubicBezTo>
                  <a:cubicBezTo>
                    <a:pt x="43235" y="30943"/>
                    <a:pt x="43235" y="30943"/>
                    <a:pt x="43235" y="30943"/>
                  </a:cubicBezTo>
                  <a:cubicBezTo>
                    <a:pt x="45000" y="26415"/>
                    <a:pt x="45000" y="26415"/>
                    <a:pt x="45000" y="26415"/>
                  </a:cubicBezTo>
                  <a:cubicBezTo>
                    <a:pt x="45000" y="26415"/>
                    <a:pt x="45000" y="25660"/>
                    <a:pt x="45882" y="26415"/>
                  </a:cubicBezTo>
                  <a:cubicBezTo>
                    <a:pt x="45882" y="26415"/>
                    <a:pt x="46764" y="27924"/>
                    <a:pt x="46764" y="27924"/>
                  </a:cubicBezTo>
                  <a:cubicBezTo>
                    <a:pt x="47647" y="28679"/>
                    <a:pt x="47647" y="28679"/>
                    <a:pt x="47647" y="28679"/>
                  </a:cubicBezTo>
                  <a:cubicBezTo>
                    <a:pt x="48529" y="28679"/>
                    <a:pt x="48529" y="28679"/>
                    <a:pt x="48529" y="28679"/>
                  </a:cubicBezTo>
                  <a:cubicBezTo>
                    <a:pt x="48529" y="28679"/>
                    <a:pt x="50294" y="27924"/>
                    <a:pt x="51176" y="27924"/>
                  </a:cubicBezTo>
                  <a:cubicBezTo>
                    <a:pt x="51176" y="27924"/>
                    <a:pt x="54705" y="29433"/>
                    <a:pt x="54705" y="29433"/>
                  </a:cubicBezTo>
                  <a:cubicBezTo>
                    <a:pt x="54705" y="29433"/>
                    <a:pt x="54705" y="30943"/>
                    <a:pt x="54705" y="31698"/>
                  </a:cubicBezTo>
                  <a:cubicBezTo>
                    <a:pt x="54705" y="31698"/>
                    <a:pt x="56470" y="33207"/>
                    <a:pt x="55588" y="33962"/>
                  </a:cubicBezTo>
                  <a:cubicBezTo>
                    <a:pt x="55588" y="33962"/>
                    <a:pt x="54705" y="35471"/>
                    <a:pt x="54705" y="35471"/>
                  </a:cubicBezTo>
                  <a:cubicBezTo>
                    <a:pt x="54705" y="35471"/>
                    <a:pt x="55588" y="36226"/>
                    <a:pt x="55588" y="36226"/>
                  </a:cubicBezTo>
                  <a:cubicBezTo>
                    <a:pt x="56470" y="36226"/>
                    <a:pt x="56470" y="36226"/>
                    <a:pt x="57352" y="36226"/>
                  </a:cubicBezTo>
                  <a:cubicBezTo>
                    <a:pt x="58235" y="36226"/>
                    <a:pt x="59117" y="36981"/>
                    <a:pt x="59117" y="36981"/>
                  </a:cubicBezTo>
                  <a:cubicBezTo>
                    <a:pt x="59117" y="36981"/>
                    <a:pt x="59117" y="37735"/>
                    <a:pt x="59117" y="37735"/>
                  </a:cubicBezTo>
                  <a:cubicBezTo>
                    <a:pt x="59117" y="37735"/>
                    <a:pt x="59117" y="39245"/>
                    <a:pt x="59117" y="39245"/>
                  </a:cubicBezTo>
                  <a:cubicBezTo>
                    <a:pt x="59117" y="40000"/>
                    <a:pt x="57352" y="40000"/>
                    <a:pt x="57352" y="40000"/>
                  </a:cubicBezTo>
                  <a:cubicBezTo>
                    <a:pt x="57352" y="40000"/>
                    <a:pt x="57352" y="40754"/>
                    <a:pt x="57352" y="40754"/>
                  </a:cubicBezTo>
                  <a:cubicBezTo>
                    <a:pt x="56470" y="41509"/>
                    <a:pt x="55588" y="42264"/>
                    <a:pt x="54705" y="42264"/>
                  </a:cubicBezTo>
                  <a:cubicBezTo>
                    <a:pt x="54705" y="42264"/>
                    <a:pt x="52941" y="40754"/>
                    <a:pt x="52941" y="40754"/>
                  </a:cubicBezTo>
                  <a:cubicBezTo>
                    <a:pt x="52941" y="40754"/>
                    <a:pt x="52058" y="41509"/>
                    <a:pt x="52058" y="41509"/>
                  </a:cubicBezTo>
                  <a:cubicBezTo>
                    <a:pt x="52941" y="43018"/>
                    <a:pt x="52941" y="43018"/>
                    <a:pt x="52941" y="43018"/>
                  </a:cubicBezTo>
                  <a:cubicBezTo>
                    <a:pt x="53823" y="45283"/>
                    <a:pt x="53823" y="45283"/>
                    <a:pt x="53823" y="45283"/>
                  </a:cubicBezTo>
                  <a:cubicBezTo>
                    <a:pt x="52941" y="46037"/>
                    <a:pt x="52941" y="46037"/>
                    <a:pt x="52941" y="46037"/>
                  </a:cubicBezTo>
                  <a:cubicBezTo>
                    <a:pt x="53823" y="48301"/>
                    <a:pt x="53823" y="48301"/>
                    <a:pt x="53823" y="48301"/>
                  </a:cubicBezTo>
                  <a:cubicBezTo>
                    <a:pt x="53823" y="49811"/>
                    <a:pt x="53823" y="49811"/>
                    <a:pt x="53823" y="49811"/>
                  </a:cubicBezTo>
                  <a:cubicBezTo>
                    <a:pt x="52058" y="50566"/>
                    <a:pt x="52058" y="50566"/>
                    <a:pt x="52058" y="50566"/>
                  </a:cubicBezTo>
                  <a:cubicBezTo>
                    <a:pt x="52058" y="50566"/>
                    <a:pt x="51176" y="51320"/>
                    <a:pt x="50294" y="51320"/>
                  </a:cubicBezTo>
                  <a:cubicBezTo>
                    <a:pt x="50294" y="51320"/>
                    <a:pt x="49411" y="50566"/>
                    <a:pt x="49411" y="51320"/>
                  </a:cubicBezTo>
                  <a:cubicBezTo>
                    <a:pt x="50294" y="52075"/>
                    <a:pt x="50294" y="52830"/>
                    <a:pt x="51176" y="52830"/>
                  </a:cubicBezTo>
                  <a:cubicBezTo>
                    <a:pt x="52058" y="52830"/>
                    <a:pt x="53823" y="52830"/>
                    <a:pt x="53823" y="52830"/>
                  </a:cubicBezTo>
                  <a:cubicBezTo>
                    <a:pt x="55588" y="55094"/>
                    <a:pt x="55588" y="55094"/>
                    <a:pt x="55588" y="55094"/>
                  </a:cubicBezTo>
                  <a:cubicBezTo>
                    <a:pt x="55588" y="55094"/>
                    <a:pt x="56470" y="55094"/>
                    <a:pt x="57352" y="55094"/>
                  </a:cubicBezTo>
                  <a:cubicBezTo>
                    <a:pt x="57352" y="55094"/>
                    <a:pt x="59117" y="55849"/>
                    <a:pt x="59117" y="55849"/>
                  </a:cubicBezTo>
                  <a:cubicBezTo>
                    <a:pt x="59117" y="55849"/>
                    <a:pt x="59117" y="55849"/>
                    <a:pt x="60000" y="56603"/>
                  </a:cubicBezTo>
                  <a:cubicBezTo>
                    <a:pt x="60882" y="56603"/>
                    <a:pt x="62647" y="57358"/>
                    <a:pt x="62647" y="57358"/>
                  </a:cubicBezTo>
                  <a:cubicBezTo>
                    <a:pt x="62647" y="57358"/>
                    <a:pt x="62647" y="56603"/>
                    <a:pt x="61764" y="56603"/>
                  </a:cubicBezTo>
                  <a:cubicBezTo>
                    <a:pt x="61764" y="56603"/>
                    <a:pt x="60882" y="54339"/>
                    <a:pt x="59117" y="54339"/>
                  </a:cubicBezTo>
                  <a:cubicBezTo>
                    <a:pt x="58235" y="53584"/>
                    <a:pt x="57352" y="53584"/>
                    <a:pt x="56470" y="53584"/>
                  </a:cubicBezTo>
                  <a:cubicBezTo>
                    <a:pt x="55588" y="53584"/>
                    <a:pt x="53823" y="52830"/>
                    <a:pt x="53823" y="52830"/>
                  </a:cubicBezTo>
                  <a:cubicBezTo>
                    <a:pt x="53823" y="52075"/>
                    <a:pt x="52941" y="51320"/>
                    <a:pt x="53823" y="51320"/>
                  </a:cubicBezTo>
                  <a:cubicBezTo>
                    <a:pt x="53823" y="50566"/>
                    <a:pt x="53823" y="49811"/>
                    <a:pt x="55588" y="49811"/>
                  </a:cubicBezTo>
                  <a:cubicBezTo>
                    <a:pt x="56470" y="49811"/>
                    <a:pt x="57352" y="50566"/>
                    <a:pt x="58235" y="49811"/>
                  </a:cubicBezTo>
                  <a:cubicBezTo>
                    <a:pt x="59117" y="49811"/>
                    <a:pt x="60882" y="47547"/>
                    <a:pt x="60882" y="47547"/>
                  </a:cubicBezTo>
                  <a:cubicBezTo>
                    <a:pt x="62647" y="46037"/>
                    <a:pt x="62647" y="46037"/>
                    <a:pt x="62647" y="46037"/>
                  </a:cubicBezTo>
                  <a:cubicBezTo>
                    <a:pt x="65294" y="45283"/>
                    <a:pt x="65294" y="45283"/>
                    <a:pt x="65294" y="45283"/>
                  </a:cubicBezTo>
                  <a:cubicBezTo>
                    <a:pt x="65294" y="45283"/>
                    <a:pt x="68823" y="43773"/>
                    <a:pt x="68823" y="43773"/>
                  </a:cubicBezTo>
                  <a:cubicBezTo>
                    <a:pt x="68823" y="43773"/>
                    <a:pt x="69705" y="43773"/>
                    <a:pt x="70588" y="44528"/>
                  </a:cubicBezTo>
                  <a:cubicBezTo>
                    <a:pt x="71470" y="45283"/>
                    <a:pt x="71470" y="45283"/>
                    <a:pt x="71470" y="45283"/>
                  </a:cubicBezTo>
                  <a:cubicBezTo>
                    <a:pt x="72352" y="45283"/>
                    <a:pt x="74117" y="46037"/>
                    <a:pt x="74117" y="46037"/>
                  </a:cubicBezTo>
                  <a:cubicBezTo>
                    <a:pt x="74117" y="46037"/>
                    <a:pt x="74117" y="46037"/>
                    <a:pt x="75000" y="46792"/>
                  </a:cubicBezTo>
                  <a:cubicBezTo>
                    <a:pt x="75000" y="46792"/>
                    <a:pt x="75882" y="47547"/>
                    <a:pt x="75000" y="49056"/>
                  </a:cubicBezTo>
                  <a:cubicBezTo>
                    <a:pt x="75000" y="49811"/>
                    <a:pt x="75000" y="50566"/>
                    <a:pt x="75000" y="50566"/>
                  </a:cubicBezTo>
                  <a:cubicBezTo>
                    <a:pt x="75000" y="50566"/>
                    <a:pt x="75882" y="49811"/>
                    <a:pt x="75882" y="49056"/>
                  </a:cubicBezTo>
                  <a:cubicBezTo>
                    <a:pt x="75882" y="47547"/>
                    <a:pt x="75882" y="46792"/>
                    <a:pt x="75882" y="46037"/>
                  </a:cubicBezTo>
                  <a:cubicBezTo>
                    <a:pt x="75882" y="45283"/>
                    <a:pt x="75000" y="44528"/>
                    <a:pt x="75000" y="44528"/>
                  </a:cubicBezTo>
                  <a:cubicBezTo>
                    <a:pt x="75000" y="44528"/>
                    <a:pt x="73235" y="45283"/>
                    <a:pt x="71470" y="44528"/>
                  </a:cubicBezTo>
                  <a:cubicBezTo>
                    <a:pt x="70588" y="43773"/>
                    <a:pt x="70588" y="43018"/>
                    <a:pt x="69705" y="43018"/>
                  </a:cubicBezTo>
                  <a:cubicBezTo>
                    <a:pt x="69705" y="43018"/>
                    <a:pt x="68823" y="42264"/>
                    <a:pt x="67941" y="42264"/>
                  </a:cubicBezTo>
                  <a:cubicBezTo>
                    <a:pt x="67941" y="42264"/>
                    <a:pt x="67941" y="41509"/>
                    <a:pt x="67941" y="40754"/>
                  </a:cubicBezTo>
                  <a:cubicBezTo>
                    <a:pt x="67941" y="40000"/>
                    <a:pt x="67941" y="39245"/>
                    <a:pt x="67941" y="38490"/>
                  </a:cubicBezTo>
                  <a:cubicBezTo>
                    <a:pt x="67941" y="38490"/>
                    <a:pt x="67058" y="37735"/>
                    <a:pt x="67941" y="36981"/>
                  </a:cubicBezTo>
                  <a:cubicBezTo>
                    <a:pt x="68823" y="36226"/>
                    <a:pt x="68823" y="36226"/>
                    <a:pt x="69705" y="36226"/>
                  </a:cubicBezTo>
                  <a:cubicBezTo>
                    <a:pt x="69705" y="35471"/>
                    <a:pt x="71470" y="34716"/>
                    <a:pt x="70588" y="34716"/>
                  </a:cubicBezTo>
                  <a:cubicBezTo>
                    <a:pt x="70588" y="33962"/>
                    <a:pt x="69705" y="33962"/>
                    <a:pt x="68823" y="33962"/>
                  </a:cubicBezTo>
                  <a:cubicBezTo>
                    <a:pt x="67941" y="33962"/>
                    <a:pt x="68823" y="34716"/>
                    <a:pt x="67941" y="34716"/>
                  </a:cubicBezTo>
                  <a:cubicBezTo>
                    <a:pt x="66176" y="34716"/>
                    <a:pt x="66176" y="33962"/>
                    <a:pt x="65294" y="33207"/>
                  </a:cubicBezTo>
                  <a:cubicBezTo>
                    <a:pt x="65294" y="32452"/>
                    <a:pt x="65294" y="32452"/>
                    <a:pt x="64411" y="33207"/>
                  </a:cubicBezTo>
                  <a:cubicBezTo>
                    <a:pt x="63529" y="33207"/>
                    <a:pt x="62647" y="32452"/>
                    <a:pt x="62647" y="32452"/>
                  </a:cubicBezTo>
                  <a:cubicBezTo>
                    <a:pt x="62647" y="32452"/>
                    <a:pt x="61764" y="31698"/>
                    <a:pt x="62647" y="30943"/>
                  </a:cubicBezTo>
                  <a:cubicBezTo>
                    <a:pt x="62647" y="30943"/>
                    <a:pt x="63529" y="29433"/>
                    <a:pt x="63529" y="29433"/>
                  </a:cubicBezTo>
                  <a:cubicBezTo>
                    <a:pt x="63529" y="29433"/>
                    <a:pt x="63529" y="27169"/>
                    <a:pt x="63529" y="27169"/>
                  </a:cubicBezTo>
                  <a:cubicBezTo>
                    <a:pt x="63529" y="26415"/>
                    <a:pt x="63529" y="26415"/>
                    <a:pt x="63529" y="26415"/>
                  </a:cubicBezTo>
                  <a:close/>
                  <a:moveTo>
                    <a:pt x="112058" y="754"/>
                  </a:moveTo>
                  <a:cubicBezTo>
                    <a:pt x="112058" y="754"/>
                    <a:pt x="112058" y="754"/>
                    <a:pt x="112058" y="754"/>
                  </a:cubicBezTo>
                  <a:cubicBezTo>
                    <a:pt x="112058" y="754"/>
                    <a:pt x="112058" y="0"/>
                    <a:pt x="112941" y="0"/>
                  </a:cubicBezTo>
                  <a:cubicBezTo>
                    <a:pt x="113823" y="0"/>
                    <a:pt x="113823" y="0"/>
                    <a:pt x="114705" y="0"/>
                  </a:cubicBezTo>
                  <a:cubicBezTo>
                    <a:pt x="114705" y="0"/>
                    <a:pt x="116470" y="0"/>
                    <a:pt x="116470" y="0"/>
                  </a:cubicBezTo>
                  <a:cubicBezTo>
                    <a:pt x="116470" y="0"/>
                    <a:pt x="117352" y="0"/>
                    <a:pt x="118235" y="0"/>
                  </a:cubicBezTo>
                  <a:cubicBezTo>
                    <a:pt x="118235" y="0"/>
                    <a:pt x="119117" y="0"/>
                    <a:pt x="119117" y="0"/>
                  </a:cubicBezTo>
                  <a:cubicBezTo>
                    <a:pt x="120000" y="0"/>
                    <a:pt x="119117" y="754"/>
                    <a:pt x="119117" y="754"/>
                  </a:cubicBezTo>
                  <a:cubicBezTo>
                    <a:pt x="117352" y="754"/>
                    <a:pt x="117352" y="754"/>
                    <a:pt x="117352" y="754"/>
                  </a:cubicBezTo>
                  <a:cubicBezTo>
                    <a:pt x="117352" y="754"/>
                    <a:pt x="116470" y="754"/>
                    <a:pt x="115588" y="754"/>
                  </a:cubicBezTo>
                  <a:cubicBezTo>
                    <a:pt x="115588" y="1509"/>
                    <a:pt x="114705" y="1509"/>
                    <a:pt x="114705" y="1509"/>
                  </a:cubicBezTo>
                  <a:cubicBezTo>
                    <a:pt x="114705" y="1509"/>
                    <a:pt x="113823" y="1509"/>
                    <a:pt x="113823" y="1509"/>
                  </a:cubicBezTo>
                  <a:cubicBezTo>
                    <a:pt x="112941" y="1509"/>
                    <a:pt x="112941" y="754"/>
                    <a:pt x="112941" y="1509"/>
                  </a:cubicBezTo>
                  <a:cubicBezTo>
                    <a:pt x="112058" y="1509"/>
                    <a:pt x="112058" y="754"/>
                    <a:pt x="112058" y="754"/>
                  </a:cubicBezTo>
                  <a:close/>
                  <a:moveTo>
                    <a:pt x="104117" y="4528"/>
                  </a:moveTo>
                  <a:cubicBezTo>
                    <a:pt x="104117" y="4528"/>
                    <a:pt x="104117" y="4528"/>
                    <a:pt x="104117" y="4528"/>
                  </a:cubicBezTo>
                  <a:cubicBezTo>
                    <a:pt x="104117" y="4528"/>
                    <a:pt x="104117" y="3773"/>
                    <a:pt x="105000" y="3773"/>
                  </a:cubicBezTo>
                  <a:cubicBezTo>
                    <a:pt x="105000" y="3773"/>
                    <a:pt x="105000" y="3018"/>
                    <a:pt x="105882" y="3773"/>
                  </a:cubicBezTo>
                  <a:cubicBezTo>
                    <a:pt x="105882" y="3773"/>
                    <a:pt x="105882" y="5283"/>
                    <a:pt x="105882" y="5283"/>
                  </a:cubicBezTo>
                  <a:cubicBezTo>
                    <a:pt x="105000" y="5283"/>
                    <a:pt x="105000" y="5283"/>
                    <a:pt x="104117" y="5283"/>
                  </a:cubicBezTo>
                  <a:cubicBezTo>
                    <a:pt x="104117" y="5283"/>
                    <a:pt x="104117" y="4528"/>
                    <a:pt x="104117" y="4528"/>
                  </a:cubicBezTo>
                  <a:close/>
                  <a:moveTo>
                    <a:pt x="98823" y="6792"/>
                  </a:moveTo>
                  <a:cubicBezTo>
                    <a:pt x="98823" y="6792"/>
                    <a:pt x="98823" y="6792"/>
                    <a:pt x="98823" y="6792"/>
                  </a:cubicBezTo>
                  <a:cubicBezTo>
                    <a:pt x="98823" y="6792"/>
                    <a:pt x="97941" y="6037"/>
                    <a:pt x="97941" y="6037"/>
                  </a:cubicBezTo>
                  <a:cubicBezTo>
                    <a:pt x="97941" y="6037"/>
                    <a:pt x="97941" y="5283"/>
                    <a:pt x="98823" y="5283"/>
                  </a:cubicBezTo>
                  <a:cubicBezTo>
                    <a:pt x="98823" y="5283"/>
                    <a:pt x="99705" y="5283"/>
                    <a:pt x="99705" y="5283"/>
                  </a:cubicBezTo>
                  <a:cubicBezTo>
                    <a:pt x="100588" y="5283"/>
                    <a:pt x="100588" y="5283"/>
                    <a:pt x="100588" y="5283"/>
                  </a:cubicBezTo>
                  <a:cubicBezTo>
                    <a:pt x="100588" y="5283"/>
                    <a:pt x="101470" y="4528"/>
                    <a:pt x="101470" y="4528"/>
                  </a:cubicBezTo>
                  <a:cubicBezTo>
                    <a:pt x="101470" y="4528"/>
                    <a:pt x="102352" y="6037"/>
                    <a:pt x="102352" y="6037"/>
                  </a:cubicBezTo>
                  <a:cubicBezTo>
                    <a:pt x="102352" y="6037"/>
                    <a:pt x="102352" y="6037"/>
                    <a:pt x="101470" y="6037"/>
                  </a:cubicBezTo>
                  <a:cubicBezTo>
                    <a:pt x="101470" y="6037"/>
                    <a:pt x="100588" y="6792"/>
                    <a:pt x="100588" y="6792"/>
                  </a:cubicBezTo>
                  <a:cubicBezTo>
                    <a:pt x="99705" y="7547"/>
                    <a:pt x="99705" y="7547"/>
                    <a:pt x="99705" y="7547"/>
                  </a:cubicBezTo>
                  <a:cubicBezTo>
                    <a:pt x="98823" y="6792"/>
                    <a:pt x="98823" y="6792"/>
                    <a:pt x="98823" y="6792"/>
                  </a:cubicBezTo>
                  <a:close/>
                  <a:moveTo>
                    <a:pt x="95294" y="9056"/>
                  </a:moveTo>
                  <a:cubicBezTo>
                    <a:pt x="95294" y="9056"/>
                    <a:pt x="95294" y="9056"/>
                    <a:pt x="95294" y="9056"/>
                  </a:cubicBezTo>
                  <a:cubicBezTo>
                    <a:pt x="95294" y="8301"/>
                    <a:pt x="94411" y="8301"/>
                    <a:pt x="94411" y="8301"/>
                  </a:cubicBezTo>
                  <a:cubicBezTo>
                    <a:pt x="94411" y="8301"/>
                    <a:pt x="93529" y="7547"/>
                    <a:pt x="93529" y="7547"/>
                  </a:cubicBezTo>
                  <a:cubicBezTo>
                    <a:pt x="93529" y="7547"/>
                    <a:pt x="93529" y="6792"/>
                    <a:pt x="94411" y="6792"/>
                  </a:cubicBezTo>
                  <a:cubicBezTo>
                    <a:pt x="94411" y="6792"/>
                    <a:pt x="94411" y="6792"/>
                    <a:pt x="94411" y="7547"/>
                  </a:cubicBezTo>
                  <a:cubicBezTo>
                    <a:pt x="95294" y="7547"/>
                    <a:pt x="95294" y="8301"/>
                    <a:pt x="95294" y="8301"/>
                  </a:cubicBezTo>
                  <a:cubicBezTo>
                    <a:pt x="95294" y="9056"/>
                    <a:pt x="95294" y="9056"/>
                    <a:pt x="95294" y="9056"/>
                  </a:cubicBezTo>
                  <a:close/>
                  <a:moveTo>
                    <a:pt x="84705" y="9056"/>
                  </a:moveTo>
                  <a:cubicBezTo>
                    <a:pt x="84705" y="9056"/>
                    <a:pt x="84705" y="9056"/>
                    <a:pt x="84705" y="9056"/>
                  </a:cubicBezTo>
                  <a:cubicBezTo>
                    <a:pt x="84705" y="9056"/>
                    <a:pt x="84705" y="9056"/>
                    <a:pt x="85588" y="9056"/>
                  </a:cubicBezTo>
                  <a:cubicBezTo>
                    <a:pt x="86470" y="8301"/>
                    <a:pt x="86470" y="7547"/>
                    <a:pt x="87352" y="8301"/>
                  </a:cubicBezTo>
                  <a:cubicBezTo>
                    <a:pt x="88235" y="8301"/>
                    <a:pt x="90000" y="9056"/>
                    <a:pt x="90000" y="9056"/>
                  </a:cubicBezTo>
                  <a:cubicBezTo>
                    <a:pt x="90000" y="9056"/>
                    <a:pt x="90000" y="8301"/>
                    <a:pt x="90000" y="8301"/>
                  </a:cubicBezTo>
                  <a:cubicBezTo>
                    <a:pt x="90882" y="8301"/>
                    <a:pt x="90882" y="9056"/>
                    <a:pt x="90882" y="9056"/>
                  </a:cubicBezTo>
                  <a:cubicBezTo>
                    <a:pt x="90882" y="9056"/>
                    <a:pt x="90000" y="9056"/>
                    <a:pt x="90000" y="9056"/>
                  </a:cubicBezTo>
                  <a:cubicBezTo>
                    <a:pt x="89117" y="9811"/>
                    <a:pt x="89117" y="9811"/>
                    <a:pt x="88235" y="9811"/>
                  </a:cubicBezTo>
                  <a:cubicBezTo>
                    <a:pt x="87352" y="9811"/>
                    <a:pt x="87352" y="9056"/>
                    <a:pt x="86470" y="9811"/>
                  </a:cubicBezTo>
                  <a:cubicBezTo>
                    <a:pt x="86470" y="9811"/>
                    <a:pt x="86470" y="10566"/>
                    <a:pt x="85588" y="10566"/>
                  </a:cubicBezTo>
                  <a:cubicBezTo>
                    <a:pt x="85588" y="10566"/>
                    <a:pt x="84705" y="10566"/>
                    <a:pt x="84705" y="10566"/>
                  </a:cubicBezTo>
                  <a:cubicBezTo>
                    <a:pt x="84705" y="9811"/>
                    <a:pt x="84705" y="9056"/>
                    <a:pt x="84705" y="9056"/>
                  </a:cubicBezTo>
                  <a:close/>
                  <a:moveTo>
                    <a:pt x="82058" y="9811"/>
                  </a:moveTo>
                  <a:cubicBezTo>
                    <a:pt x="82058" y="9811"/>
                    <a:pt x="82058" y="9811"/>
                    <a:pt x="82058" y="9811"/>
                  </a:cubicBezTo>
                  <a:cubicBezTo>
                    <a:pt x="82058" y="9811"/>
                    <a:pt x="82058" y="9056"/>
                    <a:pt x="82941" y="9811"/>
                  </a:cubicBezTo>
                  <a:cubicBezTo>
                    <a:pt x="82941" y="9811"/>
                    <a:pt x="82941" y="9056"/>
                    <a:pt x="82941" y="9811"/>
                  </a:cubicBezTo>
                  <a:cubicBezTo>
                    <a:pt x="83823" y="10566"/>
                    <a:pt x="83823" y="11320"/>
                    <a:pt x="82941" y="11320"/>
                  </a:cubicBezTo>
                  <a:cubicBezTo>
                    <a:pt x="82058" y="10566"/>
                    <a:pt x="82058" y="9811"/>
                    <a:pt x="82058" y="9811"/>
                  </a:cubicBezTo>
                  <a:close/>
                  <a:moveTo>
                    <a:pt x="71470" y="9811"/>
                  </a:moveTo>
                  <a:cubicBezTo>
                    <a:pt x="71470" y="9811"/>
                    <a:pt x="71470" y="9811"/>
                    <a:pt x="71470" y="9811"/>
                  </a:cubicBezTo>
                  <a:cubicBezTo>
                    <a:pt x="71470" y="9811"/>
                    <a:pt x="71470" y="9056"/>
                    <a:pt x="72352" y="9056"/>
                  </a:cubicBezTo>
                  <a:cubicBezTo>
                    <a:pt x="72352" y="9056"/>
                    <a:pt x="72352" y="9056"/>
                    <a:pt x="73235" y="9056"/>
                  </a:cubicBezTo>
                  <a:cubicBezTo>
                    <a:pt x="73235" y="9811"/>
                    <a:pt x="74117" y="9811"/>
                    <a:pt x="74117" y="9811"/>
                  </a:cubicBezTo>
                  <a:cubicBezTo>
                    <a:pt x="75000" y="9811"/>
                    <a:pt x="75000" y="9811"/>
                    <a:pt x="75000" y="9811"/>
                  </a:cubicBezTo>
                  <a:cubicBezTo>
                    <a:pt x="75882" y="9811"/>
                    <a:pt x="75882" y="9056"/>
                    <a:pt x="76764" y="9811"/>
                  </a:cubicBezTo>
                  <a:cubicBezTo>
                    <a:pt x="77647" y="9811"/>
                    <a:pt x="77647" y="9811"/>
                    <a:pt x="78529" y="9811"/>
                  </a:cubicBezTo>
                  <a:cubicBezTo>
                    <a:pt x="78529" y="9811"/>
                    <a:pt x="80294" y="9811"/>
                    <a:pt x="80294" y="9811"/>
                  </a:cubicBezTo>
                  <a:cubicBezTo>
                    <a:pt x="80294" y="9811"/>
                    <a:pt x="80294" y="10566"/>
                    <a:pt x="80294" y="10566"/>
                  </a:cubicBezTo>
                  <a:cubicBezTo>
                    <a:pt x="79411" y="10566"/>
                    <a:pt x="79411" y="10566"/>
                    <a:pt x="78529" y="10566"/>
                  </a:cubicBezTo>
                  <a:cubicBezTo>
                    <a:pt x="78529" y="10566"/>
                    <a:pt x="79411" y="10566"/>
                    <a:pt x="77647" y="10566"/>
                  </a:cubicBezTo>
                  <a:cubicBezTo>
                    <a:pt x="76764" y="10566"/>
                    <a:pt x="76764" y="10566"/>
                    <a:pt x="75882" y="10566"/>
                  </a:cubicBezTo>
                  <a:cubicBezTo>
                    <a:pt x="75882" y="10566"/>
                    <a:pt x="75882" y="10566"/>
                    <a:pt x="75000" y="10566"/>
                  </a:cubicBezTo>
                  <a:cubicBezTo>
                    <a:pt x="75000" y="10566"/>
                    <a:pt x="75000" y="10566"/>
                    <a:pt x="75000" y="10566"/>
                  </a:cubicBezTo>
                  <a:cubicBezTo>
                    <a:pt x="74117" y="10566"/>
                    <a:pt x="76764" y="9811"/>
                    <a:pt x="74117" y="10566"/>
                  </a:cubicBezTo>
                  <a:cubicBezTo>
                    <a:pt x="71470" y="11320"/>
                    <a:pt x="71470" y="11320"/>
                    <a:pt x="71470" y="11320"/>
                  </a:cubicBezTo>
                  <a:cubicBezTo>
                    <a:pt x="71470" y="11320"/>
                    <a:pt x="71470" y="10566"/>
                    <a:pt x="71470" y="10566"/>
                  </a:cubicBezTo>
                  <a:cubicBezTo>
                    <a:pt x="71470" y="10566"/>
                    <a:pt x="71470" y="9811"/>
                    <a:pt x="71470" y="9811"/>
                  </a:cubicBezTo>
                  <a:close/>
                  <a:moveTo>
                    <a:pt x="60000" y="12075"/>
                  </a:moveTo>
                  <a:cubicBezTo>
                    <a:pt x="60000" y="12075"/>
                    <a:pt x="60000" y="12075"/>
                    <a:pt x="60000" y="12075"/>
                  </a:cubicBezTo>
                  <a:cubicBezTo>
                    <a:pt x="60882" y="12075"/>
                    <a:pt x="60882" y="12075"/>
                    <a:pt x="60882" y="12075"/>
                  </a:cubicBezTo>
                  <a:cubicBezTo>
                    <a:pt x="60882" y="12075"/>
                    <a:pt x="62647" y="12075"/>
                    <a:pt x="62647" y="11320"/>
                  </a:cubicBezTo>
                  <a:cubicBezTo>
                    <a:pt x="63529" y="11320"/>
                    <a:pt x="63529" y="11320"/>
                    <a:pt x="63529" y="11320"/>
                  </a:cubicBezTo>
                  <a:cubicBezTo>
                    <a:pt x="63529" y="11320"/>
                    <a:pt x="65294" y="10566"/>
                    <a:pt x="65294" y="10566"/>
                  </a:cubicBezTo>
                  <a:cubicBezTo>
                    <a:pt x="66176" y="10566"/>
                    <a:pt x="67058" y="9811"/>
                    <a:pt x="67058" y="9811"/>
                  </a:cubicBezTo>
                  <a:cubicBezTo>
                    <a:pt x="67058" y="9811"/>
                    <a:pt x="68823" y="10566"/>
                    <a:pt x="68823" y="10566"/>
                  </a:cubicBezTo>
                  <a:cubicBezTo>
                    <a:pt x="69705" y="10566"/>
                    <a:pt x="69705" y="9811"/>
                    <a:pt x="69705" y="9811"/>
                  </a:cubicBezTo>
                  <a:cubicBezTo>
                    <a:pt x="67941" y="9056"/>
                    <a:pt x="67941" y="9056"/>
                    <a:pt x="67941" y="9056"/>
                  </a:cubicBezTo>
                  <a:cubicBezTo>
                    <a:pt x="64411" y="9811"/>
                    <a:pt x="64411" y="9811"/>
                    <a:pt x="64411" y="9811"/>
                  </a:cubicBezTo>
                  <a:cubicBezTo>
                    <a:pt x="64411" y="9811"/>
                    <a:pt x="61764" y="10566"/>
                    <a:pt x="60882" y="10566"/>
                  </a:cubicBezTo>
                  <a:cubicBezTo>
                    <a:pt x="60000" y="9811"/>
                    <a:pt x="59117" y="10566"/>
                    <a:pt x="59117" y="10566"/>
                  </a:cubicBezTo>
                  <a:cubicBezTo>
                    <a:pt x="58235" y="11320"/>
                    <a:pt x="58235" y="11320"/>
                    <a:pt x="58235" y="11320"/>
                  </a:cubicBezTo>
                  <a:cubicBezTo>
                    <a:pt x="58235" y="11320"/>
                    <a:pt x="59117" y="12075"/>
                    <a:pt x="59117" y="12075"/>
                  </a:cubicBezTo>
                  <a:cubicBezTo>
                    <a:pt x="59117" y="12830"/>
                    <a:pt x="60000" y="12075"/>
                    <a:pt x="60000" y="12075"/>
                  </a:cubicBezTo>
                  <a:close/>
                  <a:moveTo>
                    <a:pt x="49411" y="16603"/>
                  </a:moveTo>
                  <a:cubicBezTo>
                    <a:pt x="49411" y="16603"/>
                    <a:pt x="49411" y="16603"/>
                    <a:pt x="49411" y="16603"/>
                  </a:cubicBezTo>
                  <a:cubicBezTo>
                    <a:pt x="49411" y="16603"/>
                    <a:pt x="49411" y="16603"/>
                    <a:pt x="49411" y="16603"/>
                  </a:cubicBezTo>
                  <a:cubicBezTo>
                    <a:pt x="50294" y="17358"/>
                    <a:pt x="50294" y="17358"/>
                    <a:pt x="50294" y="17358"/>
                  </a:cubicBezTo>
                  <a:cubicBezTo>
                    <a:pt x="50294" y="17358"/>
                    <a:pt x="51176" y="16603"/>
                    <a:pt x="51176" y="16603"/>
                  </a:cubicBezTo>
                  <a:cubicBezTo>
                    <a:pt x="51176" y="15849"/>
                    <a:pt x="52058" y="15849"/>
                    <a:pt x="52058" y="15849"/>
                  </a:cubicBezTo>
                  <a:cubicBezTo>
                    <a:pt x="52058" y="15849"/>
                    <a:pt x="52941" y="15094"/>
                    <a:pt x="53823" y="15094"/>
                  </a:cubicBezTo>
                  <a:cubicBezTo>
                    <a:pt x="53823" y="15094"/>
                    <a:pt x="55588" y="14339"/>
                    <a:pt x="55588" y="14339"/>
                  </a:cubicBezTo>
                  <a:cubicBezTo>
                    <a:pt x="55588" y="13584"/>
                    <a:pt x="55588" y="13584"/>
                    <a:pt x="55588" y="13584"/>
                  </a:cubicBezTo>
                  <a:cubicBezTo>
                    <a:pt x="55588" y="13584"/>
                    <a:pt x="52941" y="13584"/>
                    <a:pt x="52941" y="13584"/>
                  </a:cubicBezTo>
                  <a:cubicBezTo>
                    <a:pt x="52941" y="13584"/>
                    <a:pt x="51176" y="15094"/>
                    <a:pt x="51176" y="15094"/>
                  </a:cubicBezTo>
                  <a:cubicBezTo>
                    <a:pt x="51176" y="15094"/>
                    <a:pt x="49411" y="16603"/>
                    <a:pt x="49411" y="16603"/>
                  </a:cubicBezTo>
                  <a:close/>
                  <a:moveTo>
                    <a:pt x="48529" y="24150"/>
                  </a:moveTo>
                  <a:cubicBezTo>
                    <a:pt x="48529" y="24150"/>
                    <a:pt x="48529" y="24150"/>
                    <a:pt x="48529" y="24150"/>
                  </a:cubicBezTo>
                  <a:cubicBezTo>
                    <a:pt x="48529" y="24150"/>
                    <a:pt x="50294" y="22641"/>
                    <a:pt x="50294" y="21886"/>
                  </a:cubicBezTo>
                  <a:cubicBezTo>
                    <a:pt x="50294" y="21886"/>
                    <a:pt x="50294" y="20377"/>
                    <a:pt x="50294" y="20377"/>
                  </a:cubicBezTo>
                  <a:cubicBezTo>
                    <a:pt x="50294" y="18867"/>
                    <a:pt x="50294" y="18867"/>
                    <a:pt x="50294" y="18867"/>
                  </a:cubicBezTo>
                  <a:cubicBezTo>
                    <a:pt x="48529" y="17358"/>
                    <a:pt x="48529" y="17358"/>
                    <a:pt x="48529" y="17358"/>
                  </a:cubicBezTo>
                  <a:cubicBezTo>
                    <a:pt x="48529" y="17358"/>
                    <a:pt x="47647" y="18867"/>
                    <a:pt x="47647" y="18867"/>
                  </a:cubicBezTo>
                  <a:cubicBezTo>
                    <a:pt x="47647" y="19622"/>
                    <a:pt x="46764" y="19622"/>
                    <a:pt x="45882" y="20377"/>
                  </a:cubicBezTo>
                  <a:cubicBezTo>
                    <a:pt x="45000" y="21132"/>
                    <a:pt x="45000" y="21886"/>
                    <a:pt x="45000" y="22641"/>
                  </a:cubicBezTo>
                  <a:cubicBezTo>
                    <a:pt x="45000" y="22641"/>
                    <a:pt x="44117" y="23396"/>
                    <a:pt x="44117" y="24150"/>
                  </a:cubicBezTo>
                  <a:cubicBezTo>
                    <a:pt x="44117" y="24905"/>
                    <a:pt x="45000" y="24905"/>
                    <a:pt x="45882" y="24905"/>
                  </a:cubicBezTo>
                  <a:cubicBezTo>
                    <a:pt x="46764" y="24905"/>
                    <a:pt x="45882" y="24905"/>
                    <a:pt x="45882" y="24905"/>
                  </a:cubicBezTo>
                  <a:cubicBezTo>
                    <a:pt x="48529" y="24150"/>
                    <a:pt x="48529" y="24150"/>
                    <a:pt x="48529" y="24150"/>
                  </a:cubicBezTo>
                  <a:close/>
                  <a:moveTo>
                    <a:pt x="18529" y="70943"/>
                  </a:moveTo>
                  <a:cubicBezTo>
                    <a:pt x="18529" y="70943"/>
                    <a:pt x="18529" y="70943"/>
                    <a:pt x="18529" y="70943"/>
                  </a:cubicBezTo>
                  <a:cubicBezTo>
                    <a:pt x="18529" y="70943"/>
                    <a:pt x="18529" y="70943"/>
                    <a:pt x="19411" y="70943"/>
                  </a:cubicBezTo>
                  <a:cubicBezTo>
                    <a:pt x="19411" y="70943"/>
                    <a:pt x="19411" y="70188"/>
                    <a:pt x="19411" y="70188"/>
                  </a:cubicBezTo>
                  <a:cubicBezTo>
                    <a:pt x="20294" y="70188"/>
                    <a:pt x="20294" y="70943"/>
                    <a:pt x="20294" y="70943"/>
                  </a:cubicBezTo>
                  <a:cubicBezTo>
                    <a:pt x="21176" y="70943"/>
                    <a:pt x="21176" y="71698"/>
                    <a:pt x="21176" y="71698"/>
                  </a:cubicBezTo>
                  <a:cubicBezTo>
                    <a:pt x="22058" y="73207"/>
                    <a:pt x="22058" y="73207"/>
                    <a:pt x="22058" y="73207"/>
                  </a:cubicBezTo>
                  <a:cubicBezTo>
                    <a:pt x="22058" y="73207"/>
                    <a:pt x="22058" y="73962"/>
                    <a:pt x="22058" y="73962"/>
                  </a:cubicBezTo>
                  <a:cubicBezTo>
                    <a:pt x="22058" y="74716"/>
                    <a:pt x="22058" y="74716"/>
                    <a:pt x="22058" y="74716"/>
                  </a:cubicBezTo>
                  <a:cubicBezTo>
                    <a:pt x="22058" y="74716"/>
                    <a:pt x="22941" y="74716"/>
                    <a:pt x="23823" y="74716"/>
                  </a:cubicBezTo>
                  <a:cubicBezTo>
                    <a:pt x="23823" y="74716"/>
                    <a:pt x="23823" y="75471"/>
                    <a:pt x="24705" y="75471"/>
                  </a:cubicBezTo>
                  <a:cubicBezTo>
                    <a:pt x="25588" y="76226"/>
                    <a:pt x="25588" y="76226"/>
                    <a:pt x="25588" y="76226"/>
                  </a:cubicBezTo>
                  <a:cubicBezTo>
                    <a:pt x="26470" y="76981"/>
                    <a:pt x="26470" y="76981"/>
                    <a:pt x="27352" y="77735"/>
                  </a:cubicBezTo>
                  <a:cubicBezTo>
                    <a:pt x="28235" y="77735"/>
                    <a:pt x="28235" y="77735"/>
                    <a:pt x="29117" y="77735"/>
                  </a:cubicBezTo>
                  <a:cubicBezTo>
                    <a:pt x="29117" y="76981"/>
                    <a:pt x="29117" y="76981"/>
                    <a:pt x="30000" y="76981"/>
                  </a:cubicBezTo>
                  <a:cubicBezTo>
                    <a:pt x="30000" y="76981"/>
                    <a:pt x="30000" y="76981"/>
                    <a:pt x="30882" y="76981"/>
                  </a:cubicBezTo>
                  <a:cubicBezTo>
                    <a:pt x="30882" y="76226"/>
                    <a:pt x="30000" y="76226"/>
                    <a:pt x="30000" y="76226"/>
                  </a:cubicBezTo>
                  <a:cubicBezTo>
                    <a:pt x="30000" y="76226"/>
                    <a:pt x="29117" y="75471"/>
                    <a:pt x="28235" y="74716"/>
                  </a:cubicBezTo>
                  <a:cubicBezTo>
                    <a:pt x="28235" y="74716"/>
                    <a:pt x="28235" y="74716"/>
                    <a:pt x="28235" y="73962"/>
                  </a:cubicBezTo>
                  <a:cubicBezTo>
                    <a:pt x="28235" y="73962"/>
                    <a:pt x="28235" y="73962"/>
                    <a:pt x="27352" y="73207"/>
                  </a:cubicBezTo>
                  <a:cubicBezTo>
                    <a:pt x="26470" y="73207"/>
                    <a:pt x="26470" y="73207"/>
                    <a:pt x="26470" y="73207"/>
                  </a:cubicBezTo>
                  <a:cubicBezTo>
                    <a:pt x="25588" y="72452"/>
                    <a:pt x="25588" y="71698"/>
                    <a:pt x="25588" y="71698"/>
                  </a:cubicBezTo>
                  <a:cubicBezTo>
                    <a:pt x="25588" y="71698"/>
                    <a:pt x="23823" y="71698"/>
                    <a:pt x="23823" y="70943"/>
                  </a:cubicBezTo>
                  <a:cubicBezTo>
                    <a:pt x="23823" y="70943"/>
                    <a:pt x="22941" y="70943"/>
                    <a:pt x="22941" y="70943"/>
                  </a:cubicBezTo>
                  <a:cubicBezTo>
                    <a:pt x="22941" y="70943"/>
                    <a:pt x="21176" y="70188"/>
                    <a:pt x="21176" y="69433"/>
                  </a:cubicBezTo>
                  <a:cubicBezTo>
                    <a:pt x="21176" y="69433"/>
                    <a:pt x="21176" y="68679"/>
                    <a:pt x="21176" y="68679"/>
                  </a:cubicBezTo>
                  <a:cubicBezTo>
                    <a:pt x="21176" y="68679"/>
                    <a:pt x="20294" y="68679"/>
                    <a:pt x="19411" y="68679"/>
                  </a:cubicBezTo>
                  <a:cubicBezTo>
                    <a:pt x="18529" y="69433"/>
                    <a:pt x="17647" y="69433"/>
                    <a:pt x="17647" y="69433"/>
                  </a:cubicBezTo>
                  <a:cubicBezTo>
                    <a:pt x="16764" y="69433"/>
                    <a:pt x="16764" y="70188"/>
                    <a:pt x="16764" y="70188"/>
                  </a:cubicBezTo>
                  <a:cubicBezTo>
                    <a:pt x="16764" y="70188"/>
                    <a:pt x="16764" y="70943"/>
                    <a:pt x="17647" y="70943"/>
                  </a:cubicBezTo>
                  <a:cubicBezTo>
                    <a:pt x="17647" y="71698"/>
                    <a:pt x="18529" y="70943"/>
                    <a:pt x="18529" y="70943"/>
                  </a:cubicBezTo>
                  <a:close/>
                  <a:moveTo>
                    <a:pt x="62647" y="56603"/>
                  </a:moveTo>
                  <a:cubicBezTo>
                    <a:pt x="62647" y="56603"/>
                    <a:pt x="62647" y="56603"/>
                    <a:pt x="62647" y="56603"/>
                  </a:cubicBezTo>
                  <a:cubicBezTo>
                    <a:pt x="62647" y="57358"/>
                    <a:pt x="62647" y="57358"/>
                    <a:pt x="62647" y="57358"/>
                  </a:cubicBezTo>
                  <a:cubicBezTo>
                    <a:pt x="62647" y="57358"/>
                    <a:pt x="62647" y="57358"/>
                    <a:pt x="63529" y="57358"/>
                  </a:cubicBezTo>
                  <a:cubicBezTo>
                    <a:pt x="63529" y="56603"/>
                    <a:pt x="63529" y="57358"/>
                    <a:pt x="64411" y="57358"/>
                  </a:cubicBezTo>
                  <a:cubicBezTo>
                    <a:pt x="64411" y="57358"/>
                    <a:pt x="64411" y="57358"/>
                    <a:pt x="64411" y="57358"/>
                  </a:cubicBezTo>
                  <a:cubicBezTo>
                    <a:pt x="65294" y="57358"/>
                    <a:pt x="66176" y="55849"/>
                    <a:pt x="66176" y="55849"/>
                  </a:cubicBezTo>
                  <a:cubicBezTo>
                    <a:pt x="66176" y="55849"/>
                    <a:pt x="66176" y="55849"/>
                    <a:pt x="67058" y="55849"/>
                  </a:cubicBezTo>
                  <a:cubicBezTo>
                    <a:pt x="67058" y="55849"/>
                    <a:pt x="67941" y="55849"/>
                    <a:pt x="67941" y="55094"/>
                  </a:cubicBezTo>
                  <a:cubicBezTo>
                    <a:pt x="67941" y="55094"/>
                    <a:pt x="67941" y="55094"/>
                    <a:pt x="68823" y="55094"/>
                  </a:cubicBezTo>
                  <a:cubicBezTo>
                    <a:pt x="68823" y="54339"/>
                    <a:pt x="68823" y="54339"/>
                    <a:pt x="68823" y="54339"/>
                  </a:cubicBezTo>
                  <a:cubicBezTo>
                    <a:pt x="69705" y="53584"/>
                    <a:pt x="70588" y="53584"/>
                    <a:pt x="70588" y="53584"/>
                  </a:cubicBezTo>
                  <a:cubicBezTo>
                    <a:pt x="71470" y="52830"/>
                    <a:pt x="71470" y="52830"/>
                    <a:pt x="71470" y="52075"/>
                  </a:cubicBezTo>
                  <a:cubicBezTo>
                    <a:pt x="71470" y="52075"/>
                    <a:pt x="70588" y="52075"/>
                    <a:pt x="70588" y="52830"/>
                  </a:cubicBezTo>
                  <a:cubicBezTo>
                    <a:pt x="69705" y="52830"/>
                    <a:pt x="68823" y="52830"/>
                    <a:pt x="68823" y="52830"/>
                  </a:cubicBezTo>
                  <a:cubicBezTo>
                    <a:pt x="68823" y="53584"/>
                    <a:pt x="67941" y="53584"/>
                    <a:pt x="67941" y="53584"/>
                  </a:cubicBezTo>
                  <a:cubicBezTo>
                    <a:pt x="67058" y="53584"/>
                    <a:pt x="66176" y="54339"/>
                    <a:pt x="65294" y="54339"/>
                  </a:cubicBezTo>
                  <a:cubicBezTo>
                    <a:pt x="65294" y="54339"/>
                    <a:pt x="65294" y="55094"/>
                    <a:pt x="64411" y="55849"/>
                  </a:cubicBezTo>
                  <a:cubicBezTo>
                    <a:pt x="64411" y="55849"/>
                    <a:pt x="64411" y="55849"/>
                    <a:pt x="64411" y="56603"/>
                  </a:cubicBezTo>
                  <a:cubicBezTo>
                    <a:pt x="63529" y="56603"/>
                    <a:pt x="62647" y="56603"/>
                    <a:pt x="62647" y="56603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9" name="Shape 2030"/>
            <p:cNvSpPr/>
            <p:nvPr/>
          </p:nvSpPr>
          <p:spPr>
            <a:xfrm>
              <a:off x="5550394" y="2957025"/>
              <a:ext cx="547516" cy="3760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4000" y="43058"/>
                  </a:moveTo>
                  <a:cubicBezTo>
                    <a:pt x="14000" y="43058"/>
                    <a:pt x="14000" y="43058"/>
                    <a:pt x="14000" y="43058"/>
                  </a:cubicBezTo>
                  <a:cubicBezTo>
                    <a:pt x="14000" y="43058"/>
                    <a:pt x="14000" y="43058"/>
                    <a:pt x="14000" y="43058"/>
                  </a:cubicBezTo>
                  <a:cubicBezTo>
                    <a:pt x="14000" y="42352"/>
                    <a:pt x="14000" y="42352"/>
                    <a:pt x="14000" y="42352"/>
                  </a:cubicBezTo>
                  <a:cubicBezTo>
                    <a:pt x="14000" y="40941"/>
                    <a:pt x="14000" y="40941"/>
                    <a:pt x="14000" y="40941"/>
                  </a:cubicBezTo>
                  <a:cubicBezTo>
                    <a:pt x="15500" y="38117"/>
                    <a:pt x="15500" y="38117"/>
                    <a:pt x="15500" y="38117"/>
                  </a:cubicBezTo>
                  <a:cubicBezTo>
                    <a:pt x="15500" y="34588"/>
                    <a:pt x="15500" y="34588"/>
                    <a:pt x="15500" y="34588"/>
                  </a:cubicBezTo>
                  <a:cubicBezTo>
                    <a:pt x="19500" y="35294"/>
                    <a:pt x="19500" y="35294"/>
                    <a:pt x="19500" y="35294"/>
                  </a:cubicBezTo>
                  <a:cubicBezTo>
                    <a:pt x="22000" y="38823"/>
                    <a:pt x="22000" y="38823"/>
                    <a:pt x="22000" y="38823"/>
                  </a:cubicBezTo>
                  <a:cubicBezTo>
                    <a:pt x="25500" y="41647"/>
                    <a:pt x="25500" y="41647"/>
                    <a:pt x="25500" y="41647"/>
                  </a:cubicBezTo>
                  <a:cubicBezTo>
                    <a:pt x="27500" y="43058"/>
                    <a:pt x="27500" y="43058"/>
                    <a:pt x="27500" y="43058"/>
                  </a:cubicBezTo>
                  <a:cubicBezTo>
                    <a:pt x="32000" y="41647"/>
                    <a:pt x="32000" y="41647"/>
                    <a:pt x="32000" y="41647"/>
                  </a:cubicBezTo>
                  <a:cubicBezTo>
                    <a:pt x="40500" y="40941"/>
                    <a:pt x="40500" y="40941"/>
                    <a:pt x="40500" y="40941"/>
                  </a:cubicBezTo>
                  <a:cubicBezTo>
                    <a:pt x="40500" y="40941"/>
                    <a:pt x="45000" y="40235"/>
                    <a:pt x="45500" y="39529"/>
                  </a:cubicBezTo>
                  <a:cubicBezTo>
                    <a:pt x="46000" y="38823"/>
                    <a:pt x="49000" y="38117"/>
                    <a:pt x="48000" y="36705"/>
                  </a:cubicBezTo>
                  <a:cubicBezTo>
                    <a:pt x="47000" y="36000"/>
                    <a:pt x="45000" y="33882"/>
                    <a:pt x="45000" y="33882"/>
                  </a:cubicBezTo>
                  <a:cubicBezTo>
                    <a:pt x="45000" y="32470"/>
                    <a:pt x="45000" y="32470"/>
                    <a:pt x="45000" y="32470"/>
                  </a:cubicBezTo>
                  <a:cubicBezTo>
                    <a:pt x="47500" y="28941"/>
                    <a:pt x="47500" y="28941"/>
                    <a:pt x="47500" y="28941"/>
                  </a:cubicBezTo>
                  <a:cubicBezTo>
                    <a:pt x="52000" y="26823"/>
                    <a:pt x="52000" y="26823"/>
                    <a:pt x="52000" y="26823"/>
                  </a:cubicBezTo>
                  <a:cubicBezTo>
                    <a:pt x="55500" y="26117"/>
                    <a:pt x="55500" y="26117"/>
                    <a:pt x="55500" y="26117"/>
                  </a:cubicBezTo>
                  <a:cubicBezTo>
                    <a:pt x="57500" y="25411"/>
                    <a:pt x="57500" y="25411"/>
                    <a:pt x="57500" y="25411"/>
                  </a:cubicBezTo>
                  <a:cubicBezTo>
                    <a:pt x="58500" y="21176"/>
                    <a:pt x="58500" y="21176"/>
                    <a:pt x="58500" y="21176"/>
                  </a:cubicBezTo>
                  <a:cubicBezTo>
                    <a:pt x="61500" y="20470"/>
                    <a:pt x="61500" y="20470"/>
                    <a:pt x="61500" y="20470"/>
                  </a:cubicBezTo>
                  <a:cubicBezTo>
                    <a:pt x="63500" y="21176"/>
                    <a:pt x="63500" y="21176"/>
                    <a:pt x="63500" y="21176"/>
                  </a:cubicBezTo>
                  <a:cubicBezTo>
                    <a:pt x="66500" y="21176"/>
                    <a:pt x="66500" y="21176"/>
                    <a:pt x="66500" y="21176"/>
                  </a:cubicBezTo>
                  <a:cubicBezTo>
                    <a:pt x="68000" y="18352"/>
                    <a:pt x="68000" y="18352"/>
                    <a:pt x="68000" y="18352"/>
                  </a:cubicBezTo>
                  <a:cubicBezTo>
                    <a:pt x="69500" y="16941"/>
                    <a:pt x="69500" y="16941"/>
                    <a:pt x="69500" y="16941"/>
                  </a:cubicBezTo>
                  <a:cubicBezTo>
                    <a:pt x="71500" y="15529"/>
                    <a:pt x="71500" y="15529"/>
                    <a:pt x="71500" y="15529"/>
                  </a:cubicBezTo>
                  <a:cubicBezTo>
                    <a:pt x="73000" y="11294"/>
                    <a:pt x="73000" y="11294"/>
                    <a:pt x="73000" y="11294"/>
                  </a:cubicBezTo>
                  <a:cubicBezTo>
                    <a:pt x="74000" y="6352"/>
                    <a:pt x="74000" y="6352"/>
                    <a:pt x="74000" y="6352"/>
                  </a:cubicBezTo>
                  <a:cubicBezTo>
                    <a:pt x="74500" y="4235"/>
                    <a:pt x="74500" y="4235"/>
                    <a:pt x="74500" y="4235"/>
                  </a:cubicBezTo>
                  <a:cubicBezTo>
                    <a:pt x="81500" y="1411"/>
                    <a:pt x="81500" y="1411"/>
                    <a:pt x="81500" y="1411"/>
                  </a:cubicBezTo>
                  <a:cubicBezTo>
                    <a:pt x="84000" y="3529"/>
                    <a:pt x="84000" y="3529"/>
                    <a:pt x="84000" y="3529"/>
                  </a:cubicBezTo>
                  <a:cubicBezTo>
                    <a:pt x="87500" y="2823"/>
                    <a:pt x="87500" y="2823"/>
                    <a:pt x="87500" y="2823"/>
                  </a:cubicBezTo>
                  <a:cubicBezTo>
                    <a:pt x="90000" y="0"/>
                    <a:pt x="90000" y="0"/>
                    <a:pt x="90000" y="0"/>
                  </a:cubicBezTo>
                  <a:cubicBezTo>
                    <a:pt x="93000" y="705"/>
                    <a:pt x="93000" y="705"/>
                    <a:pt x="93000" y="705"/>
                  </a:cubicBezTo>
                  <a:cubicBezTo>
                    <a:pt x="97000" y="6352"/>
                    <a:pt x="97000" y="6352"/>
                    <a:pt x="97000" y="6352"/>
                  </a:cubicBezTo>
                  <a:cubicBezTo>
                    <a:pt x="101000" y="6352"/>
                    <a:pt x="101000" y="6352"/>
                    <a:pt x="101000" y="6352"/>
                  </a:cubicBezTo>
                  <a:cubicBezTo>
                    <a:pt x="103500" y="4235"/>
                    <a:pt x="103500" y="4235"/>
                    <a:pt x="103500" y="4235"/>
                  </a:cubicBezTo>
                  <a:cubicBezTo>
                    <a:pt x="106000" y="2823"/>
                    <a:pt x="106000" y="2823"/>
                    <a:pt x="106000" y="2823"/>
                  </a:cubicBezTo>
                  <a:cubicBezTo>
                    <a:pt x="107500" y="4941"/>
                    <a:pt x="107500" y="4941"/>
                    <a:pt x="107500" y="4941"/>
                  </a:cubicBezTo>
                  <a:cubicBezTo>
                    <a:pt x="109000" y="7764"/>
                    <a:pt x="109000" y="7764"/>
                    <a:pt x="109000" y="7764"/>
                  </a:cubicBezTo>
                  <a:cubicBezTo>
                    <a:pt x="111500" y="7058"/>
                    <a:pt x="111500" y="7058"/>
                    <a:pt x="111500" y="7058"/>
                  </a:cubicBezTo>
                  <a:cubicBezTo>
                    <a:pt x="113000" y="9882"/>
                    <a:pt x="113000" y="9882"/>
                    <a:pt x="113000" y="9882"/>
                  </a:cubicBezTo>
                  <a:cubicBezTo>
                    <a:pt x="114500" y="12000"/>
                    <a:pt x="114500" y="12000"/>
                    <a:pt x="114500" y="12000"/>
                  </a:cubicBezTo>
                  <a:cubicBezTo>
                    <a:pt x="117000" y="11294"/>
                    <a:pt x="117000" y="11294"/>
                    <a:pt x="117000" y="11294"/>
                  </a:cubicBezTo>
                  <a:cubicBezTo>
                    <a:pt x="119500" y="13411"/>
                    <a:pt x="119500" y="13411"/>
                    <a:pt x="119500" y="13411"/>
                  </a:cubicBezTo>
                  <a:cubicBezTo>
                    <a:pt x="119000" y="16235"/>
                    <a:pt x="119000" y="16235"/>
                    <a:pt x="119000" y="16235"/>
                  </a:cubicBezTo>
                  <a:cubicBezTo>
                    <a:pt x="120000" y="19764"/>
                    <a:pt x="120000" y="19764"/>
                    <a:pt x="120000" y="19764"/>
                  </a:cubicBezTo>
                  <a:cubicBezTo>
                    <a:pt x="118500" y="21882"/>
                    <a:pt x="118500" y="21882"/>
                    <a:pt x="118500" y="21882"/>
                  </a:cubicBezTo>
                  <a:cubicBezTo>
                    <a:pt x="118500" y="21882"/>
                    <a:pt x="118000" y="23294"/>
                    <a:pt x="117000" y="23294"/>
                  </a:cubicBezTo>
                  <a:cubicBezTo>
                    <a:pt x="116500" y="24000"/>
                    <a:pt x="115500" y="24705"/>
                    <a:pt x="115500" y="24705"/>
                  </a:cubicBezTo>
                  <a:cubicBezTo>
                    <a:pt x="114000" y="26823"/>
                    <a:pt x="114000" y="26823"/>
                    <a:pt x="114000" y="26823"/>
                  </a:cubicBezTo>
                  <a:cubicBezTo>
                    <a:pt x="112000" y="27529"/>
                    <a:pt x="112000" y="27529"/>
                    <a:pt x="112000" y="27529"/>
                  </a:cubicBezTo>
                  <a:cubicBezTo>
                    <a:pt x="110500" y="28235"/>
                    <a:pt x="110500" y="28235"/>
                    <a:pt x="110500" y="28235"/>
                  </a:cubicBezTo>
                  <a:cubicBezTo>
                    <a:pt x="109500" y="29647"/>
                    <a:pt x="109500" y="29647"/>
                    <a:pt x="109500" y="29647"/>
                  </a:cubicBezTo>
                  <a:cubicBezTo>
                    <a:pt x="108500" y="33882"/>
                    <a:pt x="108500" y="33882"/>
                    <a:pt x="108500" y="33882"/>
                  </a:cubicBezTo>
                  <a:cubicBezTo>
                    <a:pt x="107000" y="36000"/>
                    <a:pt x="107000" y="36000"/>
                    <a:pt x="107000" y="36000"/>
                  </a:cubicBezTo>
                  <a:cubicBezTo>
                    <a:pt x="106500" y="39529"/>
                    <a:pt x="106500" y="39529"/>
                    <a:pt x="106500" y="39529"/>
                  </a:cubicBezTo>
                  <a:cubicBezTo>
                    <a:pt x="106500" y="39529"/>
                    <a:pt x="107500" y="43058"/>
                    <a:pt x="106500" y="43764"/>
                  </a:cubicBezTo>
                  <a:cubicBezTo>
                    <a:pt x="106000" y="43764"/>
                    <a:pt x="105500" y="44470"/>
                    <a:pt x="105500" y="44470"/>
                  </a:cubicBezTo>
                  <a:cubicBezTo>
                    <a:pt x="105000" y="50117"/>
                    <a:pt x="105000" y="50117"/>
                    <a:pt x="105000" y="50117"/>
                  </a:cubicBezTo>
                  <a:cubicBezTo>
                    <a:pt x="103000" y="52941"/>
                    <a:pt x="103000" y="52941"/>
                    <a:pt x="103000" y="52941"/>
                  </a:cubicBezTo>
                  <a:cubicBezTo>
                    <a:pt x="102500" y="58588"/>
                    <a:pt x="102500" y="58588"/>
                    <a:pt x="102500" y="58588"/>
                  </a:cubicBezTo>
                  <a:cubicBezTo>
                    <a:pt x="102500" y="58588"/>
                    <a:pt x="103500" y="61411"/>
                    <a:pt x="102000" y="61411"/>
                  </a:cubicBezTo>
                  <a:cubicBezTo>
                    <a:pt x="101000" y="62117"/>
                    <a:pt x="100500" y="63529"/>
                    <a:pt x="100500" y="63529"/>
                  </a:cubicBezTo>
                  <a:cubicBezTo>
                    <a:pt x="100500" y="68470"/>
                    <a:pt x="100500" y="68470"/>
                    <a:pt x="100500" y="68470"/>
                  </a:cubicBezTo>
                  <a:cubicBezTo>
                    <a:pt x="99000" y="72000"/>
                    <a:pt x="99000" y="72000"/>
                    <a:pt x="99000" y="72000"/>
                  </a:cubicBezTo>
                  <a:cubicBezTo>
                    <a:pt x="99500" y="74823"/>
                    <a:pt x="99500" y="74823"/>
                    <a:pt x="99500" y="74823"/>
                  </a:cubicBezTo>
                  <a:cubicBezTo>
                    <a:pt x="98500" y="76941"/>
                    <a:pt x="98500" y="76941"/>
                    <a:pt x="98500" y="76941"/>
                  </a:cubicBezTo>
                  <a:cubicBezTo>
                    <a:pt x="99000" y="80470"/>
                    <a:pt x="99000" y="80470"/>
                    <a:pt x="99000" y="80470"/>
                  </a:cubicBezTo>
                  <a:cubicBezTo>
                    <a:pt x="98000" y="82588"/>
                    <a:pt x="98000" y="82588"/>
                    <a:pt x="98000" y="82588"/>
                  </a:cubicBezTo>
                  <a:cubicBezTo>
                    <a:pt x="97500" y="83294"/>
                    <a:pt x="97500" y="83294"/>
                    <a:pt x="97500" y="83294"/>
                  </a:cubicBezTo>
                  <a:cubicBezTo>
                    <a:pt x="97000" y="85411"/>
                    <a:pt x="97000" y="85411"/>
                    <a:pt x="97000" y="85411"/>
                  </a:cubicBezTo>
                  <a:cubicBezTo>
                    <a:pt x="96000" y="88941"/>
                    <a:pt x="96000" y="88941"/>
                    <a:pt x="96000" y="88941"/>
                  </a:cubicBezTo>
                  <a:cubicBezTo>
                    <a:pt x="92000" y="93882"/>
                    <a:pt x="92000" y="93882"/>
                    <a:pt x="92000" y="93882"/>
                  </a:cubicBezTo>
                  <a:cubicBezTo>
                    <a:pt x="90000" y="93176"/>
                    <a:pt x="90000" y="93176"/>
                    <a:pt x="90000" y="93176"/>
                  </a:cubicBezTo>
                  <a:cubicBezTo>
                    <a:pt x="88500" y="95294"/>
                    <a:pt x="88500" y="95294"/>
                    <a:pt x="88500" y="95294"/>
                  </a:cubicBezTo>
                  <a:cubicBezTo>
                    <a:pt x="88500" y="95294"/>
                    <a:pt x="89000" y="95294"/>
                    <a:pt x="88000" y="96705"/>
                  </a:cubicBezTo>
                  <a:cubicBezTo>
                    <a:pt x="87000" y="97411"/>
                    <a:pt x="85000" y="98117"/>
                    <a:pt x="85000" y="98117"/>
                  </a:cubicBezTo>
                  <a:cubicBezTo>
                    <a:pt x="84000" y="98117"/>
                    <a:pt x="84000" y="98117"/>
                    <a:pt x="84000" y="98117"/>
                  </a:cubicBezTo>
                  <a:cubicBezTo>
                    <a:pt x="80500" y="98117"/>
                    <a:pt x="80500" y="98117"/>
                    <a:pt x="80500" y="98117"/>
                  </a:cubicBezTo>
                  <a:cubicBezTo>
                    <a:pt x="80500" y="98117"/>
                    <a:pt x="80000" y="97411"/>
                    <a:pt x="79500" y="98117"/>
                  </a:cubicBezTo>
                  <a:cubicBezTo>
                    <a:pt x="79000" y="98117"/>
                    <a:pt x="76500" y="98117"/>
                    <a:pt x="76500" y="98117"/>
                  </a:cubicBezTo>
                  <a:cubicBezTo>
                    <a:pt x="76500" y="98117"/>
                    <a:pt x="75500" y="97411"/>
                    <a:pt x="75000" y="97411"/>
                  </a:cubicBezTo>
                  <a:cubicBezTo>
                    <a:pt x="74500" y="97411"/>
                    <a:pt x="71500" y="98117"/>
                    <a:pt x="71500" y="98117"/>
                  </a:cubicBezTo>
                  <a:cubicBezTo>
                    <a:pt x="69500" y="99529"/>
                    <a:pt x="69500" y="99529"/>
                    <a:pt x="69500" y="99529"/>
                  </a:cubicBezTo>
                  <a:cubicBezTo>
                    <a:pt x="69500" y="99529"/>
                    <a:pt x="69000" y="98117"/>
                    <a:pt x="68500" y="98823"/>
                  </a:cubicBezTo>
                  <a:cubicBezTo>
                    <a:pt x="67500" y="98823"/>
                    <a:pt x="65000" y="100235"/>
                    <a:pt x="65000" y="100235"/>
                  </a:cubicBezTo>
                  <a:cubicBezTo>
                    <a:pt x="65000" y="100235"/>
                    <a:pt x="66000" y="101647"/>
                    <a:pt x="65000" y="101647"/>
                  </a:cubicBezTo>
                  <a:cubicBezTo>
                    <a:pt x="64500" y="101647"/>
                    <a:pt x="63000" y="104470"/>
                    <a:pt x="63000" y="104470"/>
                  </a:cubicBezTo>
                  <a:cubicBezTo>
                    <a:pt x="62000" y="105176"/>
                    <a:pt x="62000" y="105176"/>
                    <a:pt x="62000" y="105176"/>
                  </a:cubicBezTo>
                  <a:cubicBezTo>
                    <a:pt x="61500" y="107294"/>
                    <a:pt x="61500" y="107294"/>
                    <a:pt x="61500" y="107294"/>
                  </a:cubicBezTo>
                  <a:cubicBezTo>
                    <a:pt x="61500" y="107294"/>
                    <a:pt x="61000" y="107294"/>
                    <a:pt x="60000" y="107294"/>
                  </a:cubicBezTo>
                  <a:cubicBezTo>
                    <a:pt x="59500" y="107294"/>
                    <a:pt x="58000" y="108000"/>
                    <a:pt x="58000" y="108000"/>
                  </a:cubicBezTo>
                  <a:cubicBezTo>
                    <a:pt x="57500" y="107294"/>
                    <a:pt x="57500" y="107294"/>
                    <a:pt x="57500" y="107294"/>
                  </a:cubicBezTo>
                  <a:cubicBezTo>
                    <a:pt x="55500" y="111529"/>
                    <a:pt x="55500" y="111529"/>
                    <a:pt x="55500" y="111529"/>
                  </a:cubicBezTo>
                  <a:cubicBezTo>
                    <a:pt x="53500" y="112941"/>
                    <a:pt x="53500" y="112941"/>
                    <a:pt x="53500" y="112941"/>
                  </a:cubicBezTo>
                  <a:cubicBezTo>
                    <a:pt x="52500" y="112235"/>
                    <a:pt x="52500" y="112235"/>
                    <a:pt x="52500" y="112235"/>
                  </a:cubicBezTo>
                  <a:cubicBezTo>
                    <a:pt x="51500" y="115764"/>
                    <a:pt x="51500" y="115764"/>
                    <a:pt x="51500" y="115764"/>
                  </a:cubicBezTo>
                  <a:cubicBezTo>
                    <a:pt x="51500" y="115764"/>
                    <a:pt x="50000" y="116470"/>
                    <a:pt x="50000" y="117176"/>
                  </a:cubicBezTo>
                  <a:cubicBezTo>
                    <a:pt x="49500" y="117882"/>
                    <a:pt x="47000" y="117882"/>
                    <a:pt x="47000" y="117882"/>
                  </a:cubicBezTo>
                  <a:cubicBezTo>
                    <a:pt x="45000" y="117882"/>
                    <a:pt x="45000" y="117882"/>
                    <a:pt x="45000" y="117882"/>
                  </a:cubicBezTo>
                  <a:cubicBezTo>
                    <a:pt x="41500" y="119294"/>
                    <a:pt x="41500" y="119294"/>
                    <a:pt x="41500" y="119294"/>
                  </a:cubicBezTo>
                  <a:cubicBezTo>
                    <a:pt x="41500" y="119294"/>
                    <a:pt x="40500" y="120000"/>
                    <a:pt x="40000" y="120000"/>
                  </a:cubicBezTo>
                  <a:cubicBezTo>
                    <a:pt x="39500" y="120000"/>
                    <a:pt x="37000" y="119294"/>
                    <a:pt x="37000" y="119294"/>
                  </a:cubicBezTo>
                  <a:cubicBezTo>
                    <a:pt x="35500" y="120000"/>
                    <a:pt x="35500" y="120000"/>
                    <a:pt x="35500" y="120000"/>
                  </a:cubicBezTo>
                  <a:cubicBezTo>
                    <a:pt x="32000" y="118588"/>
                    <a:pt x="32000" y="118588"/>
                    <a:pt x="32000" y="118588"/>
                  </a:cubicBezTo>
                  <a:cubicBezTo>
                    <a:pt x="31000" y="116470"/>
                    <a:pt x="31000" y="116470"/>
                    <a:pt x="31000" y="116470"/>
                  </a:cubicBezTo>
                  <a:cubicBezTo>
                    <a:pt x="28000" y="115764"/>
                    <a:pt x="28000" y="115764"/>
                    <a:pt x="28000" y="115764"/>
                  </a:cubicBezTo>
                  <a:cubicBezTo>
                    <a:pt x="27500" y="114352"/>
                    <a:pt x="27500" y="114352"/>
                    <a:pt x="27500" y="114352"/>
                  </a:cubicBezTo>
                  <a:cubicBezTo>
                    <a:pt x="25500" y="114352"/>
                    <a:pt x="25500" y="114352"/>
                    <a:pt x="25500" y="114352"/>
                  </a:cubicBezTo>
                  <a:cubicBezTo>
                    <a:pt x="23500" y="111529"/>
                    <a:pt x="23500" y="111529"/>
                    <a:pt x="23500" y="111529"/>
                  </a:cubicBezTo>
                  <a:cubicBezTo>
                    <a:pt x="21000" y="107294"/>
                    <a:pt x="21000" y="107294"/>
                    <a:pt x="21000" y="107294"/>
                  </a:cubicBezTo>
                  <a:cubicBezTo>
                    <a:pt x="16000" y="105176"/>
                    <a:pt x="16000" y="105176"/>
                    <a:pt x="16000" y="105176"/>
                  </a:cubicBezTo>
                  <a:cubicBezTo>
                    <a:pt x="14500" y="102352"/>
                    <a:pt x="14500" y="102352"/>
                    <a:pt x="14500" y="102352"/>
                  </a:cubicBezTo>
                  <a:cubicBezTo>
                    <a:pt x="13000" y="100941"/>
                    <a:pt x="13000" y="100941"/>
                    <a:pt x="13000" y="100941"/>
                  </a:cubicBezTo>
                  <a:cubicBezTo>
                    <a:pt x="11000" y="98823"/>
                    <a:pt x="11000" y="98823"/>
                    <a:pt x="11000" y="98823"/>
                  </a:cubicBezTo>
                  <a:cubicBezTo>
                    <a:pt x="9000" y="96705"/>
                    <a:pt x="9000" y="96705"/>
                    <a:pt x="9000" y="96705"/>
                  </a:cubicBezTo>
                  <a:cubicBezTo>
                    <a:pt x="8000" y="95294"/>
                    <a:pt x="8000" y="95294"/>
                    <a:pt x="8000" y="95294"/>
                  </a:cubicBezTo>
                  <a:cubicBezTo>
                    <a:pt x="5000" y="89647"/>
                    <a:pt x="5000" y="89647"/>
                    <a:pt x="5000" y="89647"/>
                  </a:cubicBezTo>
                  <a:cubicBezTo>
                    <a:pt x="5000" y="88235"/>
                    <a:pt x="5000" y="88235"/>
                    <a:pt x="5000" y="88235"/>
                  </a:cubicBezTo>
                  <a:cubicBezTo>
                    <a:pt x="3500" y="85411"/>
                    <a:pt x="3500" y="85411"/>
                    <a:pt x="3500" y="85411"/>
                  </a:cubicBezTo>
                  <a:cubicBezTo>
                    <a:pt x="3000" y="82588"/>
                    <a:pt x="3000" y="82588"/>
                    <a:pt x="3000" y="82588"/>
                  </a:cubicBezTo>
                  <a:cubicBezTo>
                    <a:pt x="2000" y="81176"/>
                    <a:pt x="2000" y="81176"/>
                    <a:pt x="2000" y="81176"/>
                  </a:cubicBezTo>
                  <a:cubicBezTo>
                    <a:pt x="0" y="82588"/>
                    <a:pt x="0" y="82588"/>
                    <a:pt x="0" y="82588"/>
                  </a:cubicBezTo>
                  <a:cubicBezTo>
                    <a:pt x="0" y="82588"/>
                    <a:pt x="0" y="82588"/>
                    <a:pt x="0" y="82588"/>
                  </a:cubicBezTo>
                  <a:cubicBezTo>
                    <a:pt x="0" y="81882"/>
                    <a:pt x="0" y="81882"/>
                    <a:pt x="0" y="81882"/>
                  </a:cubicBezTo>
                  <a:cubicBezTo>
                    <a:pt x="1500" y="76941"/>
                    <a:pt x="1500" y="76941"/>
                    <a:pt x="1500" y="76941"/>
                  </a:cubicBezTo>
                  <a:cubicBezTo>
                    <a:pt x="3000" y="76235"/>
                    <a:pt x="3000" y="76235"/>
                    <a:pt x="3000" y="76235"/>
                  </a:cubicBezTo>
                  <a:cubicBezTo>
                    <a:pt x="4500" y="72705"/>
                    <a:pt x="4500" y="72705"/>
                    <a:pt x="4500" y="72705"/>
                  </a:cubicBezTo>
                  <a:cubicBezTo>
                    <a:pt x="4000" y="68470"/>
                    <a:pt x="4000" y="68470"/>
                    <a:pt x="4000" y="68470"/>
                  </a:cubicBezTo>
                  <a:cubicBezTo>
                    <a:pt x="4000" y="67058"/>
                    <a:pt x="4000" y="67058"/>
                    <a:pt x="4000" y="67058"/>
                  </a:cubicBezTo>
                  <a:cubicBezTo>
                    <a:pt x="2500" y="62823"/>
                    <a:pt x="2500" y="62823"/>
                    <a:pt x="2500" y="62823"/>
                  </a:cubicBezTo>
                  <a:cubicBezTo>
                    <a:pt x="2500" y="62823"/>
                    <a:pt x="3000" y="62117"/>
                    <a:pt x="3500" y="62117"/>
                  </a:cubicBezTo>
                  <a:cubicBezTo>
                    <a:pt x="4000" y="62117"/>
                    <a:pt x="5500" y="60705"/>
                    <a:pt x="5500" y="60705"/>
                  </a:cubicBezTo>
                  <a:cubicBezTo>
                    <a:pt x="8500" y="57882"/>
                    <a:pt x="8500" y="57882"/>
                    <a:pt x="8500" y="57882"/>
                  </a:cubicBezTo>
                  <a:cubicBezTo>
                    <a:pt x="6000" y="52235"/>
                    <a:pt x="6000" y="52235"/>
                    <a:pt x="6000" y="52235"/>
                  </a:cubicBezTo>
                  <a:cubicBezTo>
                    <a:pt x="5000" y="52235"/>
                    <a:pt x="5000" y="52235"/>
                    <a:pt x="5000" y="52235"/>
                  </a:cubicBezTo>
                  <a:cubicBezTo>
                    <a:pt x="2000" y="50823"/>
                    <a:pt x="2000" y="50823"/>
                    <a:pt x="2000" y="50823"/>
                  </a:cubicBezTo>
                  <a:cubicBezTo>
                    <a:pt x="4000" y="48705"/>
                    <a:pt x="4000" y="48705"/>
                    <a:pt x="4000" y="48705"/>
                  </a:cubicBezTo>
                  <a:cubicBezTo>
                    <a:pt x="5000" y="47294"/>
                    <a:pt x="5000" y="47294"/>
                    <a:pt x="5000" y="47294"/>
                  </a:cubicBezTo>
                  <a:cubicBezTo>
                    <a:pt x="9000" y="49411"/>
                    <a:pt x="9000" y="49411"/>
                    <a:pt x="9000" y="49411"/>
                  </a:cubicBezTo>
                  <a:cubicBezTo>
                    <a:pt x="9000" y="49411"/>
                    <a:pt x="10500" y="50117"/>
                    <a:pt x="10000" y="49411"/>
                  </a:cubicBezTo>
                  <a:cubicBezTo>
                    <a:pt x="10000" y="47294"/>
                    <a:pt x="10500" y="48705"/>
                    <a:pt x="10500" y="48705"/>
                  </a:cubicBezTo>
                  <a:cubicBezTo>
                    <a:pt x="11000" y="50117"/>
                    <a:pt x="12500" y="48705"/>
                    <a:pt x="13500" y="48705"/>
                  </a:cubicBezTo>
                  <a:cubicBezTo>
                    <a:pt x="15000" y="48000"/>
                    <a:pt x="14000" y="46588"/>
                    <a:pt x="13500" y="45176"/>
                  </a:cubicBezTo>
                  <a:cubicBezTo>
                    <a:pt x="13500" y="44470"/>
                    <a:pt x="13500" y="43764"/>
                    <a:pt x="14000" y="43058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0" name="Shape 2031"/>
            <p:cNvSpPr/>
            <p:nvPr/>
          </p:nvSpPr>
          <p:spPr>
            <a:xfrm>
              <a:off x="5991266" y="1973644"/>
              <a:ext cx="656360" cy="59663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3750" y="29333"/>
                  </a:moveTo>
                  <a:cubicBezTo>
                    <a:pt x="33333" y="27111"/>
                    <a:pt x="33333" y="27111"/>
                    <a:pt x="33333" y="27111"/>
                  </a:cubicBezTo>
                  <a:cubicBezTo>
                    <a:pt x="35000" y="26222"/>
                    <a:pt x="35000" y="26222"/>
                    <a:pt x="35000" y="26222"/>
                  </a:cubicBezTo>
                  <a:cubicBezTo>
                    <a:pt x="34583" y="24444"/>
                    <a:pt x="34583" y="24444"/>
                    <a:pt x="34583" y="24444"/>
                  </a:cubicBezTo>
                  <a:cubicBezTo>
                    <a:pt x="31666" y="24888"/>
                    <a:pt x="31666" y="24888"/>
                    <a:pt x="31666" y="24888"/>
                  </a:cubicBezTo>
                  <a:cubicBezTo>
                    <a:pt x="30416" y="24444"/>
                    <a:pt x="30416" y="24444"/>
                    <a:pt x="30416" y="24444"/>
                  </a:cubicBezTo>
                  <a:cubicBezTo>
                    <a:pt x="30416" y="22222"/>
                    <a:pt x="30416" y="22222"/>
                    <a:pt x="30416" y="22222"/>
                  </a:cubicBezTo>
                  <a:cubicBezTo>
                    <a:pt x="31250" y="20000"/>
                    <a:pt x="31250" y="20000"/>
                    <a:pt x="31250" y="20000"/>
                  </a:cubicBezTo>
                  <a:cubicBezTo>
                    <a:pt x="30833" y="16000"/>
                    <a:pt x="30833" y="16000"/>
                    <a:pt x="30833" y="16000"/>
                  </a:cubicBezTo>
                  <a:cubicBezTo>
                    <a:pt x="30833" y="16000"/>
                    <a:pt x="30000" y="16000"/>
                    <a:pt x="31250" y="15111"/>
                  </a:cubicBezTo>
                  <a:cubicBezTo>
                    <a:pt x="32916" y="14666"/>
                    <a:pt x="33750" y="14666"/>
                    <a:pt x="33750" y="14666"/>
                  </a:cubicBezTo>
                  <a:cubicBezTo>
                    <a:pt x="34166" y="12000"/>
                    <a:pt x="34166" y="12000"/>
                    <a:pt x="34166" y="12000"/>
                  </a:cubicBezTo>
                  <a:cubicBezTo>
                    <a:pt x="35416" y="10666"/>
                    <a:pt x="35416" y="10666"/>
                    <a:pt x="35416" y="10666"/>
                  </a:cubicBezTo>
                  <a:cubicBezTo>
                    <a:pt x="35416" y="10666"/>
                    <a:pt x="35000" y="10666"/>
                    <a:pt x="36666" y="10666"/>
                  </a:cubicBezTo>
                  <a:cubicBezTo>
                    <a:pt x="38333" y="10666"/>
                    <a:pt x="38750" y="10666"/>
                    <a:pt x="38750" y="10666"/>
                  </a:cubicBezTo>
                  <a:cubicBezTo>
                    <a:pt x="42083" y="10666"/>
                    <a:pt x="42083" y="10666"/>
                    <a:pt x="42083" y="10666"/>
                  </a:cubicBezTo>
                  <a:cubicBezTo>
                    <a:pt x="42916" y="9333"/>
                    <a:pt x="42916" y="9333"/>
                    <a:pt x="42916" y="9333"/>
                  </a:cubicBezTo>
                  <a:cubicBezTo>
                    <a:pt x="42083" y="7111"/>
                    <a:pt x="42083" y="7111"/>
                    <a:pt x="42083" y="7111"/>
                  </a:cubicBezTo>
                  <a:cubicBezTo>
                    <a:pt x="44166" y="4888"/>
                    <a:pt x="44166" y="4888"/>
                    <a:pt x="44166" y="4888"/>
                  </a:cubicBezTo>
                  <a:cubicBezTo>
                    <a:pt x="44583" y="1777"/>
                    <a:pt x="44583" y="1777"/>
                    <a:pt x="44583" y="1777"/>
                  </a:cubicBezTo>
                  <a:cubicBezTo>
                    <a:pt x="46666" y="444"/>
                    <a:pt x="46666" y="444"/>
                    <a:pt x="46666" y="444"/>
                  </a:cubicBezTo>
                  <a:cubicBezTo>
                    <a:pt x="46666" y="444"/>
                    <a:pt x="47916" y="1777"/>
                    <a:pt x="48333" y="1777"/>
                  </a:cubicBezTo>
                  <a:cubicBezTo>
                    <a:pt x="48750" y="1777"/>
                    <a:pt x="49166" y="2222"/>
                    <a:pt x="49583" y="1777"/>
                  </a:cubicBezTo>
                  <a:cubicBezTo>
                    <a:pt x="50000" y="1777"/>
                    <a:pt x="50416" y="888"/>
                    <a:pt x="50416" y="888"/>
                  </a:cubicBezTo>
                  <a:cubicBezTo>
                    <a:pt x="52500" y="0"/>
                    <a:pt x="52500" y="0"/>
                    <a:pt x="52500" y="0"/>
                  </a:cubicBezTo>
                  <a:cubicBezTo>
                    <a:pt x="53750" y="444"/>
                    <a:pt x="53750" y="444"/>
                    <a:pt x="53750" y="444"/>
                  </a:cubicBezTo>
                  <a:cubicBezTo>
                    <a:pt x="54583" y="2222"/>
                    <a:pt x="54583" y="2222"/>
                    <a:pt x="54583" y="2222"/>
                  </a:cubicBezTo>
                  <a:cubicBezTo>
                    <a:pt x="56666" y="2222"/>
                    <a:pt x="56666" y="2222"/>
                    <a:pt x="56666" y="2222"/>
                  </a:cubicBezTo>
                  <a:cubicBezTo>
                    <a:pt x="57083" y="1333"/>
                    <a:pt x="57083" y="1333"/>
                    <a:pt x="57083" y="1333"/>
                  </a:cubicBezTo>
                  <a:cubicBezTo>
                    <a:pt x="60000" y="444"/>
                    <a:pt x="60000" y="444"/>
                    <a:pt x="60000" y="444"/>
                  </a:cubicBezTo>
                  <a:cubicBezTo>
                    <a:pt x="63333" y="444"/>
                    <a:pt x="63333" y="444"/>
                    <a:pt x="63333" y="444"/>
                  </a:cubicBezTo>
                  <a:cubicBezTo>
                    <a:pt x="63750" y="3111"/>
                    <a:pt x="63750" y="3111"/>
                    <a:pt x="63750" y="3111"/>
                  </a:cubicBezTo>
                  <a:cubicBezTo>
                    <a:pt x="63750" y="4444"/>
                    <a:pt x="63750" y="4444"/>
                    <a:pt x="63750" y="4444"/>
                  </a:cubicBezTo>
                  <a:cubicBezTo>
                    <a:pt x="63750" y="4444"/>
                    <a:pt x="64583" y="5777"/>
                    <a:pt x="65416" y="5333"/>
                  </a:cubicBezTo>
                  <a:cubicBezTo>
                    <a:pt x="65833" y="5333"/>
                    <a:pt x="67500" y="4888"/>
                    <a:pt x="67916" y="4000"/>
                  </a:cubicBezTo>
                  <a:cubicBezTo>
                    <a:pt x="67916" y="3111"/>
                    <a:pt x="68333" y="2222"/>
                    <a:pt x="69166" y="1777"/>
                  </a:cubicBezTo>
                  <a:cubicBezTo>
                    <a:pt x="70000" y="1777"/>
                    <a:pt x="69583" y="1333"/>
                    <a:pt x="70833" y="888"/>
                  </a:cubicBezTo>
                  <a:cubicBezTo>
                    <a:pt x="72500" y="444"/>
                    <a:pt x="73750" y="0"/>
                    <a:pt x="73750" y="0"/>
                  </a:cubicBezTo>
                  <a:cubicBezTo>
                    <a:pt x="77500" y="888"/>
                    <a:pt x="77500" y="888"/>
                    <a:pt x="77500" y="888"/>
                  </a:cubicBezTo>
                  <a:cubicBezTo>
                    <a:pt x="78750" y="2222"/>
                    <a:pt x="78750" y="2222"/>
                    <a:pt x="78750" y="2222"/>
                  </a:cubicBezTo>
                  <a:cubicBezTo>
                    <a:pt x="80000" y="3111"/>
                    <a:pt x="80000" y="3111"/>
                    <a:pt x="80000" y="3111"/>
                  </a:cubicBezTo>
                  <a:cubicBezTo>
                    <a:pt x="81250" y="2666"/>
                    <a:pt x="81250" y="2666"/>
                    <a:pt x="81250" y="2666"/>
                  </a:cubicBezTo>
                  <a:cubicBezTo>
                    <a:pt x="81666" y="3555"/>
                    <a:pt x="81666" y="3555"/>
                    <a:pt x="81666" y="3555"/>
                  </a:cubicBezTo>
                  <a:cubicBezTo>
                    <a:pt x="83333" y="2666"/>
                    <a:pt x="83333" y="2666"/>
                    <a:pt x="83333" y="2666"/>
                  </a:cubicBezTo>
                  <a:cubicBezTo>
                    <a:pt x="84166" y="4444"/>
                    <a:pt x="84166" y="4444"/>
                    <a:pt x="84166" y="4444"/>
                  </a:cubicBezTo>
                  <a:cubicBezTo>
                    <a:pt x="84166" y="8000"/>
                    <a:pt x="84166" y="8000"/>
                    <a:pt x="84166" y="8000"/>
                  </a:cubicBezTo>
                  <a:cubicBezTo>
                    <a:pt x="84166" y="9333"/>
                    <a:pt x="84166" y="9333"/>
                    <a:pt x="84166" y="9333"/>
                  </a:cubicBezTo>
                  <a:cubicBezTo>
                    <a:pt x="84166" y="10666"/>
                    <a:pt x="84166" y="10666"/>
                    <a:pt x="84166" y="10666"/>
                  </a:cubicBezTo>
                  <a:cubicBezTo>
                    <a:pt x="86666" y="12444"/>
                    <a:pt x="86666" y="12444"/>
                    <a:pt x="86666" y="12444"/>
                  </a:cubicBezTo>
                  <a:cubicBezTo>
                    <a:pt x="87916" y="13777"/>
                    <a:pt x="87916" y="13777"/>
                    <a:pt x="87916" y="13777"/>
                  </a:cubicBezTo>
                  <a:cubicBezTo>
                    <a:pt x="87500" y="16000"/>
                    <a:pt x="87500" y="16000"/>
                    <a:pt x="87500" y="16000"/>
                  </a:cubicBezTo>
                  <a:cubicBezTo>
                    <a:pt x="87500" y="17333"/>
                    <a:pt x="87500" y="17333"/>
                    <a:pt x="87500" y="17333"/>
                  </a:cubicBezTo>
                  <a:cubicBezTo>
                    <a:pt x="86250" y="20888"/>
                    <a:pt x="86250" y="20888"/>
                    <a:pt x="86250" y="20888"/>
                  </a:cubicBezTo>
                  <a:cubicBezTo>
                    <a:pt x="89166" y="21777"/>
                    <a:pt x="89166" y="21777"/>
                    <a:pt x="89166" y="21777"/>
                  </a:cubicBezTo>
                  <a:cubicBezTo>
                    <a:pt x="90833" y="23555"/>
                    <a:pt x="90833" y="23555"/>
                    <a:pt x="90833" y="23555"/>
                  </a:cubicBezTo>
                  <a:cubicBezTo>
                    <a:pt x="92500" y="23555"/>
                    <a:pt x="92500" y="23555"/>
                    <a:pt x="92500" y="23555"/>
                  </a:cubicBezTo>
                  <a:cubicBezTo>
                    <a:pt x="92500" y="25777"/>
                    <a:pt x="92500" y="25777"/>
                    <a:pt x="92500" y="25777"/>
                  </a:cubicBezTo>
                  <a:cubicBezTo>
                    <a:pt x="92500" y="25777"/>
                    <a:pt x="91666" y="27111"/>
                    <a:pt x="92916" y="27111"/>
                  </a:cubicBezTo>
                  <a:cubicBezTo>
                    <a:pt x="94166" y="27555"/>
                    <a:pt x="94583" y="27555"/>
                    <a:pt x="94583" y="27555"/>
                  </a:cubicBezTo>
                  <a:cubicBezTo>
                    <a:pt x="95000" y="28888"/>
                    <a:pt x="95000" y="28888"/>
                    <a:pt x="95000" y="28888"/>
                  </a:cubicBezTo>
                  <a:cubicBezTo>
                    <a:pt x="97083" y="32000"/>
                    <a:pt x="97083" y="32000"/>
                    <a:pt x="97083" y="32000"/>
                  </a:cubicBezTo>
                  <a:cubicBezTo>
                    <a:pt x="101666" y="32888"/>
                    <a:pt x="101666" y="32888"/>
                    <a:pt x="101666" y="32888"/>
                  </a:cubicBezTo>
                  <a:cubicBezTo>
                    <a:pt x="103750" y="33777"/>
                    <a:pt x="103750" y="33777"/>
                    <a:pt x="103750" y="33777"/>
                  </a:cubicBezTo>
                  <a:cubicBezTo>
                    <a:pt x="104583" y="35555"/>
                    <a:pt x="104583" y="35555"/>
                    <a:pt x="104583" y="35555"/>
                  </a:cubicBezTo>
                  <a:cubicBezTo>
                    <a:pt x="105000" y="39555"/>
                    <a:pt x="105000" y="39555"/>
                    <a:pt x="105000" y="39555"/>
                  </a:cubicBezTo>
                  <a:cubicBezTo>
                    <a:pt x="107083" y="39555"/>
                    <a:pt x="107083" y="39555"/>
                    <a:pt x="107083" y="39555"/>
                  </a:cubicBezTo>
                  <a:cubicBezTo>
                    <a:pt x="108333" y="38222"/>
                    <a:pt x="108333" y="38222"/>
                    <a:pt x="108333" y="38222"/>
                  </a:cubicBezTo>
                  <a:cubicBezTo>
                    <a:pt x="109583" y="37777"/>
                    <a:pt x="109583" y="37777"/>
                    <a:pt x="109583" y="37777"/>
                  </a:cubicBezTo>
                  <a:cubicBezTo>
                    <a:pt x="111250" y="38222"/>
                    <a:pt x="111250" y="38222"/>
                    <a:pt x="111250" y="38222"/>
                  </a:cubicBezTo>
                  <a:cubicBezTo>
                    <a:pt x="113333" y="38666"/>
                    <a:pt x="113333" y="38666"/>
                    <a:pt x="113333" y="38666"/>
                  </a:cubicBezTo>
                  <a:cubicBezTo>
                    <a:pt x="115416" y="38666"/>
                    <a:pt x="115416" y="38666"/>
                    <a:pt x="115416" y="38666"/>
                  </a:cubicBezTo>
                  <a:cubicBezTo>
                    <a:pt x="114583" y="40888"/>
                    <a:pt x="114583" y="40888"/>
                    <a:pt x="114583" y="40888"/>
                  </a:cubicBezTo>
                  <a:cubicBezTo>
                    <a:pt x="116250" y="42222"/>
                    <a:pt x="116250" y="42222"/>
                    <a:pt x="116250" y="42222"/>
                  </a:cubicBezTo>
                  <a:cubicBezTo>
                    <a:pt x="117916" y="42666"/>
                    <a:pt x="117916" y="42666"/>
                    <a:pt x="117916" y="42666"/>
                  </a:cubicBezTo>
                  <a:cubicBezTo>
                    <a:pt x="120000" y="43555"/>
                    <a:pt x="120000" y="43555"/>
                    <a:pt x="120000" y="43555"/>
                  </a:cubicBezTo>
                  <a:cubicBezTo>
                    <a:pt x="120000" y="46222"/>
                    <a:pt x="120000" y="46222"/>
                    <a:pt x="120000" y="46222"/>
                  </a:cubicBezTo>
                  <a:cubicBezTo>
                    <a:pt x="119166" y="47555"/>
                    <a:pt x="119166" y="47555"/>
                    <a:pt x="119166" y="47555"/>
                  </a:cubicBezTo>
                  <a:cubicBezTo>
                    <a:pt x="117500" y="48000"/>
                    <a:pt x="117500" y="48000"/>
                    <a:pt x="117500" y="48000"/>
                  </a:cubicBezTo>
                  <a:cubicBezTo>
                    <a:pt x="117500" y="48000"/>
                    <a:pt x="118333" y="50222"/>
                    <a:pt x="117500" y="50666"/>
                  </a:cubicBezTo>
                  <a:cubicBezTo>
                    <a:pt x="117083" y="51111"/>
                    <a:pt x="114166" y="53777"/>
                    <a:pt x="114166" y="53777"/>
                  </a:cubicBezTo>
                  <a:cubicBezTo>
                    <a:pt x="111250" y="54666"/>
                    <a:pt x="111250" y="54666"/>
                    <a:pt x="111250" y="54666"/>
                  </a:cubicBezTo>
                  <a:cubicBezTo>
                    <a:pt x="108750" y="53777"/>
                    <a:pt x="108750" y="53777"/>
                    <a:pt x="108750" y="53777"/>
                  </a:cubicBezTo>
                  <a:cubicBezTo>
                    <a:pt x="108750" y="53777"/>
                    <a:pt x="108333" y="53333"/>
                    <a:pt x="106666" y="53777"/>
                  </a:cubicBezTo>
                  <a:cubicBezTo>
                    <a:pt x="105000" y="54666"/>
                    <a:pt x="105000" y="55111"/>
                    <a:pt x="105000" y="55111"/>
                  </a:cubicBezTo>
                  <a:cubicBezTo>
                    <a:pt x="104166" y="58222"/>
                    <a:pt x="104166" y="58222"/>
                    <a:pt x="104166" y="58222"/>
                  </a:cubicBezTo>
                  <a:cubicBezTo>
                    <a:pt x="104166" y="59555"/>
                    <a:pt x="104166" y="59555"/>
                    <a:pt x="104166" y="59555"/>
                  </a:cubicBezTo>
                  <a:cubicBezTo>
                    <a:pt x="105833" y="60888"/>
                    <a:pt x="105833" y="60888"/>
                    <a:pt x="105833" y="60888"/>
                  </a:cubicBezTo>
                  <a:cubicBezTo>
                    <a:pt x="107916" y="61333"/>
                    <a:pt x="107916" y="61333"/>
                    <a:pt x="107916" y="61333"/>
                  </a:cubicBezTo>
                  <a:cubicBezTo>
                    <a:pt x="109166" y="63111"/>
                    <a:pt x="109166" y="63111"/>
                    <a:pt x="109166" y="63111"/>
                  </a:cubicBezTo>
                  <a:cubicBezTo>
                    <a:pt x="110000" y="64444"/>
                    <a:pt x="110000" y="64444"/>
                    <a:pt x="110000" y="64444"/>
                  </a:cubicBezTo>
                  <a:cubicBezTo>
                    <a:pt x="109166" y="66222"/>
                    <a:pt x="109166" y="66222"/>
                    <a:pt x="109166" y="66222"/>
                  </a:cubicBezTo>
                  <a:cubicBezTo>
                    <a:pt x="110000" y="67111"/>
                    <a:pt x="110000" y="67111"/>
                    <a:pt x="110000" y="67111"/>
                  </a:cubicBezTo>
                  <a:cubicBezTo>
                    <a:pt x="111666" y="68000"/>
                    <a:pt x="111666" y="68000"/>
                    <a:pt x="111666" y="68000"/>
                  </a:cubicBezTo>
                  <a:cubicBezTo>
                    <a:pt x="110833" y="68888"/>
                    <a:pt x="110833" y="68888"/>
                    <a:pt x="110833" y="68888"/>
                  </a:cubicBezTo>
                  <a:cubicBezTo>
                    <a:pt x="112083" y="71555"/>
                    <a:pt x="112083" y="71555"/>
                    <a:pt x="112083" y="71555"/>
                  </a:cubicBezTo>
                  <a:cubicBezTo>
                    <a:pt x="112916" y="72888"/>
                    <a:pt x="112916" y="72888"/>
                    <a:pt x="112916" y="72888"/>
                  </a:cubicBezTo>
                  <a:cubicBezTo>
                    <a:pt x="112083" y="73777"/>
                    <a:pt x="112083" y="73777"/>
                    <a:pt x="112083" y="73777"/>
                  </a:cubicBezTo>
                  <a:cubicBezTo>
                    <a:pt x="113333" y="74222"/>
                    <a:pt x="113333" y="74222"/>
                    <a:pt x="113333" y="74222"/>
                  </a:cubicBezTo>
                  <a:cubicBezTo>
                    <a:pt x="115000" y="74222"/>
                    <a:pt x="115000" y="74222"/>
                    <a:pt x="115000" y="74222"/>
                  </a:cubicBezTo>
                  <a:cubicBezTo>
                    <a:pt x="115000" y="75555"/>
                    <a:pt x="115000" y="75555"/>
                    <a:pt x="115000" y="75555"/>
                  </a:cubicBezTo>
                  <a:cubicBezTo>
                    <a:pt x="117916" y="77333"/>
                    <a:pt x="117916" y="77333"/>
                    <a:pt x="117916" y="77333"/>
                  </a:cubicBezTo>
                  <a:cubicBezTo>
                    <a:pt x="117083" y="77333"/>
                    <a:pt x="117083" y="77333"/>
                    <a:pt x="117083" y="77333"/>
                  </a:cubicBezTo>
                  <a:cubicBezTo>
                    <a:pt x="113750" y="78222"/>
                    <a:pt x="113750" y="78222"/>
                    <a:pt x="113750" y="78222"/>
                  </a:cubicBezTo>
                  <a:cubicBezTo>
                    <a:pt x="112083" y="80888"/>
                    <a:pt x="112083" y="80888"/>
                    <a:pt x="112083" y="80888"/>
                  </a:cubicBezTo>
                  <a:cubicBezTo>
                    <a:pt x="107083" y="80888"/>
                    <a:pt x="107083" y="80888"/>
                    <a:pt x="107083" y="80888"/>
                  </a:cubicBezTo>
                  <a:cubicBezTo>
                    <a:pt x="106250" y="86222"/>
                    <a:pt x="106250" y="86222"/>
                    <a:pt x="106250" y="86222"/>
                  </a:cubicBezTo>
                  <a:cubicBezTo>
                    <a:pt x="105000" y="89777"/>
                    <a:pt x="105000" y="89777"/>
                    <a:pt x="105000" y="89777"/>
                  </a:cubicBezTo>
                  <a:cubicBezTo>
                    <a:pt x="103750" y="93777"/>
                    <a:pt x="103750" y="93777"/>
                    <a:pt x="103750" y="93777"/>
                  </a:cubicBezTo>
                  <a:cubicBezTo>
                    <a:pt x="104583" y="96000"/>
                    <a:pt x="104583" y="96000"/>
                    <a:pt x="104583" y="96000"/>
                  </a:cubicBezTo>
                  <a:cubicBezTo>
                    <a:pt x="105833" y="99111"/>
                    <a:pt x="105833" y="99111"/>
                    <a:pt x="105833" y="99111"/>
                  </a:cubicBezTo>
                  <a:cubicBezTo>
                    <a:pt x="108333" y="102222"/>
                    <a:pt x="108333" y="102222"/>
                    <a:pt x="108333" y="102222"/>
                  </a:cubicBezTo>
                  <a:cubicBezTo>
                    <a:pt x="108333" y="102222"/>
                    <a:pt x="108333" y="102222"/>
                    <a:pt x="108333" y="102222"/>
                  </a:cubicBezTo>
                  <a:cubicBezTo>
                    <a:pt x="105833" y="103111"/>
                    <a:pt x="105833" y="103111"/>
                    <a:pt x="105833" y="103111"/>
                  </a:cubicBezTo>
                  <a:cubicBezTo>
                    <a:pt x="104166" y="103555"/>
                    <a:pt x="104166" y="103555"/>
                    <a:pt x="104166" y="103555"/>
                  </a:cubicBezTo>
                  <a:cubicBezTo>
                    <a:pt x="102500" y="100888"/>
                    <a:pt x="102500" y="100888"/>
                    <a:pt x="102500" y="100888"/>
                  </a:cubicBezTo>
                  <a:cubicBezTo>
                    <a:pt x="100000" y="100000"/>
                    <a:pt x="100000" y="100000"/>
                    <a:pt x="100000" y="100000"/>
                  </a:cubicBezTo>
                  <a:cubicBezTo>
                    <a:pt x="97083" y="101333"/>
                    <a:pt x="97083" y="101333"/>
                    <a:pt x="97083" y="101333"/>
                  </a:cubicBezTo>
                  <a:cubicBezTo>
                    <a:pt x="94166" y="102222"/>
                    <a:pt x="94166" y="102222"/>
                    <a:pt x="94166" y="102222"/>
                  </a:cubicBezTo>
                  <a:cubicBezTo>
                    <a:pt x="93333" y="102222"/>
                    <a:pt x="93333" y="102222"/>
                    <a:pt x="93333" y="102222"/>
                  </a:cubicBezTo>
                  <a:cubicBezTo>
                    <a:pt x="92500" y="104000"/>
                    <a:pt x="92500" y="104000"/>
                    <a:pt x="92500" y="104000"/>
                  </a:cubicBezTo>
                  <a:cubicBezTo>
                    <a:pt x="90000" y="105333"/>
                    <a:pt x="90000" y="105333"/>
                    <a:pt x="90000" y="105333"/>
                  </a:cubicBezTo>
                  <a:cubicBezTo>
                    <a:pt x="90000" y="105333"/>
                    <a:pt x="89166" y="104444"/>
                    <a:pt x="88750" y="104000"/>
                  </a:cubicBezTo>
                  <a:cubicBezTo>
                    <a:pt x="88333" y="103555"/>
                    <a:pt x="87083" y="102666"/>
                    <a:pt x="87083" y="102666"/>
                  </a:cubicBezTo>
                  <a:cubicBezTo>
                    <a:pt x="87083" y="102666"/>
                    <a:pt x="86666" y="101777"/>
                    <a:pt x="86250" y="101333"/>
                  </a:cubicBezTo>
                  <a:cubicBezTo>
                    <a:pt x="85833" y="101333"/>
                    <a:pt x="83333" y="103111"/>
                    <a:pt x="83333" y="103111"/>
                  </a:cubicBezTo>
                  <a:cubicBezTo>
                    <a:pt x="83333" y="103111"/>
                    <a:pt x="81250" y="104444"/>
                    <a:pt x="81250" y="104888"/>
                  </a:cubicBezTo>
                  <a:cubicBezTo>
                    <a:pt x="81666" y="104888"/>
                    <a:pt x="81250" y="107111"/>
                    <a:pt x="81250" y="107111"/>
                  </a:cubicBezTo>
                  <a:cubicBezTo>
                    <a:pt x="78333" y="104444"/>
                    <a:pt x="78333" y="104444"/>
                    <a:pt x="78333" y="104444"/>
                  </a:cubicBezTo>
                  <a:cubicBezTo>
                    <a:pt x="76250" y="106222"/>
                    <a:pt x="76250" y="106222"/>
                    <a:pt x="76250" y="106222"/>
                  </a:cubicBezTo>
                  <a:cubicBezTo>
                    <a:pt x="74583" y="104888"/>
                    <a:pt x="74583" y="104888"/>
                    <a:pt x="74583" y="104888"/>
                  </a:cubicBezTo>
                  <a:cubicBezTo>
                    <a:pt x="73750" y="104444"/>
                    <a:pt x="73750" y="104444"/>
                    <a:pt x="73750" y="104444"/>
                  </a:cubicBezTo>
                  <a:cubicBezTo>
                    <a:pt x="71250" y="107555"/>
                    <a:pt x="71250" y="107555"/>
                    <a:pt x="71250" y="107555"/>
                  </a:cubicBezTo>
                  <a:cubicBezTo>
                    <a:pt x="69583" y="106666"/>
                    <a:pt x="69583" y="106666"/>
                    <a:pt x="69583" y="106666"/>
                  </a:cubicBezTo>
                  <a:cubicBezTo>
                    <a:pt x="68750" y="109777"/>
                    <a:pt x="68750" y="109777"/>
                    <a:pt x="68750" y="109777"/>
                  </a:cubicBezTo>
                  <a:cubicBezTo>
                    <a:pt x="66666" y="108000"/>
                    <a:pt x="66666" y="108000"/>
                    <a:pt x="66666" y="108000"/>
                  </a:cubicBezTo>
                  <a:cubicBezTo>
                    <a:pt x="66666" y="108000"/>
                    <a:pt x="64583" y="107555"/>
                    <a:pt x="64166" y="107555"/>
                  </a:cubicBezTo>
                  <a:cubicBezTo>
                    <a:pt x="63750" y="107555"/>
                    <a:pt x="62500" y="109333"/>
                    <a:pt x="62500" y="109333"/>
                  </a:cubicBezTo>
                  <a:cubicBezTo>
                    <a:pt x="60416" y="107555"/>
                    <a:pt x="60416" y="107555"/>
                    <a:pt x="60416" y="107555"/>
                  </a:cubicBezTo>
                  <a:cubicBezTo>
                    <a:pt x="58750" y="106222"/>
                    <a:pt x="58750" y="106222"/>
                    <a:pt x="58750" y="106222"/>
                  </a:cubicBezTo>
                  <a:cubicBezTo>
                    <a:pt x="58750" y="106222"/>
                    <a:pt x="54166" y="106666"/>
                    <a:pt x="53750" y="106666"/>
                  </a:cubicBezTo>
                  <a:cubicBezTo>
                    <a:pt x="53333" y="106666"/>
                    <a:pt x="50416" y="106222"/>
                    <a:pt x="50416" y="106222"/>
                  </a:cubicBezTo>
                  <a:cubicBezTo>
                    <a:pt x="46666" y="107111"/>
                    <a:pt x="46666" y="107111"/>
                    <a:pt x="46666" y="107111"/>
                  </a:cubicBezTo>
                  <a:cubicBezTo>
                    <a:pt x="41250" y="107111"/>
                    <a:pt x="41250" y="107111"/>
                    <a:pt x="41250" y="107111"/>
                  </a:cubicBezTo>
                  <a:cubicBezTo>
                    <a:pt x="36250" y="107555"/>
                    <a:pt x="36250" y="107555"/>
                    <a:pt x="36250" y="107555"/>
                  </a:cubicBezTo>
                  <a:cubicBezTo>
                    <a:pt x="32500" y="107555"/>
                    <a:pt x="32500" y="107555"/>
                    <a:pt x="32500" y="107555"/>
                  </a:cubicBezTo>
                  <a:cubicBezTo>
                    <a:pt x="29583" y="109777"/>
                    <a:pt x="29583" y="109777"/>
                    <a:pt x="29583" y="109777"/>
                  </a:cubicBezTo>
                  <a:cubicBezTo>
                    <a:pt x="26666" y="110222"/>
                    <a:pt x="26666" y="110222"/>
                    <a:pt x="26666" y="110222"/>
                  </a:cubicBezTo>
                  <a:cubicBezTo>
                    <a:pt x="23333" y="110666"/>
                    <a:pt x="23333" y="110666"/>
                    <a:pt x="23333" y="110666"/>
                  </a:cubicBezTo>
                  <a:cubicBezTo>
                    <a:pt x="22916" y="110666"/>
                    <a:pt x="22916" y="110666"/>
                    <a:pt x="22916" y="110666"/>
                  </a:cubicBezTo>
                  <a:cubicBezTo>
                    <a:pt x="22500" y="111111"/>
                    <a:pt x="22500" y="111111"/>
                    <a:pt x="22500" y="111111"/>
                  </a:cubicBezTo>
                  <a:cubicBezTo>
                    <a:pt x="21250" y="112000"/>
                    <a:pt x="21250" y="112000"/>
                    <a:pt x="21250" y="112000"/>
                  </a:cubicBezTo>
                  <a:cubicBezTo>
                    <a:pt x="21250" y="112444"/>
                    <a:pt x="21250" y="112444"/>
                    <a:pt x="21250" y="112444"/>
                  </a:cubicBezTo>
                  <a:cubicBezTo>
                    <a:pt x="20416" y="113333"/>
                    <a:pt x="20416" y="113333"/>
                    <a:pt x="20416" y="113333"/>
                  </a:cubicBezTo>
                  <a:cubicBezTo>
                    <a:pt x="20000" y="115555"/>
                    <a:pt x="20000" y="115555"/>
                    <a:pt x="20000" y="115555"/>
                  </a:cubicBezTo>
                  <a:cubicBezTo>
                    <a:pt x="19583" y="116444"/>
                    <a:pt x="18750" y="117333"/>
                    <a:pt x="18333" y="118222"/>
                  </a:cubicBezTo>
                  <a:cubicBezTo>
                    <a:pt x="18333" y="118222"/>
                    <a:pt x="18333" y="118222"/>
                    <a:pt x="18333" y="118222"/>
                  </a:cubicBezTo>
                  <a:cubicBezTo>
                    <a:pt x="18333" y="118222"/>
                    <a:pt x="17083" y="117777"/>
                    <a:pt x="17083" y="118666"/>
                  </a:cubicBezTo>
                  <a:cubicBezTo>
                    <a:pt x="17083" y="119111"/>
                    <a:pt x="17083" y="119111"/>
                    <a:pt x="17083" y="119111"/>
                  </a:cubicBezTo>
                  <a:cubicBezTo>
                    <a:pt x="15833" y="119555"/>
                    <a:pt x="13750" y="118666"/>
                    <a:pt x="13750" y="118666"/>
                  </a:cubicBezTo>
                  <a:cubicBezTo>
                    <a:pt x="11250" y="120000"/>
                    <a:pt x="11250" y="120000"/>
                    <a:pt x="11250" y="120000"/>
                  </a:cubicBezTo>
                  <a:cubicBezTo>
                    <a:pt x="11250" y="120000"/>
                    <a:pt x="11250" y="120000"/>
                    <a:pt x="11250" y="120000"/>
                  </a:cubicBezTo>
                  <a:cubicBezTo>
                    <a:pt x="11250" y="119555"/>
                    <a:pt x="10416" y="117777"/>
                    <a:pt x="10416" y="117777"/>
                  </a:cubicBezTo>
                  <a:cubicBezTo>
                    <a:pt x="10416" y="117777"/>
                    <a:pt x="10833" y="114666"/>
                    <a:pt x="10833" y="114666"/>
                  </a:cubicBezTo>
                  <a:cubicBezTo>
                    <a:pt x="10833" y="114222"/>
                    <a:pt x="10416" y="110666"/>
                    <a:pt x="10416" y="110666"/>
                  </a:cubicBezTo>
                  <a:cubicBezTo>
                    <a:pt x="10416" y="108888"/>
                    <a:pt x="10416" y="108888"/>
                    <a:pt x="10416" y="108888"/>
                  </a:cubicBezTo>
                  <a:cubicBezTo>
                    <a:pt x="7916" y="107111"/>
                    <a:pt x="7916" y="107111"/>
                    <a:pt x="7916" y="107111"/>
                  </a:cubicBezTo>
                  <a:cubicBezTo>
                    <a:pt x="7916" y="107111"/>
                    <a:pt x="5000" y="106666"/>
                    <a:pt x="4166" y="106666"/>
                  </a:cubicBezTo>
                  <a:cubicBezTo>
                    <a:pt x="3750" y="106666"/>
                    <a:pt x="3333" y="105333"/>
                    <a:pt x="3333" y="105333"/>
                  </a:cubicBezTo>
                  <a:cubicBezTo>
                    <a:pt x="3750" y="104000"/>
                    <a:pt x="3750" y="104000"/>
                    <a:pt x="3750" y="104000"/>
                  </a:cubicBezTo>
                  <a:cubicBezTo>
                    <a:pt x="5000" y="100000"/>
                    <a:pt x="5000" y="100000"/>
                    <a:pt x="5000" y="100000"/>
                  </a:cubicBezTo>
                  <a:cubicBezTo>
                    <a:pt x="7083" y="96888"/>
                    <a:pt x="7083" y="96888"/>
                    <a:pt x="7083" y="96888"/>
                  </a:cubicBezTo>
                  <a:cubicBezTo>
                    <a:pt x="8750" y="96000"/>
                    <a:pt x="8750" y="96000"/>
                    <a:pt x="8750" y="96000"/>
                  </a:cubicBezTo>
                  <a:cubicBezTo>
                    <a:pt x="8750" y="96000"/>
                    <a:pt x="10416" y="93333"/>
                    <a:pt x="10833" y="92888"/>
                  </a:cubicBezTo>
                  <a:cubicBezTo>
                    <a:pt x="11250" y="92888"/>
                    <a:pt x="10833" y="90666"/>
                    <a:pt x="10416" y="90666"/>
                  </a:cubicBezTo>
                  <a:cubicBezTo>
                    <a:pt x="10416" y="90222"/>
                    <a:pt x="10416" y="88888"/>
                    <a:pt x="10416" y="88444"/>
                  </a:cubicBezTo>
                  <a:cubicBezTo>
                    <a:pt x="10416" y="87555"/>
                    <a:pt x="9166" y="86222"/>
                    <a:pt x="9166" y="86222"/>
                  </a:cubicBezTo>
                  <a:cubicBezTo>
                    <a:pt x="8750" y="82666"/>
                    <a:pt x="8750" y="82666"/>
                    <a:pt x="8750" y="82666"/>
                  </a:cubicBezTo>
                  <a:cubicBezTo>
                    <a:pt x="7916" y="81777"/>
                    <a:pt x="7916" y="81777"/>
                    <a:pt x="7916" y="81777"/>
                  </a:cubicBezTo>
                  <a:cubicBezTo>
                    <a:pt x="7916" y="81333"/>
                    <a:pt x="7916" y="81333"/>
                    <a:pt x="7916" y="81333"/>
                  </a:cubicBezTo>
                  <a:cubicBezTo>
                    <a:pt x="5416" y="77777"/>
                    <a:pt x="5416" y="77777"/>
                    <a:pt x="5416" y="77777"/>
                  </a:cubicBezTo>
                  <a:cubicBezTo>
                    <a:pt x="3333" y="72888"/>
                    <a:pt x="3333" y="72888"/>
                    <a:pt x="3333" y="72888"/>
                  </a:cubicBezTo>
                  <a:cubicBezTo>
                    <a:pt x="3333" y="72888"/>
                    <a:pt x="833" y="68444"/>
                    <a:pt x="416" y="66666"/>
                  </a:cubicBezTo>
                  <a:cubicBezTo>
                    <a:pt x="0" y="65333"/>
                    <a:pt x="0" y="65333"/>
                    <a:pt x="0" y="65333"/>
                  </a:cubicBezTo>
                  <a:cubicBezTo>
                    <a:pt x="3750" y="64444"/>
                    <a:pt x="3750" y="64444"/>
                    <a:pt x="3750" y="64444"/>
                  </a:cubicBezTo>
                  <a:cubicBezTo>
                    <a:pt x="7916" y="62666"/>
                    <a:pt x="7916" y="62666"/>
                    <a:pt x="7916" y="62666"/>
                  </a:cubicBezTo>
                  <a:cubicBezTo>
                    <a:pt x="10416" y="63111"/>
                    <a:pt x="10416" y="63111"/>
                    <a:pt x="10416" y="63111"/>
                  </a:cubicBezTo>
                  <a:cubicBezTo>
                    <a:pt x="13333" y="62666"/>
                    <a:pt x="13333" y="62666"/>
                    <a:pt x="13333" y="62666"/>
                  </a:cubicBezTo>
                  <a:cubicBezTo>
                    <a:pt x="15000" y="60444"/>
                    <a:pt x="15000" y="60444"/>
                    <a:pt x="15000" y="60444"/>
                  </a:cubicBezTo>
                  <a:cubicBezTo>
                    <a:pt x="17083" y="60444"/>
                    <a:pt x="17083" y="60444"/>
                    <a:pt x="17083" y="60444"/>
                  </a:cubicBezTo>
                  <a:cubicBezTo>
                    <a:pt x="16250" y="57333"/>
                    <a:pt x="16250" y="57333"/>
                    <a:pt x="16250" y="57333"/>
                  </a:cubicBezTo>
                  <a:cubicBezTo>
                    <a:pt x="16250" y="57333"/>
                    <a:pt x="16666" y="56000"/>
                    <a:pt x="17083" y="56444"/>
                  </a:cubicBezTo>
                  <a:cubicBezTo>
                    <a:pt x="17916" y="56444"/>
                    <a:pt x="19583" y="56444"/>
                    <a:pt x="19583" y="56444"/>
                  </a:cubicBezTo>
                  <a:cubicBezTo>
                    <a:pt x="20416" y="54666"/>
                    <a:pt x="20416" y="54666"/>
                    <a:pt x="20416" y="54666"/>
                  </a:cubicBezTo>
                  <a:cubicBezTo>
                    <a:pt x="20416" y="53777"/>
                    <a:pt x="20416" y="53777"/>
                    <a:pt x="20416" y="53777"/>
                  </a:cubicBezTo>
                  <a:cubicBezTo>
                    <a:pt x="23333" y="52888"/>
                    <a:pt x="23333" y="52888"/>
                    <a:pt x="23333" y="52888"/>
                  </a:cubicBezTo>
                  <a:cubicBezTo>
                    <a:pt x="24583" y="51555"/>
                    <a:pt x="24583" y="51555"/>
                    <a:pt x="24583" y="51555"/>
                  </a:cubicBezTo>
                  <a:cubicBezTo>
                    <a:pt x="25416" y="52444"/>
                    <a:pt x="25416" y="52444"/>
                    <a:pt x="25416" y="52444"/>
                  </a:cubicBezTo>
                  <a:cubicBezTo>
                    <a:pt x="25000" y="54222"/>
                    <a:pt x="25000" y="54222"/>
                    <a:pt x="25000" y="54222"/>
                  </a:cubicBezTo>
                  <a:cubicBezTo>
                    <a:pt x="27083" y="53777"/>
                    <a:pt x="27083" y="53777"/>
                    <a:pt x="27083" y="53777"/>
                  </a:cubicBezTo>
                  <a:cubicBezTo>
                    <a:pt x="27916" y="51111"/>
                    <a:pt x="27916" y="51111"/>
                    <a:pt x="27916" y="51111"/>
                  </a:cubicBezTo>
                  <a:cubicBezTo>
                    <a:pt x="27083" y="50666"/>
                    <a:pt x="27083" y="50666"/>
                    <a:pt x="27083" y="50666"/>
                  </a:cubicBezTo>
                  <a:cubicBezTo>
                    <a:pt x="25000" y="49777"/>
                    <a:pt x="25000" y="49777"/>
                    <a:pt x="25000" y="49777"/>
                  </a:cubicBezTo>
                  <a:cubicBezTo>
                    <a:pt x="25000" y="49777"/>
                    <a:pt x="24166" y="50222"/>
                    <a:pt x="24166" y="49333"/>
                  </a:cubicBezTo>
                  <a:cubicBezTo>
                    <a:pt x="24583" y="48000"/>
                    <a:pt x="25416" y="45777"/>
                    <a:pt x="25416" y="45777"/>
                  </a:cubicBezTo>
                  <a:cubicBezTo>
                    <a:pt x="25000" y="43111"/>
                    <a:pt x="25000" y="43111"/>
                    <a:pt x="25000" y="43111"/>
                  </a:cubicBezTo>
                  <a:cubicBezTo>
                    <a:pt x="24583" y="40000"/>
                    <a:pt x="24583" y="40000"/>
                    <a:pt x="24583" y="40000"/>
                  </a:cubicBezTo>
                  <a:cubicBezTo>
                    <a:pt x="25000" y="38222"/>
                    <a:pt x="25000" y="38222"/>
                    <a:pt x="25000" y="38222"/>
                  </a:cubicBezTo>
                  <a:cubicBezTo>
                    <a:pt x="25000" y="36444"/>
                    <a:pt x="25000" y="36444"/>
                    <a:pt x="25000" y="36444"/>
                  </a:cubicBezTo>
                  <a:cubicBezTo>
                    <a:pt x="25833" y="34666"/>
                    <a:pt x="25833" y="34666"/>
                    <a:pt x="25833" y="34666"/>
                  </a:cubicBezTo>
                  <a:cubicBezTo>
                    <a:pt x="29166" y="33333"/>
                    <a:pt x="29166" y="33333"/>
                    <a:pt x="29166" y="33333"/>
                  </a:cubicBezTo>
                  <a:cubicBezTo>
                    <a:pt x="29166" y="30222"/>
                    <a:pt x="29166" y="30222"/>
                    <a:pt x="29166" y="30222"/>
                  </a:cubicBezTo>
                  <a:cubicBezTo>
                    <a:pt x="30416" y="28888"/>
                    <a:pt x="30416" y="28888"/>
                    <a:pt x="30416" y="28888"/>
                  </a:cubicBezTo>
                  <a:lnTo>
                    <a:pt x="33750" y="29333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1" name="Shape 2032"/>
            <p:cNvSpPr/>
            <p:nvPr/>
          </p:nvSpPr>
          <p:spPr>
            <a:xfrm>
              <a:off x="6376066" y="2862203"/>
              <a:ext cx="354016" cy="33667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6645" y="120000"/>
                  </a:moveTo>
                  <a:cubicBezTo>
                    <a:pt x="77419" y="116842"/>
                    <a:pt x="77419" y="116842"/>
                    <a:pt x="77419" y="116842"/>
                  </a:cubicBezTo>
                  <a:cubicBezTo>
                    <a:pt x="77419" y="116842"/>
                    <a:pt x="79741" y="116052"/>
                    <a:pt x="80516" y="116052"/>
                  </a:cubicBezTo>
                  <a:cubicBezTo>
                    <a:pt x="81290" y="115263"/>
                    <a:pt x="82064" y="116052"/>
                    <a:pt x="82838" y="115263"/>
                  </a:cubicBezTo>
                  <a:cubicBezTo>
                    <a:pt x="83612" y="115263"/>
                    <a:pt x="85161" y="114473"/>
                    <a:pt x="85161" y="114473"/>
                  </a:cubicBezTo>
                  <a:cubicBezTo>
                    <a:pt x="84387" y="114473"/>
                    <a:pt x="84387" y="114473"/>
                    <a:pt x="84387" y="114473"/>
                  </a:cubicBezTo>
                  <a:cubicBezTo>
                    <a:pt x="84387" y="112894"/>
                    <a:pt x="84387" y="112894"/>
                    <a:pt x="84387" y="112894"/>
                  </a:cubicBezTo>
                  <a:cubicBezTo>
                    <a:pt x="85161" y="111315"/>
                    <a:pt x="85161" y="111315"/>
                    <a:pt x="85161" y="111315"/>
                  </a:cubicBezTo>
                  <a:cubicBezTo>
                    <a:pt x="82064" y="109736"/>
                    <a:pt x="82064" y="109736"/>
                    <a:pt x="82064" y="109736"/>
                  </a:cubicBezTo>
                  <a:cubicBezTo>
                    <a:pt x="82838" y="108157"/>
                    <a:pt x="82838" y="108157"/>
                    <a:pt x="82838" y="108157"/>
                  </a:cubicBezTo>
                  <a:cubicBezTo>
                    <a:pt x="82838" y="108157"/>
                    <a:pt x="82064" y="106578"/>
                    <a:pt x="82838" y="106578"/>
                  </a:cubicBezTo>
                  <a:cubicBezTo>
                    <a:pt x="83612" y="106578"/>
                    <a:pt x="83612" y="104210"/>
                    <a:pt x="83612" y="104210"/>
                  </a:cubicBezTo>
                  <a:cubicBezTo>
                    <a:pt x="84387" y="102631"/>
                    <a:pt x="84387" y="102631"/>
                    <a:pt x="84387" y="102631"/>
                  </a:cubicBezTo>
                  <a:cubicBezTo>
                    <a:pt x="85935" y="102631"/>
                    <a:pt x="85935" y="102631"/>
                    <a:pt x="85935" y="102631"/>
                  </a:cubicBezTo>
                  <a:cubicBezTo>
                    <a:pt x="85935" y="102631"/>
                    <a:pt x="85935" y="101052"/>
                    <a:pt x="86709" y="100263"/>
                  </a:cubicBezTo>
                  <a:cubicBezTo>
                    <a:pt x="86709" y="100263"/>
                    <a:pt x="87483" y="99473"/>
                    <a:pt x="87483" y="99473"/>
                  </a:cubicBezTo>
                  <a:cubicBezTo>
                    <a:pt x="86709" y="97105"/>
                    <a:pt x="86709" y="97105"/>
                    <a:pt x="86709" y="97105"/>
                  </a:cubicBezTo>
                  <a:cubicBezTo>
                    <a:pt x="86709" y="97105"/>
                    <a:pt x="85161" y="94736"/>
                    <a:pt x="85935" y="94736"/>
                  </a:cubicBezTo>
                  <a:cubicBezTo>
                    <a:pt x="86709" y="94736"/>
                    <a:pt x="87483" y="93947"/>
                    <a:pt x="87483" y="93947"/>
                  </a:cubicBezTo>
                  <a:cubicBezTo>
                    <a:pt x="87483" y="93947"/>
                    <a:pt x="89806" y="91578"/>
                    <a:pt x="90580" y="91578"/>
                  </a:cubicBezTo>
                  <a:cubicBezTo>
                    <a:pt x="90580" y="91578"/>
                    <a:pt x="92129" y="90000"/>
                    <a:pt x="92129" y="89210"/>
                  </a:cubicBezTo>
                  <a:cubicBezTo>
                    <a:pt x="91354" y="88421"/>
                    <a:pt x="90580" y="87631"/>
                    <a:pt x="90580" y="87631"/>
                  </a:cubicBezTo>
                  <a:cubicBezTo>
                    <a:pt x="91354" y="84473"/>
                    <a:pt x="91354" y="84473"/>
                    <a:pt x="91354" y="84473"/>
                  </a:cubicBezTo>
                  <a:cubicBezTo>
                    <a:pt x="91354" y="84473"/>
                    <a:pt x="92129" y="82894"/>
                    <a:pt x="91354" y="82894"/>
                  </a:cubicBezTo>
                  <a:cubicBezTo>
                    <a:pt x="90580" y="82105"/>
                    <a:pt x="89032" y="82105"/>
                    <a:pt x="89032" y="82105"/>
                  </a:cubicBezTo>
                  <a:cubicBezTo>
                    <a:pt x="87483" y="80526"/>
                    <a:pt x="87483" y="80526"/>
                    <a:pt x="87483" y="80526"/>
                  </a:cubicBezTo>
                  <a:cubicBezTo>
                    <a:pt x="87483" y="78157"/>
                    <a:pt x="87483" y="78157"/>
                    <a:pt x="87483" y="78157"/>
                  </a:cubicBezTo>
                  <a:cubicBezTo>
                    <a:pt x="85935" y="75789"/>
                    <a:pt x="85935" y="75789"/>
                    <a:pt x="85935" y="75789"/>
                  </a:cubicBezTo>
                  <a:cubicBezTo>
                    <a:pt x="85935" y="75789"/>
                    <a:pt x="85935" y="74210"/>
                    <a:pt x="85935" y="73421"/>
                  </a:cubicBezTo>
                  <a:cubicBezTo>
                    <a:pt x="86709" y="73421"/>
                    <a:pt x="88258" y="70263"/>
                    <a:pt x="88258" y="69473"/>
                  </a:cubicBezTo>
                  <a:cubicBezTo>
                    <a:pt x="89032" y="69473"/>
                    <a:pt x="92129" y="66315"/>
                    <a:pt x="92129" y="66315"/>
                  </a:cubicBezTo>
                  <a:cubicBezTo>
                    <a:pt x="93677" y="70263"/>
                    <a:pt x="93677" y="70263"/>
                    <a:pt x="93677" y="70263"/>
                  </a:cubicBezTo>
                  <a:cubicBezTo>
                    <a:pt x="93677" y="73421"/>
                    <a:pt x="93677" y="73421"/>
                    <a:pt x="93677" y="73421"/>
                  </a:cubicBezTo>
                  <a:cubicBezTo>
                    <a:pt x="93677" y="73421"/>
                    <a:pt x="92903" y="75000"/>
                    <a:pt x="93677" y="75000"/>
                  </a:cubicBezTo>
                  <a:cubicBezTo>
                    <a:pt x="95225" y="74210"/>
                    <a:pt x="95225" y="72631"/>
                    <a:pt x="95225" y="72631"/>
                  </a:cubicBezTo>
                  <a:cubicBezTo>
                    <a:pt x="96000" y="71842"/>
                    <a:pt x="96000" y="71842"/>
                    <a:pt x="96000" y="71842"/>
                  </a:cubicBezTo>
                  <a:cubicBezTo>
                    <a:pt x="96000" y="71842"/>
                    <a:pt x="94451" y="69473"/>
                    <a:pt x="95225" y="69473"/>
                  </a:cubicBezTo>
                  <a:cubicBezTo>
                    <a:pt x="96000" y="69473"/>
                    <a:pt x="96000" y="67894"/>
                    <a:pt x="96000" y="69473"/>
                  </a:cubicBezTo>
                  <a:cubicBezTo>
                    <a:pt x="96774" y="70263"/>
                    <a:pt x="96774" y="71842"/>
                    <a:pt x="97548" y="71052"/>
                  </a:cubicBezTo>
                  <a:cubicBezTo>
                    <a:pt x="99096" y="71052"/>
                    <a:pt x="99096" y="71842"/>
                    <a:pt x="99096" y="71052"/>
                  </a:cubicBezTo>
                  <a:cubicBezTo>
                    <a:pt x="99870" y="70263"/>
                    <a:pt x="99870" y="69473"/>
                    <a:pt x="99870" y="69473"/>
                  </a:cubicBezTo>
                  <a:cubicBezTo>
                    <a:pt x="100645" y="68684"/>
                    <a:pt x="100645" y="68684"/>
                    <a:pt x="100645" y="68684"/>
                  </a:cubicBezTo>
                  <a:cubicBezTo>
                    <a:pt x="100645" y="68684"/>
                    <a:pt x="100645" y="70263"/>
                    <a:pt x="101419" y="70263"/>
                  </a:cubicBezTo>
                  <a:cubicBezTo>
                    <a:pt x="102193" y="70263"/>
                    <a:pt x="103741" y="70263"/>
                    <a:pt x="103741" y="70263"/>
                  </a:cubicBezTo>
                  <a:cubicBezTo>
                    <a:pt x="105290" y="71052"/>
                    <a:pt x="105290" y="71052"/>
                    <a:pt x="105290" y="71052"/>
                  </a:cubicBezTo>
                  <a:cubicBezTo>
                    <a:pt x="105290" y="71052"/>
                    <a:pt x="106064" y="71052"/>
                    <a:pt x="106064" y="70263"/>
                  </a:cubicBezTo>
                  <a:cubicBezTo>
                    <a:pt x="106064" y="69473"/>
                    <a:pt x="106064" y="68684"/>
                    <a:pt x="106064" y="68684"/>
                  </a:cubicBezTo>
                  <a:cubicBezTo>
                    <a:pt x="107612" y="67894"/>
                    <a:pt x="107612" y="67894"/>
                    <a:pt x="107612" y="67894"/>
                  </a:cubicBezTo>
                  <a:cubicBezTo>
                    <a:pt x="107612" y="65526"/>
                    <a:pt x="107612" y="65526"/>
                    <a:pt x="107612" y="65526"/>
                  </a:cubicBezTo>
                  <a:cubicBezTo>
                    <a:pt x="110709" y="67894"/>
                    <a:pt x="110709" y="67894"/>
                    <a:pt x="110709" y="67894"/>
                  </a:cubicBezTo>
                  <a:cubicBezTo>
                    <a:pt x="111483" y="70263"/>
                    <a:pt x="111483" y="70263"/>
                    <a:pt x="111483" y="70263"/>
                  </a:cubicBezTo>
                  <a:cubicBezTo>
                    <a:pt x="113032" y="69473"/>
                    <a:pt x="113032" y="69473"/>
                    <a:pt x="113032" y="69473"/>
                  </a:cubicBezTo>
                  <a:cubicBezTo>
                    <a:pt x="113806" y="67105"/>
                    <a:pt x="113806" y="67105"/>
                    <a:pt x="113806" y="67105"/>
                  </a:cubicBezTo>
                  <a:cubicBezTo>
                    <a:pt x="113806" y="67105"/>
                    <a:pt x="116129" y="67105"/>
                    <a:pt x="116903" y="66315"/>
                  </a:cubicBezTo>
                  <a:cubicBezTo>
                    <a:pt x="117677" y="66315"/>
                    <a:pt x="120000" y="65526"/>
                    <a:pt x="120000" y="65526"/>
                  </a:cubicBezTo>
                  <a:cubicBezTo>
                    <a:pt x="120000" y="64736"/>
                    <a:pt x="118451" y="63947"/>
                    <a:pt x="117677" y="64736"/>
                  </a:cubicBezTo>
                  <a:cubicBezTo>
                    <a:pt x="116903" y="64736"/>
                    <a:pt x="115354" y="65526"/>
                    <a:pt x="114580" y="64736"/>
                  </a:cubicBezTo>
                  <a:cubicBezTo>
                    <a:pt x="114580" y="63947"/>
                    <a:pt x="113032" y="62368"/>
                    <a:pt x="113032" y="62368"/>
                  </a:cubicBezTo>
                  <a:cubicBezTo>
                    <a:pt x="111483" y="62368"/>
                    <a:pt x="111483" y="62368"/>
                    <a:pt x="111483" y="62368"/>
                  </a:cubicBezTo>
                  <a:cubicBezTo>
                    <a:pt x="111483" y="62368"/>
                    <a:pt x="109935" y="61578"/>
                    <a:pt x="110709" y="60789"/>
                  </a:cubicBezTo>
                  <a:cubicBezTo>
                    <a:pt x="111483" y="60000"/>
                    <a:pt x="112258" y="60000"/>
                    <a:pt x="112258" y="60000"/>
                  </a:cubicBezTo>
                  <a:cubicBezTo>
                    <a:pt x="112258" y="60000"/>
                    <a:pt x="111483" y="58421"/>
                    <a:pt x="111483" y="57631"/>
                  </a:cubicBezTo>
                  <a:cubicBezTo>
                    <a:pt x="111483" y="56842"/>
                    <a:pt x="111483" y="55263"/>
                    <a:pt x="110709" y="54473"/>
                  </a:cubicBezTo>
                  <a:cubicBezTo>
                    <a:pt x="110709" y="54473"/>
                    <a:pt x="109161" y="51315"/>
                    <a:pt x="109161" y="51315"/>
                  </a:cubicBezTo>
                  <a:cubicBezTo>
                    <a:pt x="109161" y="49736"/>
                    <a:pt x="109161" y="49736"/>
                    <a:pt x="109161" y="49736"/>
                  </a:cubicBezTo>
                  <a:cubicBezTo>
                    <a:pt x="107612" y="50526"/>
                    <a:pt x="107612" y="50526"/>
                    <a:pt x="107612" y="50526"/>
                  </a:cubicBezTo>
                  <a:cubicBezTo>
                    <a:pt x="106064" y="48947"/>
                    <a:pt x="106064" y="48947"/>
                    <a:pt x="106064" y="48947"/>
                  </a:cubicBezTo>
                  <a:cubicBezTo>
                    <a:pt x="106064" y="48947"/>
                    <a:pt x="104516" y="48947"/>
                    <a:pt x="104516" y="49736"/>
                  </a:cubicBezTo>
                  <a:cubicBezTo>
                    <a:pt x="103741" y="49736"/>
                    <a:pt x="102967" y="48947"/>
                    <a:pt x="102967" y="48947"/>
                  </a:cubicBezTo>
                  <a:cubicBezTo>
                    <a:pt x="101419" y="48947"/>
                    <a:pt x="101419" y="48947"/>
                    <a:pt x="101419" y="48947"/>
                  </a:cubicBezTo>
                  <a:cubicBezTo>
                    <a:pt x="101419" y="48947"/>
                    <a:pt x="101419" y="48947"/>
                    <a:pt x="99870" y="48947"/>
                  </a:cubicBezTo>
                  <a:cubicBezTo>
                    <a:pt x="99096" y="48947"/>
                    <a:pt x="97548" y="48157"/>
                    <a:pt x="96774" y="48157"/>
                  </a:cubicBezTo>
                  <a:cubicBezTo>
                    <a:pt x="96774" y="47368"/>
                    <a:pt x="96774" y="46578"/>
                    <a:pt x="96774" y="46578"/>
                  </a:cubicBezTo>
                  <a:cubicBezTo>
                    <a:pt x="97548" y="45789"/>
                    <a:pt x="97548" y="45000"/>
                    <a:pt x="97548" y="45000"/>
                  </a:cubicBezTo>
                  <a:cubicBezTo>
                    <a:pt x="97548" y="45000"/>
                    <a:pt x="97548" y="42631"/>
                    <a:pt x="96774" y="42631"/>
                  </a:cubicBezTo>
                  <a:cubicBezTo>
                    <a:pt x="96000" y="42631"/>
                    <a:pt x="94451" y="42631"/>
                    <a:pt x="94451" y="42631"/>
                  </a:cubicBezTo>
                  <a:cubicBezTo>
                    <a:pt x="92903" y="41842"/>
                    <a:pt x="92903" y="41842"/>
                    <a:pt x="92903" y="41842"/>
                  </a:cubicBezTo>
                  <a:cubicBezTo>
                    <a:pt x="95225" y="41052"/>
                    <a:pt x="95225" y="41052"/>
                    <a:pt x="95225" y="41052"/>
                  </a:cubicBezTo>
                  <a:cubicBezTo>
                    <a:pt x="94451" y="39473"/>
                    <a:pt x="94451" y="39473"/>
                    <a:pt x="94451" y="39473"/>
                  </a:cubicBezTo>
                  <a:cubicBezTo>
                    <a:pt x="94451" y="39473"/>
                    <a:pt x="94451" y="37894"/>
                    <a:pt x="94451" y="37894"/>
                  </a:cubicBezTo>
                  <a:cubicBezTo>
                    <a:pt x="94451" y="37105"/>
                    <a:pt x="93677" y="36315"/>
                    <a:pt x="93677" y="36315"/>
                  </a:cubicBezTo>
                  <a:cubicBezTo>
                    <a:pt x="93677" y="33157"/>
                    <a:pt x="93677" y="33157"/>
                    <a:pt x="93677" y="33157"/>
                  </a:cubicBezTo>
                  <a:cubicBezTo>
                    <a:pt x="92129" y="33157"/>
                    <a:pt x="92129" y="33157"/>
                    <a:pt x="92129" y="33157"/>
                  </a:cubicBezTo>
                  <a:cubicBezTo>
                    <a:pt x="90580" y="32368"/>
                    <a:pt x="90580" y="32368"/>
                    <a:pt x="90580" y="32368"/>
                  </a:cubicBezTo>
                  <a:cubicBezTo>
                    <a:pt x="89806" y="34736"/>
                    <a:pt x="89806" y="34736"/>
                    <a:pt x="89806" y="34736"/>
                  </a:cubicBezTo>
                  <a:cubicBezTo>
                    <a:pt x="88258" y="35526"/>
                    <a:pt x="88258" y="35526"/>
                    <a:pt x="88258" y="35526"/>
                  </a:cubicBezTo>
                  <a:cubicBezTo>
                    <a:pt x="87483" y="33157"/>
                    <a:pt x="87483" y="33157"/>
                    <a:pt x="87483" y="33157"/>
                  </a:cubicBezTo>
                  <a:cubicBezTo>
                    <a:pt x="85935" y="32368"/>
                    <a:pt x="85935" y="32368"/>
                    <a:pt x="85935" y="32368"/>
                  </a:cubicBezTo>
                  <a:cubicBezTo>
                    <a:pt x="85161" y="32368"/>
                    <a:pt x="85161" y="32368"/>
                    <a:pt x="85161" y="32368"/>
                  </a:cubicBezTo>
                  <a:cubicBezTo>
                    <a:pt x="83612" y="30000"/>
                    <a:pt x="83612" y="30000"/>
                    <a:pt x="83612" y="30000"/>
                  </a:cubicBezTo>
                  <a:cubicBezTo>
                    <a:pt x="82064" y="30000"/>
                    <a:pt x="82064" y="30000"/>
                    <a:pt x="82064" y="30000"/>
                  </a:cubicBezTo>
                  <a:cubicBezTo>
                    <a:pt x="82064" y="30000"/>
                    <a:pt x="81290" y="32368"/>
                    <a:pt x="80516" y="30789"/>
                  </a:cubicBezTo>
                  <a:cubicBezTo>
                    <a:pt x="79741" y="30000"/>
                    <a:pt x="79741" y="27631"/>
                    <a:pt x="79741" y="27631"/>
                  </a:cubicBezTo>
                  <a:cubicBezTo>
                    <a:pt x="78967" y="26842"/>
                    <a:pt x="78967" y="26842"/>
                    <a:pt x="78967" y="26842"/>
                  </a:cubicBezTo>
                  <a:cubicBezTo>
                    <a:pt x="79741" y="25263"/>
                    <a:pt x="79741" y="25263"/>
                    <a:pt x="79741" y="25263"/>
                  </a:cubicBezTo>
                  <a:cubicBezTo>
                    <a:pt x="79741" y="22894"/>
                    <a:pt x="79741" y="22894"/>
                    <a:pt x="79741" y="22894"/>
                  </a:cubicBezTo>
                  <a:cubicBezTo>
                    <a:pt x="79741" y="22894"/>
                    <a:pt x="78967" y="21315"/>
                    <a:pt x="78967" y="21315"/>
                  </a:cubicBezTo>
                  <a:cubicBezTo>
                    <a:pt x="78967" y="20526"/>
                    <a:pt x="78193" y="18947"/>
                    <a:pt x="78193" y="18947"/>
                  </a:cubicBezTo>
                  <a:cubicBezTo>
                    <a:pt x="78967" y="17368"/>
                    <a:pt x="78967" y="17368"/>
                    <a:pt x="78967" y="17368"/>
                  </a:cubicBezTo>
                  <a:cubicBezTo>
                    <a:pt x="77419" y="16578"/>
                    <a:pt x="77419" y="16578"/>
                    <a:pt x="77419" y="16578"/>
                  </a:cubicBezTo>
                  <a:cubicBezTo>
                    <a:pt x="77419" y="14210"/>
                    <a:pt x="77419" y="14210"/>
                    <a:pt x="77419" y="14210"/>
                  </a:cubicBezTo>
                  <a:cubicBezTo>
                    <a:pt x="77419" y="13421"/>
                    <a:pt x="77419" y="13421"/>
                    <a:pt x="77419" y="13421"/>
                  </a:cubicBezTo>
                  <a:cubicBezTo>
                    <a:pt x="75096" y="12631"/>
                    <a:pt x="75096" y="12631"/>
                    <a:pt x="75096" y="12631"/>
                  </a:cubicBezTo>
                  <a:cubicBezTo>
                    <a:pt x="75096" y="12631"/>
                    <a:pt x="75096" y="11842"/>
                    <a:pt x="74322" y="11052"/>
                  </a:cubicBezTo>
                  <a:cubicBezTo>
                    <a:pt x="74322" y="11052"/>
                    <a:pt x="72774" y="9473"/>
                    <a:pt x="72774" y="9473"/>
                  </a:cubicBezTo>
                  <a:cubicBezTo>
                    <a:pt x="72774" y="9473"/>
                    <a:pt x="72000" y="9473"/>
                    <a:pt x="72000" y="10263"/>
                  </a:cubicBezTo>
                  <a:cubicBezTo>
                    <a:pt x="71225" y="11052"/>
                    <a:pt x="71225" y="12631"/>
                    <a:pt x="70451" y="12631"/>
                  </a:cubicBezTo>
                  <a:cubicBezTo>
                    <a:pt x="70451" y="12631"/>
                    <a:pt x="71225" y="12631"/>
                    <a:pt x="68903" y="12631"/>
                  </a:cubicBezTo>
                  <a:cubicBezTo>
                    <a:pt x="67354" y="11842"/>
                    <a:pt x="67354" y="11842"/>
                    <a:pt x="66580" y="11052"/>
                  </a:cubicBezTo>
                  <a:cubicBezTo>
                    <a:pt x="65806" y="11052"/>
                    <a:pt x="64258" y="9473"/>
                    <a:pt x="64258" y="9473"/>
                  </a:cubicBezTo>
                  <a:cubicBezTo>
                    <a:pt x="63483" y="6315"/>
                    <a:pt x="63483" y="6315"/>
                    <a:pt x="63483" y="6315"/>
                  </a:cubicBezTo>
                  <a:cubicBezTo>
                    <a:pt x="61935" y="6315"/>
                    <a:pt x="61935" y="6315"/>
                    <a:pt x="61935" y="6315"/>
                  </a:cubicBezTo>
                  <a:cubicBezTo>
                    <a:pt x="61935" y="6315"/>
                    <a:pt x="64258" y="7105"/>
                    <a:pt x="61161" y="7105"/>
                  </a:cubicBezTo>
                  <a:cubicBezTo>
                    <a:pt x="58064" y="7105"/>
                    <a:pt x="54967" y="7105"/>
                    <a:pt x="54967" y="7105"/>
                  </a:cubicBezTo>
                  <a:cubicBezTo>
                    <a:pt x="54193" y="8684"/>
                    <a:pt x="54193" y="8684"/>
                    <a:pt x="54193" y="8684"/>
                  </a:cubicBezTo>
                  <a:cubicBezTo>
                    <a:pt x="54193" y="8684"/>
                    <a:pt x="53419" y="10263"/>
                    <a:pt x="53419" y="11052"/>
                  </a:cubicBezTo>
                  <a:cubicBezTo>
                    <a:pt x="53419" y="11052"/>
                    <a:pt x="54193" y="11842"/>
                    <a:pt x="53419" y="11052"/>
                  </a:cubicBezTo>
                  <a:cubicBezTo>
                    <a:pt x="53419" y="10263"/>
                    <a:pt x="52645" y="10263"/>
                    <a:pt x="52645" y="9473"/>
                  </a:cubicBezTo>
                  <a:cubicBezTo>
                    <a:pt x="52645" y="9473"/>
                    <a:pt x="52645" y="8684"/>
                    <a:pt x="52645" y="8684"/>
                  </a:cubicBezTo>
                  <a:cubicBezTo>
                    <a:pt x="52645" y="7894"/>
                    <a:pt x="51096" y="7105"/>
                    <a:pt x="51096" y="7105"/>
                  </a:cubicBezTo>
                  <a:cubicBezTo>
                    <a:pt x="50322" y="8684"/>
                    <a:pt x="50322" y="8684"/>
                    <a:pt x="50322" y="8684"/>
                  </a:cubicBezTo>
                  <a:cubicBezTo>
                    <a:pt x="50322" y="8684"/>
                    <a:pt x="51096" y="9473"/>
                    <a:pt x="49548" y="9473"/>
                  </a:cubicBezTo>
                  <a:cubicBezTo>
                    <a:pt x="48774" y="10263"/>
                    <a:pt x="48774" y="10263"/>
                    <a:pt x="48774" y="10263"/>
                  </a:cubicBezTo>
                  <a:cubicBezTo>
                    <a:pt x="48774" y="9473"/>
                    <a:pt x="49548" y="8684"/>
                    <a:pt x="49548" y="8684"/>
                  </a:cubicBezTo>
                  <a:cubicBezTo>
                    <a:pt x="49548" y="8684"/>
                    <a:pt x="50322" y="7105"/>
                    <a:pt x="50322" y="7105"/>
                  </a:cubicBezTo>
                  <a:cubicBezTo>
                    <a:pt x="50322" y="7105"/>
                    <a:pt x="50322" y="5526"/>
                    <a:pt x="49548" y="5526"/>
                  </a:cubicBezTo>
                  <a:cubicBezTo>
                    <a:pt x="49548" y="5526"/>
                    <a:pt x="48000" y="5526"/>
                    <a:pt x="47225" y="5526"/>
                  </a:cubicBezTo>
                  <a:cubicBezTo>
                    <a:pt x="47225" y="5526"/>
                    <a:pt x="46451" y="6315"/>
                    <a:pt x="46451" y="6315"/>
                  </a:cubicBezTo>
                  <a:cubicBezTo>
                    <a:pt x="46451" y="6315"/>
                    <a:pt x="47225" y="7105"/>
                    <a:pt x="46451" y="7105"/>
                  </a:cubicBezTo>
                  <a:cubicBezTo>
                    <a:pt x="46451" y="7105"/>
                    <a:pt x="45677" y="7105"/>
                    <a:pt x="45677" y="7894"/>
                  </a:cubicBezTo>
                  <a:cubicBezTo>
                    <a:pt x="44903" y="7894"/>
                    <a:pt x="44903" y="6315"/>
                    <a:pt x="44903" y="6315"/>
                  </a:cubicBezTo>
                  <a:cubicBezTo>
                    <a:pt x="44903" y="6315"/>
                    <a:pt x="44129" y="5526"/>
                    <a:pt x="44129" y="5526"/>
                  </a:cubicBezTo>
                  <a:cubicBezTo>
                    <a:pt x="44129" y="6315"/>
                    <a:pt x="43354" y="7894"/>
                    <a:pt x="43354" y="7894"/>
                  </a:cubicBezTo>
                  <a:cubicBezTo>
                    <a:pt x="42580" y="7894"/>
                    <a:pt x="42580" y="7894"/>
                    <a:pt x="42580" y="7105"/>
                  </a:cubicBezTo>
                  <a:cubicBezTo>
                    <a:pt x="41806" y="7105"/>
                    <a:pt x="41806" y="5526"/>
                    <a:pt x="41806" y="5526"/>
                  </a:cubicBezTo>
                  <a:cubicBezTo>
                    <a:pt x="41032" y="4736"/>
                    <a:pt x="41032" y="4736"/>
                    <a:pt x="41032" y="4736"/>
                  </a:cubicBezTo>
                  <a:cubicBezTo>
                    <a:pt x="41032" y="4736"/>
                    <a:pt x="38709" y="4736"/>
                    <a:pt x="37935" y="4736"/>
                  </a:cubicBezTo>
                  <a:cubicBezTo>
                    <a:pt x="37935" y="4736"/>
                    <a:pt x="36387" y="4736"/>
                    <a:pt x="36387" y="3947"/>
                  </a:cubicBezTo>
                  <a:cubicBezTo>
                    <a:pt x="35612" y="3157"/>
                    <a:pt x="34838" y="3157"/>
                    <a:pt x="34838" y="3157"/>
                  </a:cubicBezTo>
                  <a:cubicBezTo>
                    <a:pt x="34838" y="3157"/>
                    <a:pt x="34838" y="3157"/>
                    <a:pt x="34064" y="2368"/>
                  </a:cubicBezTo>
                  <a:cubicBezTo>
                    <a:pt x="33290" y="2368"/>
                    <a:pt x="33290" y="2368"/>
                    <a:pt x="32516" y="2368"/>
                  </a:cubicBezTo>
                  <a:cubicBezTo>
                    <a:pt x="31741" y="1578"/>
                    <a:pt x="32516" y="1578"/>
                    <a:pt x="30967" y="1578"/>
                  </a:cubicBezTo>
                  <a:cubicBezTo>
                    <a:pt x="29419" y="1578"/>
                    <a:pt x="29419" y="3157"/>
                    <a:pt x="28645" y="2368"/>
                  </a:cubicBezTo>
                  <a:cubicBezTo>
                    <a:pt x="27096" y="2368"/>
                    <a:pt x="27096" y="2368"/>
                    <a:pt x="27096" y="2368"/>
                  </a:cubicBezTo>
                  <a:cubicBezTo>
                    <a:pt x="26322" y="1578"/>
                    <a:pt x="26322" y="1578"/>
                    <a:pt x="26322" y="1578"/>
                  </a:cubicBezTo>
                  <a:cubicBezTo>
                    <a:pt x="26322" y="789"/>
                    <a:pt x="25548" y="0"/>
                    <a:pt x="25548" y="789"/>
                  </a:cubicBezTo>
                  <a:cubicBezTo>
                    <a:pt x="25548" y="2368"/>
                    <a:pt x="25548" y="1578"/>
                    <a:pt x="24774" y="2368"/>
                  </a:cubicBezTo>
                  <a:cubicBezTo>
                    <a:pt x="24774" y="3157"/>
                    <a:pt x="23225" y="3947"/>
                    <a:pt x="23225" y="3947"/>
                  </a:cubicBezTo>
                  <a:cubicBezTo>
                    <a:pt x="23225" y="3947"/>
                    <a:pt x="22451" y="3947"/>
                    <a:pt x="22451" y="4736"/>
                  </a:cubicBezTo>
                  <a:cubicBezTo>
                    <a:pt x="22451" y="4736"/>
                    <a:pt x="21677" y="5526"/>
                    <a:pt x="21677" y="5526"/>
                  </a:cubicBezTo>
                  <a:cubicBezTo>
                    <a:pt x="21677" y="5526"/>
                    <a:pt x="21677" y="4736"/>
                    <a:pt x="20903" y="4736"/>
                  </a:cubicBezTo>
                  <a:cubicBezTo>
                    <a:pt x="20903" y="4736"/>
                    <a:pt x="20903" y="4736"/>
                    <a:pt x="20903" y="4736"/>
                  </a:cubicBezTo>
                  <a:cubicBezTo>
                    <a:pt x="20903" y="4736"/>
                    <a:pt x="19354" y="4736"/>
                    <a:pt x="19354" y="5526"/>
                  </a:cubicBezTo>
                  <a:cubicBezTo>
                    <a:pt x="19354" y="5526"/>
                    <a:pt x="19354" y="6315"/>
                    <a:pt x="19354" y="7105"/>
                  </a:cubicBezTo>
                  <a:cubicBezTo>
                    <a:pt x="19354" y="7105"/>
                    <a:pt x="18580" y="7894"/>
                    <a:pt x="18580" y="7894"/>
                  </a:cubicBezTo>
                  <a:cubicBezTo>
                    <a:pt x="17032" y="8684"/>
                    <a:pt x="17032" y="8684"/>
                    <a:pt x="17032" y="8684"/>
                  </a:cubicBezTo>
                  <a:cubicBezTo>
                    <a:pt x="17032" y="8684"/>
                    <a:pt x="17032" y="8684"/>
                    <a:pt x="16258" y="8684"/>
                  </a:cubicBezTo>
                  <a:cubicBezTo>
                    <a:pt x="15483" y="8684"/>
                    <a:pt x="13935" y="8684"/>
                    <a:pt x="13935" y="8684"/>
                  </a:cubicBezTo>
                  <a:cubicBezTo>
                    <a:pt x="13161" y="8684"/>
                    <a:pt x="12387" y="8684"/>
                    <a:pt x="12387" y="8684"/>
                  </a:cubicBezTo>
                  <a:cubicBezTo>
                    <a:pt x="12387" y="9473"/>
                    <a:pt x="12387" y="9473"/>
                    <a:pt x="12387" y="9473"/>
                  </a:cubicBezTo>
                  <a:cubicBezTo>
                    <a:pt x="11612" y="10263"/>
                    <a:pt x="11612" y="10263"/>
                    <a:pt x="11612" y="10263"/>
                  </a:cubicBezTo>
                  <a:cubicBezTo>
                    <a:pt x="11612" y="10263"/>
                    <a:pt x="10838" y="11842"/>
                    <a:pt x="10064" y="11052"/>
                  </a:cubicBezTo>
                  <a:cubicBezTo>
                    <a:pt x="10064" y="11052"/>
                    <a:pt x="9290" y="11052"/>
                    <a:pt x="9290" y="11052"/>
                  </a:cubicBezTo>
                  <a:cubicBezTo>
                    <a:pt x="7741" y="10263"/>
                    <a:pt x="7741" y="10263"/>
                    <a:pt x="7741" y="10263"/>
                  </a:cubicBezTo>
                  <a:cubicBezTo>
                    <a:pt x="7741" y="10263"/>
                    <a:pt x="6967" y="11052"/>
                    <a:pt x="6967" y="11052"/>
                  </a:cubicBezTo>
                  <a:cubicBezTo>
                    <a:pt x="6967" y="11052"/>
                    <a:pt x="6193" y="11052"/>
                    <a:pt x="6193" y="11052"/>
                  </a:cubicBezTo>
                  <a:cubicBezTo>
                    <a:pt x="6193" y="11052"/>
                    <a:pt x="6193" y="11052"/>
                    <a:pt x="6193" y="11052"/>
                  </a:cubicBezTo>
                  <a:cubicBezTo>
                    <a:pt x="6193" y="11052"/>
                    <a:pt x="6193" y="11842"/>
                    <a:pt x="6967" y="12631"/>
                  </a:cubicBezTo>
                  <a:cubicBezTo>
                    <a:pt x="6967" y="12631"/>
                    <a:pt x="6967" y="13421"/>
                    <a:pt x="6967" y="14210"/>
                  </a:cubicBezTo>
                  <a:cubicBezTo>
                    <a:pt x="6967" y="14210"/>
                    <a:pt x="6193" y="15000"/>
                    <a:pt x="6193" y="15000"/>
                  </a:cubicBezTo>
                  <a:cubicBezTo>
                    <a:pt x="5419" y="15000"/>
                    <a:pt x="4645" y="14210"/>
                    <a:pt x="4645" y="14210"/>
                  </a:cubicBezTo>
                  <a:cubicBezTo>
                    <a:pt x="4645" y="14210"/>
                    <a:pt x="4645" y="13421"/>
                    <a:pt x="3870" y="13421"/>
                  </a:cubicBezTo>
                  <a:cubicBezTo>
                    <a:pt x="3870" y="14210"/>
                    <a:pt x="1548" y="15000"/>
                    <a:pt x="1548" y="15000"/>
                  </a:cubicBezTo>
                  <a:cubicBezTo>
                    <a:pt x="1548" y="16578"/>
                    <a:pt x="1548" y="16578"/>
                    <a:pt x="1548" y="16578"/>
                  </a:cubicBezTo>
                  <a:cubicBezTo>
                    <a:pt x="0" y="17368"/>
                    <a:pt x="0" y="17368"/>
                    <a:pt x="0" y="17368"/>
                  </a:cubicBezTo>
                  <a:cubicBezTo>
                    <a:pt x="3870" y="17368"/>
                    <a:pt x="3870" y="17368"/>
                    <a:pt x="3870" y="17368"/>
                  </a:cubicBezTo>
                  <a:cubicBezTo>
                    <a:pt x="4645" y="17368"/>
                    <a:pt x="4645" y="17368"/>
                    <a:pt x="4645" y="17368"/>
                  </a:cubicBezTo>
                  <a:cubicBezTo>
                    <a:pt x="6193" y="17368"/>
                    <a:pt x="6193" y="17368"/>
                    <a:pt x="6193" y="17368"/>
                  </a:cubicBezTo>
                  <a:cubicBezTo>
                    <a:pt x="6967" y="16578"/>
                    <a:pt x="6967" y="16578"/>
                    <a:pt x="6967" y="16578"/>
                  </a:cubicBezTo>
                  <a:cubicBezTo>
                    <a:pt x="6967" y="16578"/>
                    <a:pt x="7741" y="16578"/>
                    <a:pt x="7741" y="17368"/>
                  </a:cubicBezTo>
                  <a:cubicBezTo>
                    <a:pt x="7741" y="17368"/>
                    <a:pt x="9290" y="18157"/>
                    <a:pt x="9290" y="18157"/>
                  </a:cubicBezTo>
                  <a:cubicBezTo>
                    <a:pt x="9290" y="18157"/>
                    <a:pt x="9290" y="18157"/>
                    <a:pt x="9290" y="18157"/>
                  </a:cubicBezTo>
                  <a:cubicBezTo>
                    <a:pt x="11612" y="17368"/>
                    <a:pt x="11612" y="17368"/>
                    <a:pt x="11612" y="17368"/>
                  </a:cubicBezTo>
                  <a:cubicBezTo>
                    <a:pt x="11612" y="18157"/>
                    <a:pt x="11612" y="18157"/>
                    <a:pt x="11612" y="18157"/>
                  </a:cubicBezTo>
                  <a:cubicBezTo>
                    <a:pt x="11612" y="18157"/>
                    <a:pt x="11612" y="18947"/>
                    <a:pt x="12387" y="18947"/>
                  </a:cubicBezTo>
                  <a:cubicBezTo>
                    <a:pt x="13161" y="18947"/>
                    <a:pt x="13161" y="18947"/>
                    <a:pt x="13161" y="18947"/>
                  </a:cubicBezTo>
                  <a:cubicBezTo>
                    <a:pt x="13161" y="20526"/>
                    <a:pt x="13161" y="20526"/>
                    <a:pt x="13161" y="20526"/>
                  </a:cubicBezTo>
                  <a:cubicBezTo>
                    <a:pt x="14709" y="20526"/>
                    <a:pt x="14709" y="20526"/>
                    <a:pt x="14709" y="20526"/>
                  </a:cubicBezTo>
                  <a:cubicBezTo>
                    <a:pt x="14709" y="20526"/>
                    <a:pt x="15483" y="20526"/>
                    <a:pt x="15483" y="20526"/>
                  </a:cubicBezTo>
                  <a:cubicBezTo>
                    <a:pt x="15483" y="20526"/>
                    <a:pt x="15483" y="21315"/>
                    <a:pt x="15483" y="21315"/>
                  </a:cubicBezTo>
                  <a:cubicBezTo>
                    <a:pt x="15483" y="21315"/>
                    <a:pt x="16258" y="22105"/>
                    <a:pt x="17032" y="22894"/>
                  </a:cubicBezTo>
                  <a:cubicBezTo>
                    <a:pt x="17032" y="22894"/>
                    <a:pt x="17806" y="23684"/>
                    <a:pt x="17806" y="23684"/>
                  </a:cubicBezTo>
                  <a:cubicBezTo>
                    <a:pt x="18580" y="24473"/>
                    <a:pt x="18580" y="24473"/>
                    <a:pt x="18580" y="24473"/>
                  </a:cubicBezTo>
                  <a:cubicBezTo>
                    <a:pt x="19354" y="25263"/>
                    <a:pt x="19354" y="25263"/>
                    <a:pt x="19354" y="25263"/>
                  </a:cubicBezTo>
                  <a:cubicBezTo>
                    <a:pt x="20129" y="26052"/>
                    <a:pt x="20129" y="26052"/>
                    <a:pt x="20129" y="26052"/>
                  </a:cubicBezTo>
                  <a:cubicBezTo>
                    <a:pt x="20129" y="26052"/>
                    <a:pt x="20129" y="26052"/>
                    <a:pt x="20129" y="26052"/>
                  </a:cubicBezTo>
                  <a:cubicBezTo>
                    <a:pt x="20129" y="26842"/>
                    <a:pt x="20129" y="27631"/>
                    <a:pt x="20903" y="27631"/>
                  </a:cubicBezTo>
                  <a:cubicBezTo>
                    <a:pt x="20903" y="27631"/>
                    <a:pt x="20903" y="27631"/>
                    <a:pt x="21677" y="27631"/>
                  </a:cubicBezTo>
                  <a:cubicBezTo>
                    <a:pt x="21677" y="27631"/>
                    <a:pt x="21677" y="27631"/>
                    <a:pt x="21677" y="28421"/>
                  </a:cubicBezTo>
                  <a:cubicBezTo>
                    <a:pt x="21677" y="28421"/>
                    <a:pt x="21677" y="28421"/>
                    <a:pt x="22451" y="29210"/>
                  </a:cubicBezTo>
                  <a:cubicBezTo>
                    <a:pt x="22451" y="29210"/>
                    <a:pt x="23225" y="30000"/>
                    <a:pt x="23225" y="30000"/>
                  </a:cubicBezTo>
                  <a:cubicBezTo>
                    <a:pt x="23225" y="30000"/>
                    <a:pt x="23225" y="30000"/>
                    <a:pt x="23225" y="30789"/>
                  </a:cubicBezTo>
                  <a:cubicBezTo>
                    <a:pt x="23225" y="31578"/>
                    <a:pt x="24000" y="32368"/>
                    <a:pt x="24000" y="32368"/>
                  </a:cubicBezTo>
                  <a:cubicBezTo>
                    <a:pt x="24000" y="33157"/>
                    <a:pt x="24774" y="33157"/>
                    <a:pt x="24774" y="33157"/>
                  </a:cubicBezTo>
                  <a:cubicBezTo>
                    <a:pt x="24774" y="33157"/>
                    <a:pt x="24774" y="33157"/>
                    <a:pt x="24774" y="33157"/>
                  </a:cubicBezTo>
                  <a:cubicBezTo>
                    <a:pt x="24774" y="33157"/>
                    <a:pt x="25548" y="33157"/>
                    <a:pt x="25548" y="33947"/>
                  </a:cubicBezTo>
                  <a:cubicBezTo>
                    <a:pt x="25548" y="34736"/>
                    <a:pt x="24774" y="35526"/>
                    <a:pt x="25548" y="35526"/>
                  </a:cubicBezTo>
                  <a:cubicBezTo>
                    <a:pt x="25548" y="35526"/>
                    <a:pt x="26322" y="37105"/>
                    <a:pt x="27096" y="37105"/>
                  </a:cubicBezTo>
                  <a:cubicBezTo>
                    <a:pt x="27870" y="37105"/>
                    <a:pt x="27870" y="37105"/>
                    <a:pt x="27870" y="37105"/>
                  </a:cubicBezTo>
                  <a:cubicBezTo>
                    <a:pt x="28645" y="37105"/>
                    <a:pt x="28645" y="38684"/>
                    <a:pt x="29419" y="38684"/>
                  </a:cubicBezTo>
                  <a:cubicBezTo>
                    <a:pt x="29419" y="39473"/>
                    <a:pt x="29419" y="39473"/>
                    <a:pt x="30193" y="39473"/>
                  </a:cubicBezTo>
                  <a:cubicBezTo>
                    <a:pt x="30967" y="39473"/>
                    <a:pt x="30967" y="39473"/>
                    <a:pt x="30967" y="39473"/>
                  </a:cubicBezTo>
                  <a:cubicBezTo>
                    <a:pt x="30967" y="39473"/>
                    <a:pt x="30967" y="39473"/>
                    <a:pt x="30967" y="40263"/>
                  </a:cubicBezTo>
                  <a:cubicBezTo>
                    <a:pt x="31741" y="40263"/>
                    <a:pt x="33290" y="41842"/>
                    <a:pt x="33290" y="41842"/>
                  </a:cubicBezTo>
                  <a:cubicBezTo>
                    <a:pt x="33290" y="41842"/>
                    <a:pt x="34064" y="42631"/>
                    <a:pt x="34064" y="42631"/>
                  </a:cubicBezTo>
                  <a:cubicBezTo>
                    <a:pt x="34064" y="42631"/>
                    <a:pt x="34838" y="42631"/>
                    <a:pt x="35612" y="42631"/>
                  </a:cubicBezTo>
                  <a:cubicBezTo>
                    <a:pt x="35612" y="42631"/>
                    <a:pt x="36387" y="42631"/>
                    <a:pt x="36387" y="43421"/>
                  </a:cubicBezTo>
                  <a:cubicBezTo>
                    <a:pt x="36387" y="44210"/>
                    <a:pt x="37161" y="44210"/>
                    <a:pt x="37161" y="45000"/>
                  </a:cubicBezTo>
                  <a:cubicBezTo>
                    <a:pt x="37161" y="45789"/>
                    <a:pt x="37935" y="45789"/>
                    <a:pt x="37935" y="46578"/>
                  </a:cubicBezTo>
                  <a:cubicBezTo>
                    <a:pt x="37935" y="46578"/>
                    <a:pt x="38709" y="48157"/>
                    <a:pt x="38709" y="48157"/>
                  </a:cubicBezTo>
                  <a:cubicBezTo>
                    <a:pt x="43354" y="49736"/>
                    <a:pt x="43354" y="49736"/>
                    <a:pt x="43354" y="49736"/>
                  </a:cubicBezTo>
                  <a:cubicBezTo>
                    <a:pt x="44129" y="51315"/>
                    <a:pt x="44129" y="51315"/>
                    <a:pt x="44129" y="51315"/>
                  </a:cubicBezTo>
                  <a:cubicBezTo>
                    <a:pt x="44129" y="51315"/>
                    <a:pt x="44903" y="52894"/>
                    <a:pt x="44903" y="52894"/>
                  </a:cubicBezTo>
                  <a:cubicBezTo>
                    <a:pt x="45677" y="53684"/>
                    <a:pt x="46451" y="53684"/>
                    <a:pt x="46451" y="53684"/>
                  </a:cubicBezTo>
                  <a:cubicBezTo>
                    <a:pt x="48774" y="56052"/>
                    <a:pt x="48774" y="56052"/>
                    <a:pt x="48774" y="56052"/>
                  </a:cubicBezTo>
                  <a:cubicBezTo>
                    <a:pt x="51096" y="56842"/>
                    <a:pt x="51096" y="56842"/>
                    <a:pt x="51096" y="56842"/>
                  </a:cubicBezTo>
                  <a:cubicBezTo>
                    <a:pt x="51096" y="56842"/>
                    <a:pt x="52645" y="57631"/>
                    <a:pt x="53419" y="57631"/>
                  </a:cubicBezTo>
                  <a:cubicBezTo>
                    <a:pt x="53419" y="57631"/>
                    <a:pt x="54967" y="58421"/>
                    <a:pt x="55741" y="58421"/>
                  </a:cubicBezTo>
                  <a:cubicBezTo>
                    <a:pt x="55741" y="59210"/>
                    <a:pt x="56516" y="61578"/>
                    <a:pt x="56516" y="61578"/>
                  </a:cubicBezTo>
                  <a:cubicBezTo>
                    <a:pt x="57290" y="61578"/>
                    <a:pt x="58838" y="63157"/>
                    <a:pt x="58838" y="64736"/>
                  </a:cubicBezTo>
                  <a:cubicBezTo>
                    <a:pt x="59612" y="65526"/>
                    <a:pt x="59612" y="65526"/>
                    <a:pt x="59612" y="67105"/>
                  </a:cubicBezTo>
                  <a:cubicBezTo>
                    <a:pt x="60387" y="67894"/>
                    <a:pt x="61935" y="69473"/>
                    <a:pt x="61935" y="69473"/>
                  </a:cubicBezTo>
                  <a:cubicBezTo>
                    <a:pt x="61935" y="69473"/>
                    <a:pt x="61935" y="69473"/>
                    <a:pt x="62709" y="71052"/>
                  </a:cubicBezTo>
                  <a:cubicBezTo>
                    <a:pt x="63483" y="71842"/>
                    <a:pt x="64258" y="72631"/>
                    <a:pt x="64258" y="73421"/>
                  </a:cubicBezTo>
                  <a:cubicBezTo>
                    <a:pt x="64258" y="73421"/>
                    <a:pt x="64258" y="73421"/>
                    <a:pt x="64258" y="74210"/>
                  </a:cubicBezTo>
                  <a:cubicBezTo>
                    <a:pt x="64258" y="74210"/>
                    <a:pt x="64258" y="75000"/>
                    <a:pt x="64258" y="75000"/>
                  </a:cubicBezTo>
                  <a:cubicBezTo>
                    <a:pt x="64258" y="75000"/>
                    <a:pt x="65032" y="76578"/>
                    <a:pt x="65032" y="77368"/>
                  </a:cubicBezTo>
                  <a:cubicBezTo>
                    <a:pt x="65032" y="77368"/>
                    <a:pt x="65806" y="78947"/>
                    <a:pt x="65806" y="78947"/>
                  </a:cubicBezTo>
                  <a:cubicBezTo>
                    <a:pt x="65806" y="79736"/>
                    <a:pt x="65806" y="79736"/>
                    <a:pt x="65806" y="79736"/>
                  </a:cubicBezTo>
                  <a:cubicBezTo>
                    <a:pt x="66580" y="82105"/>
                    <a:pt x="66580" y="82105"/>
                    <a:pt x="66580" y="82105"/>
                  </a:cubicBezTo>
                  <a:cubicBezTo>
                    <a:pt x="65806" y="83684"/>
                    <a:pt x="65806" y="83684"/>
                    <a:pt x="65806" y="83684"/>
                  </a:cubicBezTo>
                  <a:cubicBezTo>
                    <a:pt x="65806" y="83684"/>
                    <a:pt x="65032" y="84473"/>
                    <a:pt x="65806" y="84473"/>
                  </a:cubicBezTo>
                  <a:cubicBezTo>
                    <a:pt x="66580" y="84473"/>
                    <a:pt x="67354" y="85263"/>
                    <a:pt x="66580" y="86052"/>
                  </a:cubicBezTo>
                  <a:cubicBezTo>
                    <a:pt x="66580" y="86052"/>
                    <a:pt x="65806" y="87631"/>
                    <a:pt x="65806" y="87631"/>
                  </a:cubicBezTo>
                  <a:cubicBezTo>
                    <a:pt x="65806" y="88421"/>
                    <a:pt x="65806" y="88421"/>
                    <a:pt x="65806" y="88421"/>
                  </a:cubicBezTo>
                  <a:cubicBezTo>
                    <a:pt x="65032" y="90000"/>
                    <a:pt x="65032" y="90000"/>
                    <a:pt x="65032" y="90000"/>
                  </a:cubicBezTo>
                  <a:cubicBezTo>
                    <a:pt x="65032" y="90000"/>
                    <a:pt x="66580" y="90789"/>
                    <a:pt x="66580" y="90789"/>
                  </a:cubicBezTo>
                  <a:cubicBezTo>
                    <a:pt x="66580" y="91578"/>
                    <a:pt x="67354" y="92368"/>
                    <a:pt x="66580" y="93157"/>
                  </a:cubicBezTo>
                  <a:cubicBezTo>
                    <a:pt x="66580" y="93157"/>
                    <a:pt x="66580" y="94736"/>
                    <a:pt x="66580" y="94736"/>
                  </a:cubicBezTo>
                  <a:cubicBezTo>
                    <a:pt x="66580" y="94736"/>
                    <a:pt x="66580" y="96315"/>
                    <a:pt x="66580" y="96315"/>
                  </a:cubicBezTo>
                  <a:cubicBezTo>
                    <a:pt x="66580" y="96315"/>
                    <a:pt x="68129" y="97105"/>
                    <a:pt x="67354" y="97894"/>
                  </a:cubicBezTo>
                  <a:cubicBezTo>
                    <a:pt x="67354" y="97894"/>
                    <a:pt x="67354" y="98684"/>
                    <a:pt x="67354" y="99473"/>
                  </a:cubicBezTo>
                  <a:cubicBezTo>
                    <a:pt x="68129" y="101052"/>
                    <a:pt x="69677" y="103421"/>
                    <a:pt x="69677" y="103421"/>
                  </a:cubicBezTo>
                  <a:cubicBezTo>
                    <a:pt x="69677" y="103421"/>
                    <a:pt x="70451" y="105000"/>
                    <a:pt x="70451" y="105000"/>
                  </a:cubicBezTo>
                  <a:cubicBezTo>
                    <a:pt x="70451" y="105789"/>
                    <a:pt x="69677" y="105789"/>
                    <a:pt x="70451" y="106578"/>
                  </a:cubicBezTo>
                  <a:cubicBezTo>
                    <a:pt x="70451" y="106578"/>
                    <a:pt x="69677" y="107368"/>
                    <a:pt x="70451" y="107368"/>
                  </a:cubicBezTo>
                  <a:cubicBezTo>
                    <a:pt x="71225" y="108157"/>
                    <a:pt x="72000" y="109736"/>
                    <a:pt x="72000" y="109736"/>
                  </a:cubicBezTo>
                  <a:cubicBezTo>
                    <a:pt x="72000" y="109736"/>
                    <a:pt x="72000" y="109736"/>
                    <a:pt x="72774" y="110526"/>
                  </a:cubicBezTo>
                  <a:cubicBezTo>
                    <a:pt x="72774" y="111315"/>
                    <a:pt x="72774" y="112894"/>
                    <a:pt x="72774" y="112894"/>
                  </a:cubicBezTo>
                  <a:cubicBezTo>
                    <a:pt x="72774" y="113684"/>
                    <a:pt x="73548" y="113684"/>
                    <a:pt x="72774" y="113684"/>
                  </a:cubicBezTo>
                  <a:cubicBezTo>
                    <a:pt x="72774" y="113684"/>
                    <a:pt x="72000" y="114473"/>
                    <a:pt x="72000" y="114473"/>
                  </a:cubicBezTo>
                  <a:cubicBezTo>
                    <a:pt x="71225" y="116052"/>
                    <a:pt x="71225" y="116052"/>
                    <a:pt x="71225" y="116052"/>
                  </a:cubicBezTo>
                  <a:cubicBezTo>
                    <a:pt x="71225" y="116052"/>
                    <a:pt x="72000" y="116842"/>
                    <a:pt x="72774" y="116842"/>
                  </a:cubicBezTo>
                  <a:cubicBezTo>
                    <a:pt x="72774" y="116842"/>
                    <a:pt x="73548" y="116842"/>
                    <a:pt x="73548" y="116842"/>
                  </a:cubicBezTo>
                  <a:cubicBezTo>
                    <a:pt x="75096" y="118421"/>
                    <a:pt x="75096" y="118421"/>
                    <a:pt x="75096" y="118421"/>
                  </a:cubicBezTo>
                  <a:cubicBezTo>
                    <a:pt x="75096" y="120000"/>
                    <a:pt x="75096" y="120000"/>
                    <a:pt x="75096" y="120000"/>
                  </a:cubicBezTo>
                  <a:lnTo>
                    <a:pt x="76645" y="120000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3" name="Shape 2034"/>
            <p:cNvSpPr/>
            <p:nvPr/>
          </p:nvSpPr>
          <p:spPr>
            <a:xfrm>
              <a:off x="5187582" y="2730091"/>
              <a:ext cx="547516" cy="29405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500" y="24360"/>
                  </a:moveTo>
                  <a:cubicBezTo>
                    <a:pt x="22000" y="24360"/>
                    <a:pt x="25000" y="19849"/>
                    <a:pt x="25000" y="19849"/>
                  </a:cubicBezTo>
                  <a:cubicBezTo>
                    <a:pt x="28000" y="18045"/>
                    <a:pt x="28000" y="18045"/>
                    <a:pt x="28000" y="18045"/>
                  </a:cubicBezTo>
                  <a:cubicBezTo>
                    <a:pt x="29000" y="16240"/>
                    <a:pt x="29000" y="16240"/>
                    <a:pt x="29000" y="16240"/>
                  </a:cubicBezTo>
                  <a:cubicBezTo>
                    <a:pt x="30000" y="12631"/>
                    <a:pt x="30000" y="12631"/>
                    <a:pt x="30000" y="12631"/>
                  </a:cubicBezTo>
                  <a:cubicBezTo>
                    <a:pt x="30000" y="12631"/>
                    <a:pt x="29500" y="10827"/>
                    <a:pt x="31000" y="10827"/>
                  </a:cubicBezTo>
                  <a:cubicBezTo>
                    <a:pt x="32500" y="10827"/>
                    <a:pt x="37000" y="9022"/>
                    <a:pt x="37000" y="9022"/>
                  </a:cubicBezTo>
                  <a:cubicBezTo>
                    <a:pt x="37500" y="7218"/>
                    <a:pt x="37500" y="7218"/>
                    <a:pt x="37500" y="7218"/>
                  </a:cubicBezTo>
                  <a:cubicBezTo>
                    <a:pt x="36500" y="4511"/>
                    <a:pt x="36500" y="4511"/>
                    <a:pt x="36500" y="4511"/>
                  </a:cubicBezTo>
                  <a:cubicBezTo>
                    <a:pt x="36500" y="4511"/>
                    <a:pt x="36500" y="902"/>
                    <a:pt x="36500" y="902"/>
                  </a:cubicBezTo>
                  <a:cubicBezTo>
                    <a:pt x="37000" y="0"/>
                    <a:pt x="39000" y="0"/>
                    <a:pt x="40000" y="0"/>
                  </a:cubicBezTo>
                  <a:cubicBezTo>
                    <a:pt x="41000" y="902"/>
                    <a:pt x="42000" y="1804"/>
                    <a:pt x="42500" y="2706"/>
                  </a:cubicBezTo>
                  <a:cubicBezTo>
                    <a:pt x="42500" y="3609"/>
                    <a:pt x="42500" y="2706"/>
                    <a:pt x="42500" y="4511"/>
                  </a:cubicBezTo>
                  <a:cubicBezTo>
                    <a:pt x="42500" y="6315"/>
                    <a:pt x="42500" y="8120"/>
                    <a:pt x="42500" y="8120"/>
                  </a:cubicBezTo>
                  <a:cubicBezTo>
                    <a:pt x="42500" y="8120"/>
                    <a:pt x="43000" y="9022"/>
                    <a:pt x="43500" y="9924"/>
                  </a:cubicBezTo>
                  <a:cubicBezTo>
                    <a:pt x="44500" y="9924"/>
                    <a:pt x="45500" y="11729"/>
                    <a:pt x="45500" y="10827"/>
                  </a:cubicBezTo>
                  <a:cubicBezTo>
                    <a:pt x="45500" y="10827"/>
                    <a:pt x="46000" y="9924"/>
                    <a:pt x="46500" y="9022"/>
                  </a:cubicBezTo>
                  <a:cubicBezTo>
                    <a:pt x="46500" y="9022"/>
                    <a:pt x="46500" y="9022"/>
                    <a:pt x="46500" y="9022"/>
                  </a:cubicBezTo>
                  <a:cubicBezTo>
                    <a:pt x="46500" y="10827"/>
                    <a:pt x="47000" y="9924"/>
                    <a:pt x="47500" y="9924"/>
                  </a:cubicBezTo>
                  <a:cubicBezTo>
                    <a:pt x="48000" y="9924"/>
                    <a:pt x="50000" y="8120"/>
                    <a:pt x="50000" y="8120"/>
                  </a:cubicBezTo>
                  <a:cubicBezTo>
                    <a:pt x="50000" y="8120"/>
                    <a:pt x="49500" y="5413"/>
                    <a:pt x="49500" y="5413"/>
                  </a:cubicBezTo>
                  <a:cubicBezTo>
                    <a:pt x="49500" y="4511"/>
                    <a:pt x="49500" y="3609"/>
                    <a:pt x="49500" y="2706"/>
                  </a:cubicBezTo>
                  <a:cubicBezTo>
                    <a:pt x="50000" y="1804"/>
                    <a:pt x="50000" y="1804"/>
                    <a:pt x="50000" y="1804"/>
                  </a:cubicBezTo>
                  <a:cubicBezTo>
                    <a:pt x="50500" y="1804"/>
                    <a:pt x="51500" y="2706"/>
                    <a:pt x="51500" y="2706"/>
                  </a:cubicBezTo>
                  <a:cubicBezTo>
                    <a:pt x="51500" y="2706"/>
                    <a:pt x="52500" y="3609"/>
                    <a:pt x="53000" y="3609"/>
                  </a:cubicBezTo>
                  <a:cubicBezTo>
                    <a:pt x="54000" y="3609"/>
                    <a:pt x="53500" y="5413"/>
                    <a:pt x="53500" y="5413"/>
                  </a:cubicBezTo>
                  <a:cubicBezTo>
                    <a:pt x="53500" y="5413"/>
                    <a:pt x="54000" y="8120"/>
                    <a:pt x="55000" y="9022"/>
                  </a:cubicBezTo>
                  <a:cubicBezTo>
                    <a:pt x="56000" y="9924"/>
                    <a:pt x="56000" y="10827"/>
                    <a:pt x="56000" y="11729"/>
                  </a:cubicBezTo>
                  <a:cubicBezTo>
                    <a:pt x="56500" y="11729"/>
                    <a:pt x="57500" y="11729"/>
                    <a:pt x="57500" y="11729"/>
                  </a:cubicBezTo>
                  <a:cubicBezTo>
                    <a:pt x="59000" y="10827"/>
                    <a:pt x="59000" y="10827"/>
                    <a:pt x="59000" y="10827"/>
                  </a:cubicBezTo>
                  <a:cubicBezTo>
                    <a:pt x="59000" y="10827"/>
                    <a:pt x="60000" y="11729"/>
                    <a:pt x="60500" y="13533"/>
                  </a:cubicBezTo>
                  <a:cubicBezTo>
                    <a:pt x="60500" y="14436"/>
                    <a:pt x="62000" y="14436"/>
                    <a:pt x="62500" y="13533"/>
                  </a:cubicBezTo>
                  <a:cubicBezTo>
                    <a:pt x="63000" y="13533"/>
                    <a:pt x="63000" y="13533"/>
                    <a:pt x="63000" y="13533"/>
                  </a:cubicBezTo>
                  <a:cubicBezTo>
                    <a:pt x="63500" y="14436"/>
                    <a:pt x="63500" y="14436"/>
                    <a:pt x="63500" y="14436"/>
                  </a:cubicBezTo>
                  <a:cubicBezTo>
                    <a:pt x="63500" y="14436"/>
                    <a:pt x="64500" y="18045"/>
                    <a:pt x="66000" y="15338"/>
                  </a:cubicBezTo>
                  <a:cubicBezTo>
                    <a:pt x="67500" y="12631"/>
                    <a:pt x="66500" y="15338"/>
                    <a:pt x="66500" y="15338"/>
                  </a:cubicBezTo>
                  <a:cubicBezTo>
                    <a:pt x="66500" y="15338"/>
                    <a:pt x="67500" y="18045"/>
                    <a:pt x="68000" y="18045"/>
                  </a:cubicBezTo>
                  <a:cubicBezTo>
                    <a:pt x="69000" y="18045"/>
                    <a:pt x="69000" y="18045"/>
                    <a:pt x="69000" y="18045"/>
                  </a:cubicBezTo>
                  <a:cubicBezTo>
                    <a:pt x="71000" y="16240"/>
                    <a:pt x="71000" y="16240"/>
                    <a:pt x="71000" y="16240"/>
                  </a:cubicBezTo>
                  <a:cubicBezTo>
                    <a:pt x="72500" y="15338"/>
                    <a:pt x="72500" y="15338"/>
                    <a:pt x="72500" y="15338"/>
                  </a:cubicBezTo>
                  <a:cubicBezTo>
                    <a:pt x="72500" y="15338"/>
                    <a:pt x="74000" y="15338"/>
                    <a:pt x="73500" y="19849"/>
                  </a:cubicBezTo>
                  <a:cubicBezTo>
                    <a:pt x="73500" y="23458"/>
                    <a:pt x="73000" y="22556"/>
                    <a:pt x="73000" y="22556"/>
                  </a:cubicBezTo>
                  <a:cubicBezTo>
                    <a:pt x="72000" y="25263"/>
                    <a:pt x="72000" y="25263"/>
                    <a:pt x="72000" y="25263"/>
                  </a:cubicBezTo>
                  <a:cubicBezTo>
                    <a:pt x="72000" y="27969"/>
                    <a:pt x="72000" y="27969"/>
                    <a:pt x="72000" y="27969"/>
                  </a:cubicBezTo>
                  <a:cubicBezTo>
                    <a:pt x="72000" y="27969"/>
                    <a:pt x="72500" y="27969"/>
                    <a:pt x="73000" y="27969"/>
                  </a:cubicBezTo>
                  <a:cubicBezTo>
                    <a:pt x="73500" y="27969"/>
                    <a:pt x="74000" y="31578"/>
                    <a:pt x="74000" y="31578"/>
                  </a:cubicBezTo>
                  <a:cubicBezTo>
                    <a:pt x="75500" y="32481"/>
                    <a:pt x="75500" y="32481"/>
                    <a:pt x="75500" y="32481"/>
                  </a:cubicBezTo>
                  <a:cubicBezTo>
                    <a:pt x="75500" y="32481"/>
                    <a:pt x="76000" y="33383"/>
                    <a:pt x="77000" y="34285"/>
                  </a:cubicBezTo>
                  <a:cubicBezTo>
                    <a:pt x="77500" y="35187"/>
                    <a:pt x="78000" y="36992"/>
                    <a:pt x="78000" y="36992"/>
                  </a:cubicBezTo>
                  <a:cubicBezTo>
                    <a:pt x="78000" y="36992"/>
                    <a:pt x="78500" y="40601"/>
                    <a:pt x="79000" y="41503"/>
                  </a:cubicBezTo>
                  <a:cubicBezTo>
                    <a:pt x="79000" y="43308"/>
                    <a:pt x="82000" y="39699"/>
                    <a:pt x="82000" y="39699"/>
                  </a:cubicBezTo>
                  <a:cubicBezTo>
                    <a:pt x="82500" y="35187"/>
                    <a:pt x="82500" y="35187"/>
                    <a:pt x="82500" y="35187"/>
                  </a:cubicBezTo>
                  <a:cubicBezTo>
                    <a:pt x="85500" y="33383"/>
                    <a:pt x="85500" y="33383"/>
                    <a:pt x="85500" y="33383"/>
                  </a:cubicBezTo>
                  <a:cubicBezTo>
                    <a:pt x="84500" y="27969"/>
                    <a:pt x="84500" y="27969"/>
                    <a:pt x="84500" y="27969"/>
                  </a:cubicBezTo>
                  <a:cubicBezTo>
                    <a:pt x="83500" y="24360"/>
                    <a:pt x="83500" y="24360"/>
                    <a:pt x="83500" y="24360"/>
                  </a:cubicBezTo>
                  <a:cubicBezTo>
                    <a:pt x="83500" y="24360"/>
                    <a:pt x="85500" y="25263"/>
                    <a:pt x="86000" y="24360"/>
                  </a:cubicBezTo>
                  <a:cubicBezTo>
                    <a:pt x="86500" y="24360"/>
                    <a:pt x="88000" y="25263"/>
                    <a:pt x="88000" y="25263"/>
                  </a:cubicBezTo>
                  <a:cubicBezTo>
                    <a:pt x="93500" y="29774"/>
                    <a:pt x="93500" y="29774"/>
                    <a:pt x="93500" y="29774"/>
                  </a:cubicBezTo>
                  <a:cubicBezTo>
                    <a:pt x="93500" y="29774"/>
                    <a:pt x="95000" y="28872"/>
                    <a:pt x="96000" y="28872"/>
                  </a:cubicBezTo>
                  <a:cubicBezTo>
                    <a:pt x="97000" y="27969"/>
                    <a:pt x="97000" y="26165"/>
                    <a:pt x="97000" y="26165"/>
                  </a:cubicBezTo>
                  <a:cubicBezTo>
                    <a:pt x="97000" y="26165"/>
                    <a:pt x="97500" y="27067"/>
                    <a:pt x="98500" y="28872"/>
                  </a:cubicBezTo>
                  <a:cubicBezTo>
                    <a:pt x="99000" y="31578"/>
                    <a:pt x="98000" y="30676"/>
                    <a:pt x="98000" y="31578"/>
                  </a:cubicBezTo>
                  <a:cubicBezTo>
                    <a:pt x="97500" y="32481"/>
                    <a:pt x="96500" y="35187"/>
                    <a:pt x="96500" y="35187"/>
                  </a:cubicBezTo>
                  <a:cubicBezTo>
                    <a:pt x="96500" y="35187"/>
                    <a:pt x="97000" y="36992"/>
                    <a:pt x="98000" y="36992"/>
                  </a:cubicBezTo>
                  <a:cubicBezTo>
                    <a:pt x="98500" y="36992"/>
                    <a:pt x="98000" y="37894"/>
                    <a:pt x="99000" y="39699"/>
                  </a:cubicBezTo>
                  <a:cubicBezTo>
                    <a:pt x="99500" y="40601"/>
                    <a:pt x="101500" y="41503"/>
                    <a:pt x="101500" y="41503"/>
                  </a:cubicBezTo>
                  <a:cubicBezTo>
                    <a:pt x="103000" y="41503"/>
                    <a:pt x="103000" y="41503"/>
                    <a:pt x="103000" y="41503"/>
                  </a:cubicBezTo>
                  <a:cubicBezTo>
                    <a:pt x="104500" y="38796"/>
                    <a:pt x="104500" y="38796"/>
                    <a:pt x="104500" y="38796"/>
                  </a:cubicBezTo>
                  <a:cubicBezTo>
                    <a:pt x="104500" y="38796"/>
                    <a:pt x="106000" y="39699"/>
                    <a:pt x="106500" y="40601"/>
                  </a:cubicBezTo>
                  <a:cubicBezTo>
                    <a:pt x="107000" y="41503"/>
                    <a:pt x="109500" y="43308"/>
                    <a:pt x="109500" y="43308"/>
                  </a:cubicBezTo>
                  <a:cubicBezTo>
                    <a:pt x="113500" y="41503"/>
                    <a:pt x="113500" y="41503"/>
                    <a:pt x="113500" y="41503"/>
                  </a:cubicBezTo>
                  <a:cubicBezTo>
                    <a:pt x="114000" y="48721"/>
                    <a:pt x="114000" y="48721"/>
                    <a:pt x="114000" y="48721"/>
                  </a:cubicBezTo>
                  <a:cubicBezTo>
                    <a:pt x="114000" y="48721"/>
                    <a:pt x="115000" y="48721"/>
                    <a:pt x="116000" y="51428"/>
                  </a:cubicBezTo>
                  <a:cubicBezTo>
                    <a:pt x="117000" y="53233"/>
                    <a:pt x="116500" y="51428"/>
                    <a:pt x="116500" y="51428"/>
                  </a:cubicBezTo>
                  <a:cubicBezTo>
                    <a:pt x="116500" y="51428"/>
                    <a:pt x="118500" y="53233"/>
                    <a:pt x="118500" y="54135"/>
                  </a:cubicBezTo>
                  <a:cubicBezTo>
                    <a:pt x="118500" y="55939"/>
                    <a:pt x="119000" y="57744"/>
                    <a:pt x="119000" y="57744"/>
                  </a:cubicBezTo>
                  <a:cubicBezTo>
                    <a:pt x="120000" y="61353"/>
                    <a:pt x="120000" y="61353"/>
                    <a:pt x="120000" y="61353"/>
                  </a:cubicBezTo>
                  <a:cubicBezTo>
                    <a:pt x="119500" y="61353"/>
                    <a:pt x="118500" y="61353"/>
                    <a:pt x="118000" y="61353"/>
                  </a:cubicBezTo>
                  <a:cubicBezTo>
                    <a:pt x="118000" y="61353"/>
                    <a:pt x="117500" y="62255"/>
                    <a:pt x="117000" y="62255"/>
                  </a:cubicBezTo>
                  <a:cubicBezTo>
                    <a:pt x="116500" y="62255"/>
                    <a:pt x="116000" y="62255"/>
                    <a:pt x="116000" y="62255"/>
                  </a:cubicBezTo>
                  <a:cubicBezTo>
                    <a:pt x="114500" y="63157"/>
                    <a:pt x="114500" y="63157"/>
                    <a:pt x="114500" y="63157"/>
                  </a:cubicBezTo>
                  <a:cubicBezTo>
                    <a:pt x="113500" y="64962"/>
                    <a:pt x="113500" y="64962"/>
                    <a:pt x="113500" y="64962"/>
                  </a:cubicBezTo>
                  <a:cubicBezTo>
                    <a:pt x="112500" y="66766"/>
                    <a:pt x="112500" y="66766"/>
                    <a:pt x="112500" y="66766"/>
                  </a:cubicBezTo>
                  <a:cubicBezTo>
                    <a:pt x="111500" y="70375"/>
                    <a:pt x="111500" y="70375"/>
                    <a:pt x="111500" y="70375"/>
                  </a:cubicBezTo>
                  <a:cubicBezTo>
                    <a:pt x="111500" y="72180"/>
                    <a:pt x="111500" y="72180"/>
                    <a:pt x="111500" y="72180"/>
                  </a:cubicBezTo>
                  <a:cubicBezTo>
                    <a:pt x="110000" y="74887"/>
                    <a:pt x="110000" y="74887"/>
                    <a:pt x="110000" y="74887"/>
                  </a:cubicBezTo>
                  <a:cubicBezTo>
                    <a:pt x="110000" y="74887"/>
                    <a:pt x="108500" y="76691"/>
                    <a:pt x="108000" y="76691"/>
                  </a:cubicBezTo>
                  <a:cubicBezTo>
                    <a:pt x="107500" y="76691"/>
                    <a:pt x="107500" y="80300"/>
                    <a:pt x="107500" y="80300"/>
                  </a:cubicBezTo>
                  <a:cubicBezTo>
                    <a:pt x="108000" y="83007"/>
                    <a:pt x="108000" y="83007"/>
                    <a:pt x="108000" y="83007"/>
                  </a:cubicBezTo>
                  <a:cubicBezTo>
                    <a:pt x="107500" y="87518"/>
                    <a:pt x="107500" y="87518"/>
                    <a:pt x="107500" y="87518"/>
                  </a:cubicBezTo>
                  <a:cubicBezTo>
                    <a:pt x="105000" y="89323"/>
                    <a:pt x="105000" y="89323"/>
                    <a:pt x="105000" y="89323"/>
                  </a:cubicBezTo>
                  <a:cubicBezTo>
                    <a:pt x="104500" y="92030"/>
                    <a:pt x="104500" y="92030"/>
                    <a:pt x="104500" y="92030"/>
                  </a:cubicBezTo>
                  <a:cubicBezTo>
                    <a:pt x="104000" y="93834"/>
                    <a:pt x="104000" y="93834"/>
                    <a:pt x="104000" y="93834"/>
                  </a:cubicBezTo>
                  <a:cubicBezTo>
                    <a:pt x="104000" y="93834"/>
                    <a:pt x="103000" y="94736"/>
                    <a:pt x="103000" y="94736"/>
                  </a:cubicBezTo>
                  <a:cubicBezTo>
                    <a:pt x="102500" y="93834"/>
                    <a:pt x="102500" y="96541"/>
                    <a:pt x="102500" y="96541"/>
                  </a:cubicBezTo>
                  <a:cubicBezTo>
                    <a:pt x="101500" y="98345"/>
                    <a:pt x="101500" y="98345"/>
                    <a:pt x="101500" y="98345"/>
                  </a:cubicBezTo>
                  <a:cubicBezTo>
                    <a:pt x="101000" y="98345"/>
                    <a:pt x="101000" y="98345"/>
                    <a:pt x="101000" y="98345"/>
                  </a:cubicBezTo>
                  <a:cubicBezTo>
                    <a:pt x="100000" y="99248"/>
                    <a:pt x="100000" y="99248"/>
                    <a:pt x="100000" y="99248"/>
                  </a:cubicBezTo>
                  <a:cubicBezTo>
                    <a:pt x="100000" y="99248"/>
                    <a:pt x="99500" y="100150"/>
                    <a:pt x="99000" y="100150"/>
                  </a:cubicBezTo>
                  <a:cubicBezTo>
                    <a:pt x="99000" y="101052"/>
                    <a:pt x="98500" y="100150"/>
                    <a:pt x="98500" y="100150"/>
                  </a:cubicBezTo>
                  <a:cubicBezTo>
                    <a:pt x="98500" y="100150"/>
                    <a:pt x="97500" y="99248"/>
                    <a:pt x="97000" y="99248"/>
                  </a:cubicBezTo>
                  <a:cubicBezTo>
                    <a:pt x="97000" y="99248"/>
                    <a:pt x="97000" y="100150"/>
                    <a:pt x="96500" y="100150"/>
                  </a:cubicBezTo>
                  <a:cubicBezTo>
                    <a:pt x="96500" y="100150"/>
                    <a:pt x="96500" y="100150"/>
                    <a:pt x="96000" y="101052"/>
                  </a:cubicBezTo>
                  <a:cubicBezTo>
                    <a:pt x="96000" y="101052"/>
                    <a:pt x="95500" y="100150"/>
                    <a:pt x="95000" y="100150"/>
                  </a:cubicBezTo>
                  <a:cubicBezTo>
                    <a:pt x="94500" y="100150"/>
                    <a:pt x="94500" y="99248"/>
                    <a:pt x="94500" y="99248"/>
                  </a:cubicBezTo>
                  <a:cubicBezTo>
                    <a:pt x="94000" y="99248"/>
                    <a:pt x="93500" y="99248"/>
                    <a:pt x="93500" y="99248"/>
                  </a:cubicBezTo>
                  <a:cubicBezTo>
                    <a:pt x="93000" y="99248"/>
                    <a:pt x="92500" y="99248"/>
                    <a:pt x="92500" y="99248"/>
                  </a:cubicBezTo>
                  <a:cubicBezTo>
                    <a:pt x="92500" y="99248"/>
                    <a:pt x="92000" y="100150"/>
                    <a:pt x="92000" y="100150"/>
                  </a:cubicBezTo>
                  <a:cubicBezTo>
                    <a:pt x="91000" y="101052"/>
                    <a:pt x="91000" y="101052"/>
                    <a:pt x="91000" y="101052"/>
                  </a:cubicBezTo>
                  <a:cubicBezTo>
                    <a:pt x="91000" y="101052"/>
                    <a:pt x="91000" y="101954"/>
                    <a:pt x="91000" y="102857"/>
                  </a:cubicBezTo>
                  <a:cubicBezTo>
                    <a:pt x="91000" y="102857"/>
                    <a:pt x="91000" y="103759"/>
                    <a:pt x="90500" y="103759"/>
                  </a:cubicBezTo>
                  <a:cubicBezTo>
                    <a:pt x="90500" y="103759"/>
                    <a:pt x="90000" y="105563"/>
                    <a:pt x="90000" y="105563"/>
                  </a:cubicBezTo>
                  <a:cubicBezTo>
                    <a:pt x="90000" y="105563"/>
                    <a:pt x="90000" y="108270"/>
                    <a:pt x="89500" y="108270"/>
                  </a:cubicBezTo>
                  <a:cubicBezTo>
                    <a:pt x="89500" y="108270"/>
                    <a:pt x="89500" y="109172"/>
                    <a:pt x="89500" y="109172"/>
                  </a:cubicBezTo>
                  <a:cubicBezTo>
                    <a:pt x="89500" y="110977"/>
                    <a:pt x="89500" y="110977"/>
                    <a:pt x="89500" y="110977"/>
                  </a:cubicBezTo>
                  <a:cubicBezTo>
                    <a:pt x="89500" y="111879"/>
                    <a:pt x="89500" y="111879"/>
                    <a:pt x="89500" y="111879"/>
                  </a:cubicBezTo>
                  <a:cubicBezTo>
                    <a:pt x="88500" y="110977"/>
                    <a:pt x="88500" y="110977"/>
                    <a:pt x="88500" y="110977"/>
                  </a:cubicBezTo>
                  <a:cubicBezTo>
                    <a:pt x="87500" y="105563"/>
                    <a:pt x="87500" y="105563"/>
                    <a:pt x="87500" y="105563"/>
                  </a:cubicBezTo>
                  <a:cubicBezTo>
                    <a:pt x="87500" y="105563"/>
                    <a:pt x="86000" y="106466"/>
                    <a:pt x="84500" y="106466"/>
                  </a:cubicBezTo>
                  <a:cubicBezTo>
                    <a:pt x="83000" y="105563"/>
                    <a:pt x="82000" y="103759"/>
                    <a:pt x="81500" y="103759"/>
                  </a:cubicBezTo>
                  <a:cubicBezTo>
                    <a:pt x="81500" y="102857"/>
                    <a:pt x="79500" y="103759"/>
                    <a:pt x="79500" y="103759"/>
                  </a:cubicBezTo>
                  <a:cubicBezTo>
                    <a:pt x="79000" y="107368"/>
                    <a:pt x="79000" y="107368"/>
                    <a:pt x="79000" y="107368"/>
                  </a:cubicBezTo>
                  <a:cubicBezTo>
                    <a:pt x="73500" y="106466"/>
                    <a:pt x="73500" y="106466"/>
                    <a:pt x="73500" y="106466"/>
                  </a:cubicBezTo>
                  <a:cubicBezTo>
                    <a:pt x="71500" y="104661"/>
                    <a:pt x="71500" y="104661"/>
                    <a:pt x="71500" y="104661"/>
                  </a:cubicBezTo>
                  <a:cubicBezTo>
                    <a:pt x="68000" y="101954"/>
                    <a:pt x="68000" y="101954"/>
                    <a:pt x="68000" y="101954"/>
                  </a:cubicBezTo>
                  <a:cubicBezTo>
                    <a:pt x="67000" y="101052"/>
                    <a:pt x="67000" y="101052"/>
                    <a:pt x="67000" y="101052"/>
                  </a:cubicBezTo>
                  <a:cubicBezTo>
                    <a:pt x="67000" y="101052"/>
                    <a:pt x="65000" y="101052"/>
                    <a:pt x="64500" y="101052"/>
                  </a:cubicBezTo>
                  <a:cubicBezTo>
                    <a:pt x="64000" y="101052"/>
                    <a:pt x="62000" y="100150"/>
                    <a:pt x="62000" y="100150"/>
                  </a:cubicBezTo>
                  <a:cubicBezTo>
                    <a:pt x="62000" y="100150"/>
                    <a:pt x="60000" y="99248"/>
                    <a:pt x="59500" y="99248"/>
                  </a:cubicBezTo>
                  <a:cubicBezTo>
                    <a:pt x="59000" y="99248"/>
                    <a:pt x="58000" y="99248"/>
                    <a:pt x="58000" y="99248"/>
                  </a:cubicBezTo>
                  <a:cubicBezTo>
                    <a:pt x="55500" y="98345"/>
                    <a:pt x="55500" y="98345"/>
                    <a:pt x="55500" y="98345"/>
                  </a:cubicBezTo>
                  <a:cubicBezTo>
                    <a:pt x="55500" y="98345"/>
                    <a:pt x="54000" y="96541"/>
                    <a:pt x="53000" y="97443"/>
                  </a:cubicBezTo>
                  <a:cubicBezTo>
                    <a:pt x="52500" y="97443"/>
                    <a:pt x="53000" y="100150"/>
                    <a:pt x="53000" y="100150"/>
                  </a:cubicBezTo>
                  <a:cubicBezTo>
                    <a:pt x="53000" y="100150"/>
                    <a:pt x="52500" y="104661"/>
                    <a:pt x="53000" y="105563"/>
                  </a:cubicBezTo>
                  <a:cubicBezTo>
                    <a:pt x="53000" y="107368"/>
                    <a:pt x="52000" y="109172"/>
                    <a:pt x="52000" y="109172"/>
                  </a:cubicBezTo>
                  <a:cubicBezTo>
                    <a:pt x="50500" y="110075"/>
                    <a:pt x="50500" y="110075"/>
                    <a:pt x="50500" y="110075"/>
                  </a:cubicBezTo>
                  <a:cubicBezTo>
                    <a:pt x="50500" y="110075"/>
                    <a:pt x="49500" y="112781"/>
                    <a:pt x="49000" y="112781"/>
                  </a:cubicBezTo>
                  <a:cubicBezTo>
                    <a:pt x="48500" y="112781"/>
                    <a:pt x="48500" y="118195"/>
                    <a:pt x="48500" y="118195"/>
                  </a:cubicBezTo>
                  <a:cubicBezTo>
                    <a:pt x="46500" y="119097"/>
                    <a:pt x="46500" y="119097"/>
                    <a:pt x="46500" y="119097"/>
                  </a:cubicBezTo>
                  <a:cubicBezTo>
                    <a:pt x="44500" y="116390"/>
                    <a:pt x="44500" y="116390"/>
                    <a:pt x="44500" y="116390"/>
                  </a:cubicBezTo>
                  <a:cubicBezTo>
                    <a:pt x="43000" y="118195"/>
                    <a:pt x="43000" y="118195"/>
                    <a:pt x="43000" y="118195"/>
                  </a:cubicBezTo>
                  <a:cubicBezTo>
                    <a:pt x="42500" y="120000"/>
                    <a:pt x="42500" y="120000"/>
                    <a:pt x="42500" y="120000"/>
                  </a:cubicBezTo>
                  <a:cubicBezTo>
                    <a:pt x="42500" y="120000"/>
                    <a:pt x="40000" y="119097"/>
                    <a:pt x="40000" y="119097"/>
                  </a:cubicBezTo>
                  <a:cubicBezTo>
                    <a:pt x="39500" y="119097"/>
                    <a:pt x="37000" y="118195"/>
                    <a:pt x="37000" y="118195"/>
                  </a:cubicBezTo>
                  <a:cubicBezTo>
                    <a:pt x="37000" y="118195"/>
                    <a:pt x="35500" y="115488"/>
                    <a:pt x="35000" y="114586"/>
                  </a:cubicBezTo>
                  <a:cubicBezTo>
                    <a:pt x="34500" y="113684"/>
                    <a:pt x="32500" y="111879"/>
                    <a:pt x="32000" y="110977"/>
                  </a:cubicBezTo>
                  <a:cubicBezTo>
                    <a:pt x="31500" y="110977"/>
                    <a:pt x="31500" y="110075"/>
                    <a:pt x="31500" y="110075"/>
                  </a:cubicBezTo>
                  <a:cubicBezTo>
                    <a:pt x="30500" y="108270"/>
                    <a:pt x="31000" y="108270"/>
                    <a:pt x="30000" y="107368"/>
                  </a:cubicBezTo>
                  <a:cubicBezTo>
                    <a:pt x="29000" y="106466"/>
                    <a:pt x="28000" y="106466"/>
                    <a:pt x="28000" y="105563"/>
                  </a:cubicBezTo>
                  <a:cubicBezTo>
                    <a:pt x="28000" y="104661"/>
                    <a:pt x="28500" y="102857"/>
                    <a:pt x="27500" y="102857"/>
                  </a:cubicBezTo>
                  <a:cubicBezTo>
                    <a:pt x="26000" y="103759"/>
                    <a:pt x="25500" y="104661"/>
                    <a:pt x="25000" y="103759"/>
                  </a:cubicBezTo>
                  <a:cubicBezTo>
                    <a:pt x="24000" y="101954"/>
                    <a:pt x="24000" y="101954"/>
                    <a:pt x="23500" y="100150"/>
                  </a:cubicBezTo>
                  <a:cubicBezTo>
                    <a:pt x="23500" y="98345"/>
                    <a:pt x="23500" y="96541"/>
                    <a:pt x="22500" y="96541"/>
                  </a:cubicBezTo>
                  <a:cubicBezTo>
                    <a:pt x="21500" y="96541"/>
                    <a:pt x="21000" y="95639"/>
                    <a:pt x="21000" y="95639"/>
                  </a:cubicBezTo>
                  <a:cubicBezTo>
                    <a:pt x="21000" y="95639"/>
                    <a:pt x="20500" y="96541"/>
                    <a:pt x="20000" y="94736"/>
                  </a:cubicBezTo>
                  <a:cubicBezTo>
                    <a:pt x="19500" y="92030"/>
                    <a:pt x="21000" y="93834"/>
                    <a:pt x="19500" y="90225"/>
                  </a:cubicBezTo>
                  <a:cubicBezTo>
                    <a:pt x="17500" y="87518"/>
                    <a:pt x="18000" y="88421"/>
                    <a:pt x="17000" y="86616"/>
                  </a:cubicBezTo>
                  <a:cubicBezTo>
                    <a:pt x="16000" y="84812"/>
                    <a:pt x="13000" y="86616"/>
                    <a:pt x="13000" y="86616"/>
                  </a:cubicBezTo>
                  <a:cubicBezTo>
                    <a:pt x="13000" y="86616"/>
                    <a:pt x="13000" y="85714"/>
                    <a:pt x="12000" y="83909"/>
                  </a:cubicBezTo>
                  <a:cubicBezTo>
                    <a:pt x="11000" y="82105"/>
                    <a:pt x="11500" y="83007"/>
                    <a:pt x="10500" y="81203"/>
                  </a:cubicBezTo>
                  <a:cubicBezTo>
                    <a:pt x="9500" y="78496"/>
                    <a:pt x="9500" y="79398"/>
                    <a:pt x="9500" y="76691"/>
                  </a:cubicBezTo>
                  <a:cubicBezTo>
                    <a:pt x="9000" y="73984"/>
                    <a:pt x="9500" y="73082"/>
                    <a:pt x="8500" y="71278"/>
                  </a:cubicBezTo>
                  <a:cubicBezTo>
                    <a:pt x="7500" y="69473"/>
                    <a:pt x="7000" y="67669"/>
                    <a:pt x="7000" y="67669"/>
                  </a:cubicBezTo>
                  <a:cubicBezTo>
                    <a:pt x="7000" y="67669"/>
                    <a:pt x="6000" y="65864"/>
                    <a:pt x="7000" y="63157"/>
                  </a:cubicBezTo>
                  <a:cubicBezTo>
                    <a:pt x="8000" y="61353"/>
                    <a:pt x="8000" y="61353"/>
                    <a:pt x="8000" y="59548"/>
                  </a:cubicBezTo>
                  <a:cubicBezTo>
                    <a:pt x="8000" y="58646"/>
                    <a:pt x="8500" y="56842"/>
                    <a:pt x="7000" y="55037"/>
                  </a:cubicBezTo>
                  <a:cubicBezTo>
                    <a:pt x="5500" y="53233"/>
                    <a:pt x="5500" y="53233"/>
                    <a:pt x="4000" y="51428"/>
                  </a:cubicBezTo>
                  <a:cubicBezTo>
                    <a:pt x="3000" y="50526"/>
                    <a:pt x="2500" y="50526"/>
                    <a:pt x="2000" y="49624"/>
                  </a:cubicBezTo>
                  <a:cubicBezTo>
                    <a:pt x="1500" y="48721"/>
                    <a:pt x="500" y="42406"/>
                    <a:pt x="500" y="42406"/>
                  </a:cubicBezTo>
                  <a:cubicBezTo>
                    <a:pt x="0" y="39699"/>
                    <a:pt x="0" y="39699"/>
                    <a:pt x="0" y="39699"/>
                  </a:cubicBezTo>
                  <a:cubicBezTo>
                    <a:pt x="2500" y="39699"/>
                    <a:pt x="2500" y="39699"/>
                    <a:pt x="2500" y="39699"/>
                  </a:cubicBezTo>
                  <a:cubicBezTo>
                    <a:pt x="3000" y="43308"/>
                    <a:pt x="3000" y="43308"/>
                    <a:pt x="3000" y="43308"/>
                  </a:cubicBezTo>
                  <a:cubicBezTo>
                    <a:pt x="3500" y="46015"/>
                    <a:pt x="3500" y="46015"/>
                    <a:pt x="3500" y="46015"/>
                  </a:cubicBezTo>
                  <a:cubicBezTo>
                    <a:pt x="5000" y="40601"/>
                    <a:pt x="5000" y="40601"/>
                    <a:pt x="5000" y="40601"/>
                  </a:cubicBezTo>
                  <a:cubicBezTo>
                    <a:pt x="7000" y="36090"/>
                    <a:pt x="7000" y="36090"/>
                    <a:pt x="7000" y="36090"/>
                  </a:cubicBezTo>
                  <a:cubicBezTo>
                    <a:pt x="7000" y="36090"/>
                    <a:pt x="7000" y="36090"/>
                    <a:pt x="8500" y="36090"/>
                  </a:cubicBezTo>
                  <a:cubicBezTo>
                    <a:pt x="9500" y="36090"/>
                    <a:pt x="11000" y="34285"/>
                    <a:pt x="11500" y="34285"/>
                  </a:cubicBezTo>
                  <a:cubicBezTo>
                    <a:pt x="12500" y="34285"/>
                    <a:pt x="14000" y="35187"/>
                    <a:pt x="14500" y="35187"/>
                  </a:cubicBezTo>
                  <a:cubicBezTo>
                    <a:pt x="15500" y="34285"/>
                    <a:pt x="16000" y="34285"/>
                    <a:pt x="16000" y="32481"/>
                  </a:cubicBezTo>
                  <a:cubicBezTo>
                    <a:pt x="16500" y="31578"/>
                    <a:pt x="15500" y="29774"/>
                    <a:pt x="17500" y="28872"/>
                  </a:cubicBezTo>
                  <a:cubicBezTo>
                    <a:pt x="19000" y="27067"/>
                    <a:pt x="19500" y="27067"/>
                    <a:pt x="19500" y="27067"/>
                  </a:cubicBezTo>
                  <a:lnTo>
                    <a:pt x="21500" y="24360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5" name="Shape 2036"/>
            <p:cNvSpPr/>
            <p:nvPr/>
          </p:nvSpPr>
          <p:spPr>
            <a:xfrm>
              <a:off x="5769180" y="1991757"/>
              <a:ext cx="413385" cy="30897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33" y="22285"/>
                  </a:moveTo>
                  <a:cubicBezTo>
                    <a:pt x="15911" y="18857"/>
                    <a:pt x="15911" y="18857"/>
                    <a:pt x="15911" y="18857"/>
                  </a:cubicBezTo>
                  <a:cubicBezTo>
                    <a:pt x="17900" y="16285"/>
                    <a:pt x="17900" y="16285"/>
                    <a:pt x="17900" y="16285"/>
                  </a:cubicBezTo>
                  <a:cubicBezTo>
                    <a:pt x="22541" y="17142"/>
                    <a:pt x="22541" y="17142"/>
                    <a:pt x="22541" y="17142"/>
                  </a:cubicBezTo>
                  <a:cubicBezTo>
                    <a:pt x="22541" y="17142"/>
                    <a:pt x="25856" y="15428"/>
                    <a:pt x="26519" y="15428"/>
                  </a:cubicBezTo>
                  <a:cubicBezTo>
                    <a:pt x="27182" y="15428"/>
                    <a:pt x="31823" y="14571"/>
                    <a:pt x="31823" y="14571"/>
                  </a:cubicBezTo>
                  <a:cubicBezTo>
                    <a:pt x="34475" y="12000"/>
                    <a:pt x="34475" y="12000"/>
                    <a:pt x="34475" y="12000"/>
                  </a:cubicBezTo>
                  <a:cubicBezTo>
                    <a:pt x="34475" y="12000"/>
                    <a:pt x="36464" y="12857"/>
                    <a:pt x="36464" y="13714"/>
                  </a:cubicBezTo>
                  <a:cubicBezTo>
                    <a:pt x="37127" y="14571"/>
                    <a:pt x="39116" y="17142"/>
                    <a:pt x="39779" y="17142"/>
                  </a:cubicBezTo>
                  <a:cubicBezTo>
                    <a:pt x="40441" y="16285"/>
                    <a:pt x="41104" y="12857"/>
                    <a:pt x="41104" y="12857"/>
                  </a:cubicBezTo>
                  <a:cubicBezTo>
                    <a:pt x="45082" y="12000"/>
                    <a:pt x="45082" y="12000"/>
                    <a:pt x="45082" y="12000"/>
                  </a:cubicBezTo>
                  <a:cubicBezTo>
                    <a:pt x="48397" y="11142"/>
                    <a:pt x="48397" y="11142"/>
                    <a:pt x="48397" y="11142"/>
                  </a:cubicBezTo>
                  <a:cubicBezTo>
                    <a:pt x="48397" y="11142"/>
                    <a:pt x="48397" y="10285"/>
                    <a:pt x="49060" y="10285"/>
                  </a:cubicBezTo>
                  <a:cubicBezTo>
                    <a:pt x="49723" y="11142"/>
                    <a:pt x="53701" y="11142"/>
                    <a:pt x="53701" y="11142"/>
                  </a:cubicBezTo>
                  <a:cubicBezTo>
                    <a:pt x="57679" y="11142"/>
                    <a:pt x="57679" y="11142"/>
                    <a:pt x="57679" y="11142"/>
                  </a:cubicBezTo>
                  <a:cubicBezTo>
                    <a:pt x="57679" y="11142"/>
                    <a:pt x="60331" y="12857"/>
                    <a:pt x="60994" y="12857"/>
                  </a:cubicBezTo>
                  <a:cubicBezTo>
                    <a:pt x="60994" y="12000"/>
                    <a:pt x="62983" y="8571"/>
                    <a:pt x="62983" y="8571"/>
                  </a:cubicBezTo>
                  <a:cubicBezTo>
                    <a:pt x="66961" y="10285"/>
                    <a:pt x="66961" y="10285"/>
                    <a:pt x="66961" y="10285"/>
                  </a:cubicBezTo>
                  <a:cubicBezTo>
                    <a:pt x="67624" y="6857"/>
                    <a:pt x="67624" y="6857"/>
                    <a:pt x="67624" y="6857"/>
                  </a:cubicBezTo>
                  <a:cubicBezTo>
                    <a:pt x="67624" y="6857"/>
                    <a:pt x="69613" y="2571"/>
                    <a:pt x="69613" y="2571"/>
                  </a:cubicBezTo>
                  <a:cubicBezTo>
                    <a:pt x="70276" y="2571"/>
                    <a:pt x="72928" y="0"/>
                    <a:pt x="72928" y="0"/>
                  </a:cubicBezTo>
                  <a:cubicBezTo>
                    <a:pt x="74254" y="5142"/>
                    <a:pt x="74254" y="5142"/>
                    <a:pt x="74254" y="5142"/>
                  </a:cubicBezTo>
                  <a:cubicBezTo>
                    <a:pt x="76906" y="7714"/>
                    <a:pt x="76906" y="7714"/>
                    <a:pt x="76906" y="7714"/>
                  </a:cubicBezTo>
                  <a:cubicBezTo>
                    <a:pt x="77569" y="8571"/>
                    <a:pt x="77569" y="8571"/>
                    <a:pt x="77569" y="8571"/>
                  </a:cubicBezTo>
                  <a:cubicBezTo>
                    <a:pt x="80220" y="11142"/>
                    <a:pt x="80220" y="11142"/>
                    <a:pt x="80220" y="11142"/>
                  </a:cubicBezTo>
                  <a:cubicBezTo>
                    <a:pt x="84861" y="9428"/>
                    <a:pt x="84861" y="9428"/>
                    <a:pt x="84861" y="9428"/>
                  </a:cubicBezTo>
                  <a:cubicBezTo>
                    <a:pt x="87513" y="8571"/>
                    <a:pt x="87513" y="8571"/>
                    <a:pt x="87513" y="8571"/>
                  </a:cubicBezTo>
                  <a:cubicBezTo>
                    <a:pt x="89502" y="8571"/>
                    <a:pt x="89502" y="8571"/>
                    <a:pt x="89502" y="8571"/>
                  </a:cubicBezTo>
                  <a:cubicBezTo>
                    <a:pt x="90165" y="10285"/>
                    <a:pt x="90165" y="10285"/>
                    <a:pt x="90165" y="10285"/>
                  </a:cubicBezTo>
                  <a:cubicBezTo>
                    <a:pt x="92154" y="12000"/>
                    <a:pt x="92154" y="12000"/>
                    <a:pt x="92154" y="12000"/>
                  </a:cubicBezTo>
                  <a:cubicBezTo>
                    <a:pt x="95469" y="12000"/>
                    <a:pt x="95469" y="12000"/>
                    <a:pt x="95469" y="12000"/>
                  </a:cubicBezTo>
                  <a:cubicBezTo>
                    <a:pt x="96795" y="14571"/>
                    <a:pt x="96795" y="14571"/>
                    <a:pt x="96795" y="14571"/>
                  </a:cubicBezTo>
                  <a:cubicBezTo>
                    <a:pt x="99447" y="15428"/>
                    <a:pt x="99447" y="15428"/>
                    <a:pt x="99447" y="15428"/>
                  </a:cubicBezTo>
                  <a:cubicBezTo>
                    <a:pt x="101436" y="18857"/>
                    <a:pt x="101436" y="18857"/>
                    <a:pt x="101436" y="18857"/>
                  </a:cubicBezTo>
                  <a:cubicBezTo>
                    <a:pt x="103425" y="19714"/>
                    <a:pt x="103425" y="19714"/>
                    <a:pt x="103425" y="19714"/>
                  </a:cubicBezTo>
                  <a:cubicBezTo>
                    <a:pt x="104751" y="23142"/>
                    <a:pt x="104751" y="23142"/>
                    <a:pt x="104751" y="23142"/>
                  </a:cubicBezTo>
                  <a:cubicBezTo>
                    <a:pt x="107403" y="23142"/>
                    <a:pt x="107403" y="23142"/>
                    <a:pt x="107403" y="23142"/>
                  </a:cubicBezTo>
                  <a:cubicBezTo>
                    <a:pt x="110718" y="24000"/>
                    <a:pt x="110718" y="24000"/>
                    <a:pt x="110718" y="24000"/>
                  </a:cubicBezTo>
                  <a:cubicBezTo>
                    <a:pt x="112707" y="24000"/>
                    <a:pt x="112707" y="24000"/>
                    <a:pt x="112707" y="24000"/>
                  </a:cubicBezTo>
                  <a:cubicBezTo>
                    <a:pt x="112707" y="24000"/>
                    <a:pt x="112707" y="24000"/>
                    <a:pt x="112707" y="24000"/>
                  </a:cubicBezTo>
                  <a:cubicBezTo>
                    <a:pt x="113370" y="24000"/>
                    <a:pt x="113370" y="24000"/>
                    <a:pt x="113370" y="24000"/>
                  </a:cubicBezTo>
                  <a:cubicBezTo>
                    <a:pt x="114033" y="31714"/>
                    <a:pt x="114033" y="31714"/>
                    <a:pt x="114033" y="31714"/>
                  </a:cubicBezTo>
                  <a:cubicBezTo>
                    <a:pt x="112707" y="36000"/>
                    <a:pt x="112707" y="36000"/>
                    <a:pt x="112707" y="36000"/>
                  </a:cubicBezTo>
                  <a:cubicBezTo>
                    <a:pt x="112707" y="40285"/>
                    <a:pt x="112707" y="40285"/>
                    <a:pt x="112707" y="40285"/>
                  </a:cubicBezTo>
                  <a:cubicBezTo>
                    <a:pt x="114696" y="41142"/>
                    <a:pt x="114696" y="41142"/>
                    <a:pt x="114696" y="41142"/>
                  </a:cubicBezTo>
                  <a:cubicBezTo>
                    <a:pt x="119337" y="40285"/>
                    <a:pt x="119337" y="40285"/>
                    <a:pt x="119337" y="40285"/>
                  </a:cubicBezTo>
                  <a:cubicBezTo>
                    <a:pt x="120000" y="43714"/>
                    <a:pt x="120000" y="43714"/>
                    <a:pt x="120000" y="43714"/>
                  </a:cubicBezTo>
                  <a:cubicBezTo>
                    <a:pt x="117348" y="45428"/>
                    <a:pt x="117348" y="45428"/>
                    <a:pt x="117348" y="45428"/>
                  </a:cubicBezTo>
                  <a:cubicBezTo>
                    <a:pt x="118011" y="49714"/>
                    <a:pt x="118011" y="49714"/>
                    <a:pt x="118011" y="49714"/>
                  </a:cubicBezTo>
                  <a:cubicBezTo>
                    <a:pt x="112707" y="48857"/>
                    <a:pt x="112707" y="48857"/>
                    <a:pt x="112707" y="48857"/>
                  </a:cubicBezTo>
                  <a:cubicBezTo>
                    <a:pt x="110718" y="51428"/>
                    <a:pt x="110718" y="51428"/>
                    <a:pt x="110718" y="51428"/>
                  </a:cubicBezTo>
                  <a:cubicBezTo>
                    <a:pt x="110718" y="57428"/>
                    <a:pt x="110718" y="57428"/>
                    <a:pt x="110718" y="57428"/>
                  </a:cubicBezTo>
                  <a:cubicBezTo>
                    <a:pt x="105414" y="60000"/>
                    <a:pt x="105414" y="60000"/>
                    <a:pt x="105414" y="60000"/>
                  </a:cubicBezTo>
                  <a:cubicBezTo>
                    <a:pt x="104088" y="63428"/>
                    <a:pt x="104088" y="63428"/>
                    <a:pt x="104088" y="63428"/>
                  </a:cubicBezTo>
                  <a:cubicBezTo>
                    <a:pt x="104088" y="66857"/>
                    <a:pt x="104088" y="66857"/>
                    <a:pt x="104088" y="66857"/>
                  </a:cubicBezTo>
                  <a:cubicBezTo>
                    <a:pt x="103425" y="70285"/>
                    <a:pt x="103425" y="70285"/>
                    <a:pt x="103425" y="70285"/>
                  </a:cubicBezTo>
                  <a:cubicBezTo>
                    <a:pt x="104088" y="76285"/>
                    <a:pt x="104088" y="76285"/>
                    <a:pt x="104088" y="76285"/>
                  </a:cubicBezTo>
                  <a:cubicBezTo>
                    <a:pt x="104751" y="81428"/>
                    <a:pt x="104751" y="81428"/>
                    <a:pt x="104751" y="81428"/>
                  </a:cubicBezTo>
                  <a:cubicBezTo>
                    <a:pt x="104751" y="81428"/>
                    <a:pt x="103425" y="85714"/>
                    <a:pt x="102762" y="88285"/>
                  </a:cubicBezTo>
                  <a:cubicBezTo>
                    <a:pt x="102762" y="90000"/>
                    <a:pt x="104088" y="89142"/>
                    <a:pt x="104088" y="89142"/>
                  </a:cubicBezTo>
                  <a:cubicBezTo>
                    <a:pt x="107403" y="90857"/>
                    <a:pt x="107403" y="90857"/>
                    <a:pt x="107403" y="90857"/>
                  </a:cubicBezTo>
                  <a:cubicBezTo>
                    <a:pt x="108729" y="91714"/>
                    <a:pt x="108729" y="91714"/>
                    <a:pt x="108729" y="91714"/>
                  </a:cubicBezTo>
                  <a:cubicBezTo>
                    <a:pt x="107403" y="96857"/>
                    <a:pt x="107403" y="96857"/>
                    <a:pt x="107403" y="96857"/>
                  </a:cubicBezTo>
                  <a:cubicBezTo>
                    <a:pt x="104088" y="97714"/>
                    <a:pt x="104088" y="97714"/>
                    <a:pt x="104088" y="97714"/>
                  </a:cubicBezTo>
                  <a:cubicBezTo>
                    <a:pt x="104751" y="94285"/>
                    <a:pt x="104751" y="94285"/>
                    <a:pt x="104751" y="94285"/>
                  </a:cubicBezTo>
                  <a:cubicBezTo>
                    <a:pt x="103425" y="92571"/>
                    <a:pt x="103425" y="92571"/>
                    <a:pt x="103425" y="92571"/>
                  </a:cubicBezTo>
                  <a:cubicBezTo>
                    <a:pt x="101436" y="95142"/>
                    <a:pt x="101436" y="95142"/>
                    <a:pt x="101436" y="95142"/>
                  </a:cubicBezTo>
                  <a:cubicBezTo>
                    <a:pt x="96795" y="96857"/>
                    <a:pt x="96795" y="96857"/>
                    <a:pt x="96795" y="96857"/>
                  </a:cubicBezTo>
                  <a:cubicBezTo>
                    <a:pt x="96795" y="98571"/>
                    <a:pt x="96795" y="98571"/>
                    <a:pt x="96795" y="98571"/>
                  </a:cubicBezTo>
                  <a:cubicBezTo>
                    <a:pt x="95469" y="102000"/>
                    <a:pt x="95469" y="102000"/>
                    <a:pt x="95469" y="102000"/>
                  </a:cubicBezTo>
                  <a:cubicBezTo>
                    <a:pt x="95469" y="102000"/>
                    <a:pt x="92817" y="102000"/>
                    <a:pt x="91491" y="102000"/>
                  </a:cubicBezTo>
                  <a:cubicBezTo>
                    <a:pt x="90828" y="101142"/>
                    <a:pt x="90165" y="103714"/>
                    <a:pt x="90165" y="103714"/>
                  </a:cubicBezTo>
                  <a:cubicBezTo>
                    <a:pt x="91491" y="109714"/>
                    <a:pt x="91491" y="109714"/>
                    <a:pt x="91491" y="109714"/>
                  </a:cubicBezTo>
                  <a:cubicBezTo>
                    <a:pt x="88176" y="109714"/>
                    <a:pt x="88176" y="109714"/>
                    <a:pt x="88176" y="109714"/>
                  </a:cubicBezTo>
                  <a:cubicBezTo>
                    <a:pt x="85524" y="114000"/>
                    <a:pt x="85524" y="114000"/>
                    <a:pt x="85524" y="114000"/>
                  </a:cubicBezTo>
                  <a:cubicBezTo>
                    <a:pt x="80883" y="114857"/>
                    <a:pt x="80883" y="114857"/>
                    <a:pt x="80883" y="114857"/>
                  </a:cubicBezTo>
                  <a:cubicBezTo>
                    <a:pt x="76906" y="114000"/>
                    <a:pt x="76906" y="114000"/>
                    <a:pt x="76906" y="114000"/>
                  </a:cubicBezTo>
                  <a:cubicBezTo>
                    <a:pt x="70276" y="117428"/>
                    <a:pt x="70276" y="117428"/>
                    <a:pt x="70276" y="117428"/>
                  </a:cubicBezTo>
                  <a:cubicBezTo>
                    <a:pt x="64309" y="119142"/>
                    <a:pt x="64309" y="119142"/>
                    <a:pt x="64309" y="119142"/>
                  </a:cubicBezTo>
                  <a:cubicBezTo>
                    <a:pt x="64309" y="120000"/>
                    <a:pt x="64309" y="120000"/>
                    <a:pt x="64309" y="120000"/>
                  </a:cubicBezTo>
                  <a:cubicBezTo>
                    <a:pt x="63646" y="114857"/>
                    <a:pt x="63646" y="114857"/>
                    <a:pt x="63646" y="114857"/>
                  </a:cubicBezTo>
                  <a:cubicBezTo>
                    <a:pt x="61657" y="112285"/>
                    <a:pt x="61657" y="112285"/>
                    <a:pt x="61657" y="112285"/>
                  </a:cubicBezTo>
                  <a:cubicBezTo>
                    <a:pt x="61657" y="112285"/>
                    <a:pt x="59668" y="107142"/>
                    <a:pt x="59668" y="106285"/>
                  </a:cubicBezTo>
                  <a:cubicBezTo>
                    <a:pt x="59668" y="106285"/>
                    <a:pt x="52375" y="106285"/>
                    <a:pt x="52375" y="106285"/>
                  </a:cubicBezTo>
                  <a:cubicBezTo>
                    <a:pt x="52375" y="106285"/>
                    <a:pt x="51049" y="103714"/>
                    <a:pt x="50386" y="102000"/>
                  </a:cubicBezTo>
                  <a:cubicBezTo>
                    <a:pt x="50386" y="101142"/>
                    <a:pt x="48397" y="103714"/>
                    <a:pt x="48397" y="103714"/>
                  </a:cubicBezTo>
                  <a:cubicBezTo>
                    <a:pt x="45745" y="104571"/>
                    <a:pt x="45745" y="104571"/>
                    <a:pt x="45745" y="104571"/>
                  </a:cubicBezTo>
                  <a:cubicBezTo>
                    <a:pt x="45745" y="103714"/>
                    <a:pt x="45745" y="103714"/>
                    <a:pt x="45745" y="103714"/>
                  </a:cubicBezTo>
                  <a:cubicBezTo>
                    <a:pt x="43756" y="100285"/>
                    <a:pt x="43756" y="100285"/>
                    <a:pt x="43756" y="100285"/>
                  </a:cubicBezTo>
                  <a:cubicBezTo>
                    <a:pt x="43756" y="91714"/>
                    <a:pt x="43756" y="91714"/>
                    <a:pt x="43756" y="91714"/>
                  </a:cubicBezTo>
                  <a:cubicBezTo>
                    <a:pt x="43756" y="89142"/>
                    <a:pt x="43756" y="89142"/>
                    <a:pt x="43756" y="89142"/>
                  </a:cubicBezTo>
                  <a:cubicBezTo>
                    <a:pt x="45082" y="83142"/>
                    <a:pt x="45082" y="83142"/>
                    <a:pt x="45082" y="83142"/>
                  </a:cubicBezTo>
                  <a:cubicBezTo>
                    <a:pt x="45082" y="83142"/>
                    <a:pt x="43756" y="82285"/>
                    <a:pt x="43093" y="80571"/>
                  </a:cubicBezTo>
                  <a:cubicBezTo>
                    <a:pt x="41767" y="78857"/>
                    <a:pt x="40441" y="77142"/>
                    <a:pt x="40441" y="77142"/>
                  </a:cubicBezTo>
                  <a:cubicBezTo>
                    <a:pt x="39116" y="77142"/>
                    <a:pt x="39116" y="77142"/>
                    <a:pt x="39116" y="77142"/>
                  </a:cubicBezTo>
                  <a:cubicBezTo>
                    <a:pt x="37127" y="73714"/>
                    <a:pt x="37127" y="73714"/>
                    <a:pt x="37127" y="73714"/>
                  </a:cubicBezTo>
                  <a:cubicBezTo>
                    <a:pt x="32486" y="75428"/>
                    <a:pt x="32486" y="75428"/>
                    <a:pt x="32486" y="75428"/>
                  </a:cubicBezTo>
                  <a:cubicBezTo>
                    <a:pt x="29834" y="76285"/>
                    <a:pt x="29834" y="76285"/>
                    <a:pt x="29834" y="76285"/>
                  </a:cubicBezTo>
                  <a:cubicBezTo>
                    <a:pt x="28508" y="78000"/>
                    <a:pt x="28508" y="78000"/>
                    <a:pt x="28508" y="78000"/>
                  </a:cubicBezTo>
                  <a:cubicBezTo>
                    <a:pt x="20552" y="77142"/>
                    <a:pt x="20552" y="77142"/>
                    <a:pt x="20552" y="77142"/>
                  </a:cubicBezTo>
                  <a:cubicBezTo>
                    <a:pt x="16574" y="74571"/>
                    <a:pt x="16574" y="74571"/>
                    <a:pt x="16574" y="74571"/>
                  </a:cubicBezTo>
                  <a:cubicBezTo>
                    <a:pt x="14585" y="73714"/>
                    <a:pt x="14585" y="73714"/>
                    <a:pt x="14585" y="73714"/>
                  </a:cubicBezTo>
                  <a:cubicBezTo>
                    <a:pt x="11933" y="71142"/>
                    <a:pt x="11933" y="71142"/>
                    <a:pt x="11933" y="71142"/>
                  </a:cubicBezTo>
                  <a:cubicBezTo>
                    <a:pt x="8618" y="67714"/>
                    <a:pt x="8618" y="67714"/>
                    <a:pt x="8618" y="67714"/>
                  </a:cubicBezTo>
                  <a:cubicBezTo>
                    <a:pt x="7955" y="62571"/>
                    <a:pt x="7955" y="62571"/>
                    <a:pt x="7955" y="62571"/>
                  </a:cubicBezTo>
                  <a:cubicBezTo>
                    <a:pt x="7292" y="59142"/>
                    <a:pt x="7292" y="59142"/>
                    <a:pt x="7292" y="59142"/>
                  </a:cubicBezTo>
                  <a:cubicBezTo>
                    <a:pt x="3977" y="54857"/>
                    <a:pt x="3977" y="54857"/>
                    <a:pt x="3977" y="54857"/>
                  </a:cubicBezTo>
                  <a:cubicBezTo>
                    <a:pt x="2651" y="51428"/>
                    <a:pt x="2651" y="51428"/>
                    <a:pt x="2651" y="51428"/>
                  </a:cubicBezTo>
                  <a:cubicBezTo>
                    <a:pt x="2651" y="46285"/>
                    <a:pt x="2651" y="46285"/>
                    <a:pt x="2651" y="46285"/>
                  </a:cubicBezTo>
                  <a:cubicBezTo>
                    <a:pt x="662" y="42000"/>
                    <a:pt x="662" y="42000"/>
                    <a:pt x="662" y="42000"/>
                  </a:cubicBezTo>
                  <a:cubicBezTo>
                    <a:pt x="1325" y="37714"/>
                    <a:pt x="1325" y="37714"/>
                    <a:pt x="1325" y="37714"/>
                  </a:cubicBezTo>
                  <a:cubicBezTo>
                    <a:pt x="1325" y="37714"/>
                    <a:pt x="0" y="36857"/>
                    <a:pt x="662" y="36000"/>
                  </a:cubicBezTo>
                  <a:cubicBezTo>
                    <a:pt x="1988" y="36000"/>
                    <a:pt x="3977" y="35142"/>
                    <a:pt x="3977" y="35142"/>
                  </a:cubicBezTo>
                  <a:cubicBezTo>
                    <a:pt x="4640" y="30000"/>
                    <a:pt x="4640" y="30000"/>
                    <a:pt x="4640" y="30000"/>
                  </a:cubicBezTo>
                  <a:cubicBezTo>
                    <a:pt x="5303" y="28285"/>
                    <a:pt x="5303" y="28285"/>
                    <a:pt x="5303" y="28285"/>
                  </a:cubicBezTo>
                  <a:cubicBezTo>
                    <a:pt x="7955" y="26571"/>
                    <a:pt x="7955" y="26571"/>
                    <a:pt x="7955" y="26571"/>
                  </a:cubicBezTo>
                  <a:cubicBezTo>
                    <a:pt x="9281" y="22285"/>
                    <a:pt x="9281" y="22285"/>
                    <a:pt x="9281" y="22285"/>
                  </a:cubicBezTo>
                  <a:lnTo>
                    <a:pt x="11933" y="22285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6" name="Shape 2037"/>
            <p:cNvSpPr/>
            <p:nvPr/>
          </p:nvSpPr>
          <p:spPr>
            <a:xfrm>
              <a:off x="5766982" y="1595421"/>
              <a:ext cx="401291" cy="2652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6590" y="52000"/>
                  </a:moveTo>
                  <a:cubicBezTo>
                    <a:pt x="27272" y="50000"/>
                    <a:pt x="27272" y="50000"/>
                    <a:pt x="27272" y="50000"/>
                  </a:cubicBezTo>
                  <a:cubicBezTo>
                    <a:pt x="27954" y="48000"/>
                    <a:pt x="27954" y="48000"/>
                    <a:pt x="27954" y="48000"/>
                  </a:cubicBezTo>
                  <a:cubicBezTo>
                    <a:pt x="27954" y="45000"/>
                    <a:pt x="27954" y="45000"/>
                    <a:pt x="27954" y="45000"/>
                  </a:cubicBezTo>
                  <a:cubicBezTo>
                    <a:pt x="26590" y="45000"/>
                    <a:pt x="26590" y="45000"/>
                    <a:pt x="26590" y="45000"/>
                  </a:cubicBezTo>
                  <a:cubicBezTo>
                    <a:pt x="25909" y="42000"/>
                    <a:pt x="25909" y="42000"/>
                    <a:pt x="25909" y="42000"/>
                  </a:cubicBezTo>
                  <a:cubicBezTo>
                    <a:pt x="25909" y="42000"/>
                    <a:pt x="26590" y="41000"/>
                    <a:pt x="27272" y="41000"/>
                  </a:cubicBezTo>
                  <a:cubicBezTo>
                    <a:pt x="27272" y="40000"/>
                    <a:pt x="29318" y="40000"/>
                    <a:pt x="29318" y="40000"/>
                  </a:cubicBezTo>
                  <a:cubicBezTo>
                    <a:pt x="30681" y="38000"/>
                    <a:pt x="30681" y="38000"/>
                    <a:pt x="30681" y="38000"/>
                  </a:cubicBezTo>
                  <a:cubicBezTo>
                    <a:pt x="30681" y="38000"/>
                    <a:pt x="30000" y="36000"/>
                    <a:pt x="31363" y="36000"/>
                  </a:cubicBezTo>
                  <a:cubicBezTo>
                    <a:pt x="32045" y="36000"/>
                    <a:pt x="33409" y="36000"/>
                    <a:pt x="34090" y="36000"/>
                  </a:cubicBezTo>
                  <a:cubicBezTo>
                    <a:pt x="34772" y="36000"/>
                    <a:pt x="35454" y="35000"/>
                    <a:pt x="35454" y="35000"/>
                  </a:cubicBezTo>
                  <a:cubicBezTo>
                    <a:pt x="36818" y="35000"/>
                    <a:pt x="37500" y="36000"/>
                    <a:pt x="36818" y="35000"/>
                  </a:cubicBezTo>
                  <a:cubicBezTo>
                    <a:pt x="36818" y="35000"/>
                    <a:pt x="36818" y="34000"/>
                    <a:pt x="36136" y="33000"/>
                  </a:cubicBezTo>
                  <a:cubicBezTo>
                    <a:pt x="35454" y="32000"/>
                    <a:pt x="33409" y="30000"/>
                    <a:pt x="34772" y="29000"/>
                  </a:cubicBezTo>
                  <a:cubicBezTo>
                    <a:pt x="35454" y="28000"/>
                    <a:pt x="36136" y="28000"/>
                    <a:pt x="36818" y="29000"/>
                  </a:cubicBezTo>
                  <a:cubicBezTo>
                    <a:pt x="37500" y="29000"/>
                    <a:pt x="38181" y="31000"/>
                    <a:pt x="38181" y="31000"/>
                  </a:cubicBezTo>
                  <a:cubicBezTo>
                    <a:pt x="38181" y="27000"/>
                    <a:pt x="38181" y="27000"/>
                    <a:pt x="38181" y="27000"/>
                  </a:cubicBezTo>
                  <a:cubicBezTo>
                    <a:pt x="38181" y="27000"/>
                    <a:pt x="40227" y="27000"/>
                    <a:pt x="40909" y="26000"/>
                  </a:cubicBezTo>
                  <a:cubicBezTo>
                    <a:pt x="40909" y="25000"/>
                    <a:pt x="40227" y="23000"/>
                    <a:pt x="40227" y="23000"/>
                  </a:cubicBezTo>
                  <a:cubicBezTo>
                    <a:pt x="40227" y="23000"/>
                    <a:pt x="40227" y="23000"/>
                    <a:pt x="42272" y="23000"/>
                  </a:cubicBezTo>
                  <a:cubicBezTo>
                    <a:pt x="44318" y="22000"/>
                    <a:pt x="43636" y="22000"/>
                    <a:pt x="45000" y="22000"/>
                  </a:cubicBezTo>
                  <a:cubicBezTo>
                    <a:pt x="45681" y="22000"/>
                    <a:pt x="47727" y="22000"/>
                    <a:pt x="47727" y="22000"/>
                  </a:cubicBezTo>
                  <a:cubicBezTo>
                    <a:pt x="47727" y="22000"/>
                    <a:pt x="49090" y="21000"/>
                    <a:pt x="48409" y="20000"/>
                  </a:cubicBezTo>
                  <a:cubicBezTo>
                    <a:pt x="48409" y="19000"/>
                    <a:pt x="47045" y="17000"/>
                    <a:pt x="47045" y="17000"/>
                  </a:cubicBezTo>
                  <a:cubicBezTo>
                    <a:pt x="47045" y="17000"/>
                    <a:pt x="47727" y="14000"/>
                    <a:pt x="47727" y="15000"/>
                  </a:cubicBezTo>
                  <a:cubicBezTo>
                    <a:pt x="47727" y="17000"/>
                    <a:pt x="49772" y="19000"/>
                    <a:pt x="49772" y="19000"/>
                  </a:cubicBezTo>
                  <a:cubicBezTo>
                    <a:pt x="51136" y="17000"/>
                    <a:pt x="51136" y="17000"/>
                    <a:pt x="51136" y="17000"/>
                  </a:cubicBezTo>
                  <a:cubicBezTo>
                    <a:pt x="53181" y="16000"/>
                    <a:pt x="53181" y="16000"/>
                    <a:pt x="53181" y="16000"/>
                  </a:cubicBezTo>
                  <a:cubicBezTo>
                    <a:pt x="55227" y="15000"/>
                    <a:pt x="55227" y="15000"/>
                    <a:pt x="55227" y="15000"/>
                  </a:cubicBezTo>
                  <a:cubicBezTo>
                    <a:pt x="55227" y="15000"/>
                    <a:pt x="57272" y="15000"/>
                    <a:pt x="58636" y="15000"/>
                  </a:cubicBezTo>
                  <a:cubicBezTo>
                    <a:pt x="59318" y="15000"/>
                    <a:pt x="61363" y="14000"/>
                    <a:pt x="61363" y="14000"/>
                  </a:cubicBezTo>
                  <a:cubicBezTo>
                    <a:pt x="62045" y="12000"/>
                    <a:pt x="62045" y="12000"/>
                    <a:pt x="62045" y="12000"/>
                  </a:cubicBezTo>
                  <a:cubicBezTo>
                    <a:pt x="59318" y="8000"/>
                    <a:pt x="59318" y="8000"/>
                    <a:pt x="59318" y="8000"/>
                  </a:cubicBezTo>
                  <a:cubicBezTo>
                    <a:pt x="59318" y="8000"/>
                    <a:pt x="60681" y="5000"/>
                    <a:pt x="60681" y="6000"/>
                  </a:cubicBezTo>
                  <a:cubicBezTo>
                    <a:pt x="61363" y="7000"/>
                    <a:pt x="61363" y="9000"/>
                    <a:pt x="62045" y="9000"/>
                  </a:cubicBezTo>
                  <a:cubicBezTo>
                    <a:pt x="62727" y="9000"/>
                    <a:pt x="63409" y="10000"/>
                    <a:pt x="64090" y="9000"/>
                  </a:cubicBezTo>
                  <a:cubicBezTo>
                    <a:pt x="64090" y="8000"/>
                    <a:pt x="64090" y="5000"/>
                    <a:pt x="64090" y="5000"/>
                  </a:cubicBezTo>
                  <a:cubicBezTo>
                    <a:pt x="64090" y="5000"/>
                    <a:pt x="63409" y="4000"/>
                    <a:pt x="64090" y="4000"/>
                  </a:cubicBezTo>
                  <a:cubicBezTo>
                    <a:pt x="64772" y="5000"/>
                    <a:pt x="66136" y="7000"/>
                    <a:pt x="66136" y="7000"/>
                  </a:cubicBezTo>
                  <a:cubicBezTo>
                    <a:pt x="68181" y="7000"/>
                    <a:pt x="68181" y="7000"/>
                    <a:pt x="68181" y="7000"/>
                  </a:cubicBezTo>
                  <a:cubicBezTo>
                    <a:pt x="70227" y="4000"/>
                    <a:pt x="70227" y="4000"/>
                    <a:pt x="70227" y="4000"/>
                  </a:cubicBezTo>
                  <a:cubicBezTo>
                    <a:pt x="70909" y="6000"/>
                    <a:pt x="70909" y="6000"/>
                    <a:pt x="70909" y="6000"/>
                  </a:cubicBezTo>
                  <a:cubicBezTo>
                    <a:pt x="70909" y="6000"/>
                    <a:pt x="72272" y="5000"/>
                    <a:pt x="72954" y="5000"/>
                  </a:cubicBezTo>
                  <a:cubicBezTo>
                    <a:pt x="73636" y="5000"/>
                    <a:pt x="73636" y="4000"/>
                    <a:pt x="74318" y="4000"/>
                  </a:cubicBezTo>
                  <a:cubicBezTo>
                    <a:pt x="75000" y="4000"/>
                    <a:pt x="76363" y="5000"/>
                    <a:pt x="76363" y="5000"/>
                  </a:cubicBezTo>
                  <a:cubicBezTo>
                    <a:pt x="79772" y="6000"/>
                    <a:pt x="79772" y="6000"/>
                    <a:pt x="79772" y="6000"/>
                  </a:cubicBezTo>
                  <a:cubicBezTo>
                    <a:pt x="81136" y="3000"/>
                    <a:pt x="81136" y="3000"/>
                    <a:pt x="81136" y="3000"/>
                  </a:cubicBezTo>
                  <a:cubicBezTo>
                    <a:pt x="84545" y="5000"/>
                    <a:pt x="84545" y="5000"/>
                    <a:pt x="84545" y="5000"/>
                  </a:cubicBezTo>
                  <a:cubicBezTo>
                    <a:pt x="87272" y="7000"/>
                    <a:pt x="87272" y="7000"/>
                    <a:pt x="87272" y="7000"/>
                  </a:cubicBezTo>
                  <a:cubicBezTo>
                    <a:pt x="90681" y="7000"/>
                    <a:pt x="90681" y="7000"/>
                    <a:pt x="90681" y="7000"/>
                  </a:cubicBezTo>
                  <a:cubicBezTo>
                    <a:pt x="90681" y="7000"/>
                    <a:pt x="93409" y="5000"/>
                    <a:pt x="94090" y="5000"/>
                  </a:cubicBezTo>
                  <a:cubicBezTo>
                    <a:pt x="95454" y="4000"/>
                    <a:pt x="98181" y="4000"/>
                    <a:pt x="98181" y="4000"/>
                  </a:cubicBezTo>
                  <a:cubicBezTo>
                    <a:pt x="98181" y="4000"/>
                    <a:pt x="98863" y="4000"/>
                    <a:pt x="100227" y="4000"/>
                  </a:cubicBezTo>
                  <a:cubicBezTo>
                    <a:pt x="101590" y="3000"/>
                    <a:pt x="105000" y="3000"/>
                    <a:pt x="105000" y="3000"/>
                  </a:cubicBezTo>
                  <a:cubicBezTo>
                    <a:pt x="107045" y="0"/>
                    <a:pt x="107045" y="0"/>
                    <a:pt x="107045" y="0"/>
                  </a:cubicBezTo>
                  <a:cubicBezTo>
                    <a:pt x="110454" y="2000"/>
                    <a:pt x="110454" y="2000"/>
                    <a:pt x="110454" y="2000"/>
                  </a:cubicBezTo>
                  <a:cubicBezTo>
                    <a:pt x="110454" y="4000"/>
                    <a:pt x="110454" y="4000"/>
                    <a:pt x="110454" y="4000"/>
                  </a:cubicBezTo>
                  <a:cubicBezTo>
                    <a:pt x="107045" y="8000"/>
                    <a:pt x="107045" y="8000"/>
                    <a:pt x="107045" y="8000"/>
                  </a:cubicBezTo>
                  <a:cubicBezTo>
                    <a:pt x="107045" y="15000"/>
                    <a:pt x="107045" y="15000"/>
                    <a:pt x="107045" y="15000"/>
                  </a:cubicBezTo>
                  <a:cubicBezTo>
                    <a:pt x="106363" y="25000"/>
                    <a:pt x="104318" y="30000"/>
                    <a:pt x="103636" y="36000"/>
                  </a:cubicBezTo>
                  <a:cubicBezTo>
                    <a:pt x="102954" y="39000"/>
                    <a:pt x="101590" y="40000"/>
                    <a:pt x="103636" y="45000"/>
                  </a:cubicBezTo>
                  <a:cubicBezTo>
                    <a:pt x="105000" y="47000"/>
                    <a:pt x="105000" y="54000"/>
                    <a:pt x="107727" y="58000"/>
                  </a:cubicBezTo>
                  <a:cubicBezTo>
                    <a:pt x="109090" y="60000"/>
                    <a:pt x="107727" y="65000"/>
                    <a:pt x="109772" y="67000"/>
                  </a:cubicBezTo>
                  <a:cubicBezTo>
                    <a:pt x="109772" y="67000"/>
                    <a:pt x="109772" y="68000"/>
                    <a:pt x="110454" y="70000"/>
                  </a:cubicBezTo>
                  <a:cubicBezTo>
                    <a:pt x="111818" y="72000"/>
                    <a:pt x="111818" y="71000"/>
                    <a:pt x="112500" y="72000"/>
                  </a:cubicBezTo>
                  <a:cubicBezTo>
                    <a:pt x="112500" y="72000"/>
                    <a:pt x="113863" y="73000"/>
                    <a:pt x="114545" y="74000"/>
                  </a:cubicBezTo>
                  <a:cubicBezTo>
                    <a:pt x="115227" y="75000"/>
                    <a:pt x="115227" y="77000"/>
                    <a:pt x="115227" y="78000"/>
                  </a:cubicBezTo>
                  <a:cubicBezTo>
                    <a:pt x="115227" y="79000"/>
                    <a:pt x="115909" y="80000"/>
                    <a:pt x="115909" y="80000"/>
                  </a:cubicBezTo>
                  <a:cubicBezTo>
                    <a:pt x="115909" y="80000"/>
                    <a:pt x="116590" y="79000"/>
                    <a:pt x="116590" y="80000"/>
                  </a:cubicBezTo>
                  <a:cubicBezTo>
                    <a:pt x="116590" y="81000"/>
                    <a:pt x="115909" y="79000"/>
                    <a:pt x="116590" y="81000"/>
                  </a:cubicBezTo>
                  <a:cubicBezTo>
                    <a:pt x="117954" y="83000"/>
                    <a:pt x="120000" y="83000"/>
                    <a:pt x="120000" y="83000"/>
                  </a:cubicBezTo>
                  <a:cubicBezTo>
                    <a:pt x="119318" y="87000"/>
                    <a:pt x="119318" y="87000"/>
                    <a:pt x="119318" y="87000"/>
                  </a:cubicBezTo>
                  <a:cubicBezTo>
                    <a:pt x="117954" y="88000"/>
                    <a:pt x="117954" y="88000"/>
                    <a:pt x="117954" y="88000"/>
                  </a:cubicBezTo>
                  <a:cubicBezTo>
                    <a:pt x="117954" y="88000"/>
                    <a:pt x="114545" y="88000"/>
                    <a:pt x="114545" y="90000"/>
                  </a:cubicBezTo>
                  <a:cubicBezTo>
                    <a:pt x="114545" y="91000"/>
                    <a:pt x="114545" y="95000"/>
                    <a:pt x="114545" y="95000"/>
                  </a:cubicBezTo>
                  <a:cubicBezTo>
                    <a:pt x="112500" y="98000"/>
                    <a:pt x="112500" y="98000"/>
                    <a:pt x="112500" y="98000"/>
                  </a:cubicBezTo>
                  <a:cubicBezTo>
                    <a:pt x="112500" y="98000"/>
                    <a:pt x="113863" y="102000"/>
                    <a:pt x="113863" y="103000"/>
                  </a:cubicBezTo>
                  <a:cubicBezTo>
                    <a:pt x="113863" y="104000"/>
                    <a:pt x="114545" y="104000"/>
                    <a:pt x="114545" y="104000"/>
                  </a:cubicBezTo>
                  <a:cubicBezTo>
                    <a:pt x="112500" y="105000"/>
                    <a:pt x="112500" y="105000"/>
                    <a:pt x="112500" y="105000"/>
                  </a:cubicBezTo>
                  <a:cubicBezTo>
                    <a:pt x="109772" y="105000"/>
                    <a:pt x="109772" y="105000"/>
                    <a:pt x="109772" y="105000"/>
                  </a:cubicBezTo>
                  <a:cubicBezTo>
                    <a:pt x="104318" y="103000"/>
                    <a:pt x="104318" y="103000"/>
                    <a:pt x="104318" y="103000"/>
                  </a:cubicBezTo>
                  <a:cubicBezTo>
                    <a:pt x="102954" y="106000"/>
                    <a:pt x="102954" y="106000"/>
                    <a:pt x="102954" y="106000"/>
                  </a:cubicBezTo>
                  <a:cubicBezTo>
                    <a:pt x="101590" y="106000"/>
                    <a:pt x="101590" y="106000"/>
                    <a:pt x="101590" y="106000"/>
                  </a:cubicBezTo>
                  <a:cubicBezTo>
                    <a:pt x="101590" y="106000"/>
                    <a:pt x="100909" y="108000"/>
                    <a:pt x="99545" y="109000"/>
                  </a:cubicBezTo>
                  <a:cubicBezTo>
                    <a:pt x="98863" y="110000"/>
                    <a:pt x="98181" y="111000"/>
                    <a:pt x="97500" y="111000"/>
                  </a:cubicBezTo>
                  <a:cubicBezTo>
                    <a:pt x="96136" y="112000"/>
                    <a:pt x="94772" y="110000"/>
                    <a:pt x="94772" y="110000"/>
                  </a:cubicBezTo>
                  <a:cubicBezTo>
                    <a:pt x="92727" y="109000"/>
                    <a:pt x="92727" y="109000"/>
                    <a:pt x="92727" y="109000"/>
                  </a:cubicBezTo>
                  <a:cubicBezTo>
                    <a:pt x="90681" y="105000"/>
                    <a:pt x="90681" y="105000"/>
                    <a:pt x="90681" y="105000"/>
                  </a:cubicBezTo>
                  <a:cubicBezTo>
                    <a:pt x="84545" y="99000"/>
                    <a:pt x="84545" y="99000"/>
                    <a:pt x="84545" y="99000"/>
                  </a:cubicBezTo>
                  <a:cubicBezTo>
                    <a:pt x="81136" y="97000"/>
                    <a:pt x="81136" y="97000"/>
                    <a:pt x="81136" y="97000"/>
                  </a:cubicBezTo>
                  <a:cubicBezTo>
                    <a:pt x="78409" y="96000"/>
                    <a:pt x="78409" y="96000"/>
                    <a:pt x="78409" y="96000"/>
                  </a:cubicBezTo>
                  <a:cubicBezTo>
                    <a:pt x="75000" y="96000"/>
                    <a:pt x="75000" y="96000"/>
                    <a:pt x="75000" y="96000"/>
                  </a:cubicBezTo>
                  <a:cubicBezTo>
                    <a:pt x="72272" y="94000"/>
                    <a:pt x="72272" y="94000"/>
                    <a:pt x="72272" y="94000"/>
                  </a:cubicBezTo>
                  <a:cubicBezTo>
                    <a:pt x="69545" y="94000"/>
                    <a:pt x="69545" y="94000"/>
                    <a:pt x="69545" y="94000"/>
                  </a:cubicBezTo>
                  <a:cubicBezTo>
                    <a:pt x="66136" y="92000"/>
                    <a:pt x="66136" y="92000"/>
                    <a:pt x="66136" y="92000"/>
                  </a:cubicBezTo>
                  <a:cubicBezTo>
                    <a:pt x="63409" y="95000"/>
                    <a:pt x="63409" y="95000"/>
                    <a:pt x="63409" y="95000"/>
                  </a:cubicBezTo>
                  <a:cubicBezTo>
                    <a:pt x="60000" y="98000"/>
                    <a:pt x="60000" y="98000"/>
                    <a:pt x="60000" y="98000"/>
                  </a:cubicBezTo>
                  <a:cubicBezTo>
                    <a:pt x="56590" y="103000"/>
                    <a:pt x="56590" y="103000"/>
                    <a:pt x="56590" y="103000"/>
                  </a:cubicBezTo>
                  <a:cubicBezTo>
                    <a:pt x="56590" y="103000"/>
                    <a:pt x="54545" y="106000"/>
                    <a:pt x="53181" y="107000"/>
                  </a:cubicBezTo>
                  <a:cubicBezTo>
                    <a:pt x="52500" y="106000"/>
                    <a:pt x="52500" y="106000"/>
                    <a:pt x="52500" y="106000"/>
                  </a:cubicBezTo>
                  <a:cubicBezTo>
                    <a:pt x="52500" y="106000"/>
                    <a:pt x="52500" y="103000"/>
                    <a:pt x="53181" y="101000"/>
                  </a:cubicBezTo>
                  <a:cubicBezTo>
                    <a:pt x="53863" y="100000"/>
                    <a:pt x="53863" y="98000"/>
                    <a:pt x="53863" y="97000"/>
                  </a:cubicBezTo>
                  <a:cubicBezTo>
                    <a:pt x="53863" y="96000"/>
                    <a:pt x="53863" y="94000"/>
                    <a:pt x="53181" y="92000"/>
                  </a:cubicBezTo>
                  <a:cubicBezTo>
                    <a:pt x="53181" y="90000"/>
                    <a:pt x="52500" y="87000"/>
                    <a:pt x="52500" y="87000"/>
                  </a:cubicBezTo>
                  <a:cubicBezTo>
                    <a:pt x="54545" y="85000"/>
                    <a:pt x="54545" y="85000"/>
                    <a:pt x="54545" y="85000"/>
                  </a:cubicBezTo>
                  <a:cubicBezTo>
                    <a:pt x="53181" y="80000"/>
                    <a:pt x="53181" y="80000"/>
                    <a:pt x="53181" y="80000"/>
                  </a:cubicBezTo>
                  <a:cubicBezTo>
                    <a:pt x="51818" y="80000"/>
                    <a:pt x="51818" y="80000"/>
                    <a:pt x="51818" y="80000"/>
                  </a:cubicBezTo>
                  <a:cubicBezTo>
                    <a:pt x="49772" y="80000"/>
                    <a:pt x="49772" y="80000"/>
                    <a:pt x="49772" y="80000"/>
                  </a:cubicBezTo>
                  <a:cubicBezTo>
                    <a:pt x="48409" y="83000"/>
                    <a:pt x="48409" y="83000"/>
                    <a:pt x="48409" y="83000"/>
                  </a:cubicBezTo>
                  <a:cubicBezTo>
                    <a:pt x="48409" y="83000"/>
                    <a:pt x="49090" y="85000"/>
                    <a:pt x="49090" y="86000"/>
                  </a:cubicBezTo>
                  <a:cubicBezTo>
                    <a:pt x="48409" y="87000"/>
                    <a:pt x="47045" y="87000"/>
                    <a:pt x="47045" y="87000"/>
                  </a:cubicBezTo>
                  <a:cubicBezTo>
                    <a:pt x="46363" y="88000"/>
                    <a:pt x="46363" y="91000"/>
                    <a:pt x="46363" y="91000"/>
                  </a:cubicBezTo>
                  <a:cubicBezTo>
                    <a:pt x="43636" y="87000"/>
                    <a:pt x="43636" y="87000"/>
                    <a:pt x="43636" y="87000"/>
                  </a:cubicBezTo>
                  <a:cubicBezTo>
                    <a:pt x="43636" y="87000"/>
                    <a:pt x="42272" y="87000"/>
                    <a:pt x="41590" y="86000"/>
                  </a:cubicBezTo>
                  <a:cubicBezTo>
                    <a:pt x="40909" y="86000"/>
                    <a:pt x="39545" y="86000"/>
                    <a:pt x="39545" y="86000"/>
                  </a:cubicBezTo>
                  <a:cubicBezTo>
                    <a:pt x="39545" y="86000"/>
                    <a:pt x="39545" y="86000"/>
                    <a:pt x="38863" y="86000"/>
                  </a:cubicBezTo>
                  <a:cubicBezTo>
                    <a:pt x="37500" y="86000"/>
                    <a:pt x="37500" y="86000"/>
                    <a:pt x="36818" y="84000"/>
                  </a:cubicBezTo>
                  <a:cubicBezTo>
                    <a:pt x="36136" y="82000"/>
                    <a:pt x="34090" y="77000"/>
                    <a:pt x="34090" y="77000"/>
                  </a:cubicBezTo>
                  <a:cubicBezTo>
                    <a:pt x="34090" y="77000"/>
                    <a:pt x="33409" y="75000"/>
                    <a:pt x="32727" y="75000"/>
                  </a:cubicBezTo>
                  <a:cubicBezTo>
                    <a:pt x="32727" y="75000"/>
                    <a:pt x="32045" y="77000"/>
                    <a:pt x="32045" y="77000"/>
                  </a:cubicBezTo>
                  <a:cubicBezTo>
                    <a:pt x="31363" y="77000"/>
                    <a:pt x="31363" y="75000"/>
                    <a:pt x="31363" y="74000"/>
                  </a:cubicBezTo>
                  <a:cubicBezTo>
                    <a:pt x="31363" y="73000"/>
                    <a:pt x="31363" y="72000"/>
                    <a:pt x="31363" y="70000"/>
                  </a:cubicBezTo>
                  <a:cubicBezTo>
                    <a:pt x="31363" y="68000"/>
                    <a:pt x="30681" y="66000"/>
                    <a:pt x="31363" y="66000"/>
                  </a:cubicBezTo>
                  <a:cubicBezTo>
                    <a:pt x="31363" y="66000"/>
                    <a:pt x="32045" y="67000"/>
                    <a:pt x="32727" y="67000"/>
                  </a:cubicBezTo>
                  <a:cubicBezTo>
                    <a:pt x="33409" y="67000"/>
                    <a:pt x="33409" y="65000"/>
                    <a:pt x="33409" y="65000"/>
                  </a:cubicBezTo>
                  <a:cubicBezTo>
                    <a:pt x="34090" y="65000"/>
                    <a:pt x="34772" y="66000"/>
                    <a:pt x="34772" y="66000"/>
                  </a:cubicBezTo>
                  <a:cubicBezTo>
                    <a:pt x="35454" y="66000"/>
                    <a:pt x="36136" y="66000"/>
                    <a:pt x="36136" y="66000"/>
                  </a:cubicBezTo>
                  <a:cubicBezTo>
                    <a:pt x="36818" y="65000"/>
                    <a:pt x="36818" y="65000"/>
                    <a:pt x="36818" y="64000"/>
                  </a:cubicBezTo>
                  <a:cubicBezTo>
                    <a:pt x="36818" y="63000"/>
                    <a:pt x="36136" y="62000"/>
                    <a:pt x="36136" y="62000"/>
                  </a:cubicBezTo>
                  <a:cubicBezTo>
                    <a:pt x="35454" y="62000"/>
                    <a:pt x="31363" y="65000"/>
                    <a:pt x="31363" y="65000"/>
                  </a:cubicBezTo>
                  <a:cubicBezTo>
                    <a:pt x="28636" y="65000"/>
                    <a:pt x="28636" y="65000"/>
                    <a:pt x="28636" y="65000"/>
                  </a:cubicBezTo>
                  <a:cubicBezTo>
                    <a:pt x="30000" y="63000"/>
                    <a:pt x="30000" y="63000"/>
                    <a:pt x="30000" y="63000"/>
                  </a:cubicBezTo>
                  <a:cubicBezTo>
                    <a:pt x="28636" y="61000"/>
                    <a:pt x="28636" y="61000"/>
                    <a:pt x="28636" y="61000"/>
                  </a:cubicBezTo>
                  <a:cubicBezTo>
                    <a:pt x="28636" y="59000"/>
                    <a:pt x="28636" y="59000"/>
                    <a:pt x="28636" y="59000"/>
                  </a:cubicBezTo>
                  <a:cubicBezTo>
                    <a:pt x="27272" y="58000"/>
                    <a:pt x="27272" y="58000"/>
                    <a:pt x="27272" y="58000"/>
                  </a:cubicBezTo>
                  <a:cubicBezTo>
                    <a:pt x="27954" y="56000"/>
                    <a:pt x="27954" y="56000"/>
                    <a:pt x="27954" y="56000"/>
                  </a:cubicBezTo>
                  <a:cubicBezTo>
                    <a:pt x="29318" y="56000"/>
                    <a:pt x="29318" y="56000"/>
                    <a:pt x="29318" y="56000"/>
                  </a:cubicBezTo>
                  <a:cubicBezTo>
                    <a:pt x="30681" y="55000"/>
                    <a:pt x="30681" y="55000"/>
                    <a:pt x="30681" y="55000"/>
                  </a:cubicBezTo>
                  <a:cubicBezTo>
                    <a:pt x="30681" y="51000"/>
                    <a:pt x="30681" y="51000"/>
                    <a:pt x="30681" y="51000"/>
                  </a:cubicBezTo>
                  <a:cubicBezTo>
                    <a:pt x="29318" y="52000"/>
                    <a:pt x="29318" y="52000"/>
                    <a:pt x="29318" y="52000"/>
                  </a:cubicBezTo>
                  <a:cubicBezTo>
                    <a:pt x="30000" y="54000"/>
                    <a:pt x="30000" y="54000"/>
                    <a:pt x="30000" y="54000"/>
                  </a:cubicBezTo>
                  <a:cubicBezTo>
                    <a:pt x="27272" y="54000"/>
                    <a:pt x="27272" y="54000"/>
                    <a:pt x="27272" y="54000"/>
                  </a:cubicBezTo>
                  <a:cubicBezTo>
                    <a:pt x="26590" y="52000"/>
                    <a:pt x="26590" y="52000"/>
                    <a:pt x="26590" y="52000"/>
                  </a:cubicBezTo>
                  <a:close/>
                  <a:moveTo>
                    <a:pt x="15681" y="103000"/>
                  </a:moveTo>
                  <a:cubicBezTo>
                    <a:pt x="15681" y="103000"/>
                    <a:pt x="15681" y="103000"/>
                    <a:pt x="15681" y="103000"/>
                  </a:cubicBezTo>
                  <a:cubicBezTo>
                    <a:pt x="15681" y="103000"/>
                    <a:pt x="17045" y="103000"/>
                    <a:pt x="17045" y="103000"/>
                  </a:cubicBezTo>
                  <a:cubicBezTo>
                    <a:pt x="17045" y="103000"/>
                    <a:pt x="17727" y="104000"/>
                    <a:pt x="17045" y="104000"/>
                  </a:cubicBezTo>
                  <a:cubicBezTo>
                    <a:pt x="17045" y="105000"/>
                    <a:pt x="17727" y="105000"/>
                    <a:pt x="17045" y="105000"/>
                  </a:cubicBezTo>
                  <a:cubicBezTo>
                    <a:pt x="16363" y="105000"/>
                    <a:pt x="15000" y="106000"/>
                    <a:pt x="15000" y="105000"/>
                  </a:cubicBezTo>
                  <a:cubicBezTo>
                    <a:pt x="15000" y="105000"/>
                    <a:pt x="15681" y="104000"/>
                    <a:pt x="15681" y="104000"/>
                  </a:cubicBezTo>
                  <a:cubicBezTo>
                    <a:pt x="15681" y="103000"/>
                    <a:pt x="15681" y="103000"/>
                    <a:pt x="15681" y="103000"/>
                  </a:cubicBezTo>
                  <a:close/>
                  <a:moveTo>
                    <a:pt x="43636" y="95000"/>
                  </a:moveTo>
                  <a:cubicBezTo>
                    <a:pt x="43636" y="95000"/>
                    <a:pt x="43636" y="95000"/>
                    <a:pt x="43636" y="95000"/>
                  </a:cubicBezTo>
                  <a:cubicBezTo>
                    <a:pt x="43636" y="95000"/>
                    <a:pt x="42954" y="98000"/>
                    <a:pt x="43636" y="98000"/>
                  </a:cubicBezTo>
                  <a:cubicBezTo>
                    <a:pt x="43636" y="98000"/>
                    <a:pt x="44318" y="98000"/>
                    <a:pt x="45000" y="98000"/>
                  </a:cubicBezTo>
                  <a:cubicBezTo>
                    <a:pt x="45681" y="97000"/>
                    <a:pt x="45681" y="97000"/>
                    <a:pt x="45681" y="97000"/>
                  </a:cubicBezTo>
                  <a:cubicBezTo>
                    <a:pt x="45681" y="96000"/>
                    <a:pt x="45681" y="95000"/>
                    <a:pt x="45681" y="95000"/>
                  </a:cubicBezTo>
                  <a:cubicBezTo>
                    <a:pt x="43636" y="95000"/>
                    <a:pt x="43636" y="95000"/>
                    <a:pt x="43636" y="95000"/>
                  </a:cubicBezTo>
                  <a:close/>
                  <a:moveTo>
                    <a:pt x="6136" y="91000"/>
                  </a:moveTo>
                  <a:cubicBezTo>
                    <a:pt x="6136" y="91000"/>
                    <a:pt x="6136" y="91000"/>
                    <a:pt x="6136" y="91000"/>
                  </a:cubicBezTo>
                  <a:cubicBezTo>
                    <a:pt x="5454" y="92000"/>
                    <a:pt x="5454" y="92000"/>
                    <a:pt x="5454" y="92000"/>
                  </a:cubicBezTo>
                  <a:cubicBezTo>
                    <a:pt x="5454" y="92000"/>
                    <a:pt x="4772" y="89000"/>
                    <a:pt x="4772" y="88000"/>
                  </a:cubicBezTo>
                  <a:cubicBezTo>
                    <a:pt x="4772" y="88000"/>
                    <a:pt x="3409" y="87000"/>
                    <a:pt x="3409" y="87000"/>
                  </a:cubicBezTo>
                  <a:cubicBezTo>
                    <a:pt x="3409" y="87000"/>
                    <a:pt x="2727" y="87000"/>
                    <a:pt x="2727" y="87000"/>
                  </a:cubicBezTo>
                  <a:cubicBezTo>
                    <a:pt x="2045" y="87000"/>
                    <a:pt x="2045" y="88000"/>
                    <a:pt x="2045" y="88000"/>
                  </a:cubicBezTo>
                  <a:cubicBezTo>
                    <a:pt x="1363" y="88000"/>
                    <a:pt x="1363" y="88000"/>
                    <a:pt x="1363" y="88000"/>
                  </a:cubicBezTo>
                  <a:cubicBezTo>
                    <a:pt x="1363" y="88000"/>
                    <a:pt x="681" y="88000"/>
                    <a:pt x="681" y="88000"/>
                  </a:cubicBezTo>
                  <a:cubicBezTo>
                    <a:pt x="0" y="89000"/>
                    <a:pt x="681" y="90000"/>
                    <a:pt x="681" y="90000"/>
                  </a:cubicBezTo>
                  <a:cubicBezTo>
                    <a:pt x="681" y="90000"/>
                    <a:pt x="1363" y="90000"/>
                    <a:pt x="2045" y="91000"/>
                  </a:cubicBezTo>
                  <a:cubicBezTo>
                    <a:pt x="2727" y="91000"/>
                    <a:pt x="2727" y="91000"/>
                    <a:pt x="2727" y="91000"/>
                  </a:cubicBezTo>
                  <a:cubicBezTo>
                    <a:pt x="2727" y="91000"/>
                    <a:pt x="4090" y="93000"/>
                    <a:pt x="4772" y="94000"/>
                  </a:cubicBezTo>
                  <a:cubicBezTo>
                    <a:pt x="4772" y="94000"/>
                    <a:pt x="4772" y="95000"/>
                    <a:pt x="4772" y="95000"/>
                  </a:cubicBezTo>
                  <a:cubicBezTo>
                    <a:pt x="2727" y="97000"/>
                    <a:pt x="2727" y="97000"/>
                    <a:pt x="2727" y="97000"/>
                  </a:cubicBezTo>
                  <a:cubicBezTo>
                    <a:pt x="2727" y="97000"/>
                    <a:pt x="3409" y="98000"/>
                    <a:pt x="3409" y="98000"/>
                  </a:cubicBezTo>
                  <a:cubicBezTo>
                    <a:pt x="4090" y="98000"/>
                    <a:pt x="2727" y="99000"/>
                    <a:pt x="2727" y="99000"/>
                  </a:cubicBezTo>
                  <a:cubicBezTo>
                    <a:pt x="2727" y="99000"/>
                    <a:pt x="2727" y="101000"/>
                    <a:pt x="2727" y="101000"/>
                  </a:cubicBezTo>
                  <a:cubicBezTo>
                    <a:pt x="2727" y="101000"/>
                    <a:pt x="3409" y="102000"/>
                    <a:pt x="4772" y="102000"/>
                  </a:cubicBezTo>
                  <a:cubicBezTo>
                    <a:pt x="6136" y="103000"/>
                    <a:pt x="6136" y="102000"/>
                    <a:pt x="6136" y="102000"/>
                  </a:cubicBezTo>
                  <a:cubicBezTo>
                    <a:pt x="6818" y="103000"/>
                    <a:pt x="6818" y="103000"/>
                    <a:pt x="6818" y="103000"/>
                  </a:cubicBezTo>
                  <a:cubicBezTo>
                    <a:pt x="6818" y="104000"/>
                    <a:pt x="6818" y="104000"/>
                    <a:pt x="6818" y="104000"/>
                  </a:cubicBezTo>
                  <a:cubicBezTo>
                    <a:pt x="7500" y="105000"/>
                    <a:pt x="7500" y="105000"/>
                    <a:pt x="7500" y="105000"/>
                  </a:cubicBezTo>
                  <a:cubicBezTo>
                    <a:pt x="9545" y="106000"/>
                    <a:pt x="9545" y="106000"/>
                    <a:pt x="9545" y="106000"/>
                  </a:cubicBezTo>
                  <a:cubicBezTo>
                    <a:pt x="9545" y="107000"/>
                    <a:pt x="9545" y="107000"/>
                    <a:pt x="9545" y="107000"/>
                  </a:cubicBezTo>
                  <a:cubicBezTo>
                    <a:pt x="9545" y="110000"/>
                    <a:pt x="9545" y="110000"/>
                    <a:pt x="9545" y="110000"/>
                  </a:cubicBezTo>
                  <a:cubicBezTo>
                    <a:pt x="9545" y="110000"/>
                    <a:pt x="8863" y="110000"/>
                    <a:pt x="8181" y="110000"/>
                  </a:cubicBezTo>
                  <a:cubicBezTo>
                    <a:pt x="8181" y="111000"/>
                    <a:pt x="8181" y="112000"/>
                    <a:pt x="7500" y="112000"/>
                  </a:cubicBezTo>
                  <a:cubicBezTo>
                    <a:pt x="7500" y="112000"/>
                    <a:pt x="7500" y="114000"/>
                    <a:pt x="6818" y="115000"/>
                  </a:cubicBezTo>
                  <a:cubicBezTo>
                    <a:pt x="6818" y="116000"/>
                    <a:pt x="7500" y="117000"/>
                    <a:pt x="7500" y="118000"/>
                  </a:cubicBezTo>
                  <a:cubicBezTo>
                    <a:pt x="7500" y="120000"/>
                    <a:pt x="8181" y="119000"/>
                    <a:pt x="8863" y="119000"/>
                  </a:cubicBezTo>
                  <a:cubicBezTo>
                    <a:pt x="8863" y="119000"/>
                    <a:pt x="9545" y="118000"/>
                    <a:pt x="9545" y="118000"/>
                  </a:cubicBezTo>
                  <a:cubicBezTo>
                    <a:pt x="10227" y="118000"/>
                    <a:pt x="10909" y="116000"/>
                    <a:pt x="11590" y="115000"/>
                  </a:cubicBezTo>
                  <a:cubicBezTo>
                    <a:pt x="11590" y="114000"/>
                    <a:pt x="11590" y="113000"/>
                    <a:pt x="11590" y="113000"/>
                  </a:cubicBezTo>
                  <a:cubicBezTo>
                    <a:pt x="10909" y="112000"/>
                    <a:pt x="11590" y="110000"/>
                    <a:pt x="11590" y="110000"/>
                  </a:cubicBezTo>
                  <a:cubicBezTo>
                    <a:pt x="11590" y="109000"/>
                    <a:pt x="11590" y="109000"/>
                    <a:pt x="11590" y="109000"/>
                  </a:cubicBezTo>
                  <a:cubicBezTo>
                    <a:pt x="10909" y="105000"/>
                    <a:pt x="10909" y="105000"/>
                    <a:pt x="10909" y="105000"/>
                  </a:cubicBezTo>
                  <a:cubicBezTo>
                    <a:pt x="12272" y="101000"/>
                    <a:pt x="12272" y="101000"/>
                    <a:pt x="12272" y="101000"/>
                  </a:cubicBezTo>
                  <a:cubicBezTo>
                    <a:pt x="13636" y="101000"/>
                    <a:pt x="13636" y="101000"/>
                    <a:pt x="13636" y="101000"/>
                  </a:cubicBezTo>
                  <a:cubicBezTo>
                    <a:pt x="15681" y="99000"/>
                    <a:pt x="15681" y="99000"/>
                    <a:pt x="15681" y="99000"/>
                  </a:cubicBezTo>
                  <a:cubicBezTo>
                    <a:pt x="15681" y="99000"/>
                    <a:pt x="15681" y="99000"/>
                    <a:pt x="15681" y="99000"/>
                  </a:cubicBezTo>
                  <a:cubicBezTo>
                    <a:pt x="15681" y="99000"/>
                    <a:pt x="16363" y="99000"/>
                    <a:pt x="17045" y="98000"/>
                  </a:cubicBezTo>
                  <a:cubicBezTo>
                    <a:pt x="18409" y="98000"/>
                    <a:pt x="17727" y="99000"/>
                    <a:pt x="18409" y="99000"/>
                  </a:cubicBezTo>
                  <a:cubicBezTo>
                    <a:pt x="18409" y="100000"/>
                    <a:pt x="19090" y="100000"/>
                    <a:pt x="19772" y="100000"/>
                  </a:cubicBezTo>
                  <a:cubicBezTo>
                    <a:pt x="19772" y="100000"/>
                    <a:pt x="20454" y="98000"/>
                    <a:pt x="20454" y="98000"/>
                  </a:cubicBezTo>
                  <a:cubicBezTo>
                    <a:pt x="20454" y="97000"/>
                    <a:pt x="19772" y="97000"/>
                    <a:pt x="19772" y="97000"/>
                  </a:cubicBezTo>
                  <a:cubicBezTo>
                    <a:pt x="19090" y="95000"/>
                    <a:pt x="19090" y="95000"/>
                    <a:pt x="19090" y="95000"/>
                  </a:cubicBezTo>
                  <a:cubicBezTo>
                    <a:pt x="21136" y="94000"/>
                    <a:pt x="21136" y="94000"/>
                    <a:pt x="21136" y="94000"/>
                  </a:cubicBezTo>
                  <a:cubicBezTo>
                    <a:pt x="21818" y="93000"/>
                    <a:pt x="21818" y="93000"/>
                    <a:pt x="21818" y="93000"/>
                  </a:cubicBezTo>
                  <a:cubicBezTo>
                    <a:pt x="23181" y="91000"/>
                    <a:pt x="23181" y="91000"/>
                    <a:pt x="23181" y="91000"/>
                  </a:cubicBezTo>
                  <a:cubicBezTo>
                    <a:pt x="22500" y="89000"/>
                    <a:pt x="22500" y="89000"/>
                    <a:pt x="22500" y="89000"/>
                  </a:cubicBezTo>
                  <a:cubicBezTo>
                    <a:pt x="22500" y="89000"/>
                    <a:pt x="23863" y="89000"/>
                    <a:pt x="24545" y="89000"/>
                  </a:cubicBezTo>
                  <a:cubicBezTo>
                    <a:pt x="24545" y="89000"/>
                    <a:pt x="24545" y="88000"/>
                    <a:pt x="24545" y="88000"/>
                  </a:cubicBezTo>
                  <a:cubicBezTo>
                    <a:pt x="23863" y="86000"/>
                    <a:pt x="23863" y="86000"/>
                    <a:pt x="23863" y="86000"/>
                  </a:cubicBezTo>
                  <a:cubicBezTo>
                    <a:pt x="23863" y="86000"/>
                    <a:pt x="25227" y="86000"/>
                    <a:pt x="25909" y="85000"/>
                  </a:cubicBezTo>
                  <a:cubicBezTo>
                    <a:pt x="25909" y="85000"/>
                    <a:pt x="25227" y="84000"/>
                    <a:pt x="25227" y="84000"/>
                  </a:cubicBezTo>
                  <a:cubicBezTo>
                    <a:pt x="25227" y="83000"/>
                    <a:pt x="25909" y="82000"/>
                    <a:pt x="25909" y="82000"/>
                  </a:cubicBezTo>
                  <a:cubicBezTo>
                    <a:pt x="25909" y="82000"/>
                    <a:pt x="27272" y="84000"/>
                    <a:pt x="27954" y="84000"/>
                  </a:cubicBezTo>
                  <a:cubicBezTo>
                    <a:pt x="28636" y="85000"/>
                    <a:pt x="28636" y="84000"/>
                    <a:pt x="29318" y="84000"/>
                  </a:cubicBezTo>
                  <a:cubicBezTo>
                    <a:pt x="29318" y="83000"/>
                    <a:pt x="28636" y="82000"/>
                    <a:pt x="28636" y="82000"/>
                  </a:cubicBezTo>
                  <a:cubicBezTo>
                    <a:pt x="27954" y="81000"/>
                    <a:pt x="27954" y="81000"/>
                    <a:pt x="27954" y="81000"/>
                  </a:cubicBezTo>
                  <a:cubicBezTo>
                    <a:pt x="25909" y="80000"/>
                    <a:pt x="25909" y="80000"/>
                    <a:pt x="25909" y="80000"/>
                  </a:cubicBezTo>
                  <a:cubicBezTo>
                    <a:pt x="23181" y="78000"/>
                    <a:pt x="23181" y="78000"/>
                    <a:pt x="23181" y="78000"/>
                  </a:cubicBezTo>
                  <a:cubicBezTo>
                    <a:pt x="23181" y="78000"/>
                    <a:pt x="21136" y="78000"/>
                    <a:pt x="21136" y="77000"/>
                  </a:cubicBezTo>
                  <a:cubicBezTo>
                    <a:pt x="20454" y="77000"/>
                    <a:pt x="20454" y="77000"/>
                    <a:pt x="20454" y="77000"/>
                  </a:cubicBezTo>
                  <a:cubicBezTo>
                    <a:pt x="20454" y="77000"/>
                    <a:pt x="19090" y="77000"/>
                    <a:pt x="19090" y="77000"/>
                  </a:cubicBezTo>
                  <a:cubicBezTo>
                    <a:pt x="18409" y="77000"/>
                    <a:pt x="17727" y="78000"/>
                    <a:pt x="17045" y="79000"/>
                  </a:cubicBezTo>
                  <a:cubicBezTo>
                    <a:pt x="17045" y="79000"/>
                    <a:pt x="16363" y="80000"/>
                    <a:pt x="15681" y="80000"/>
                  </a:cubicBezTo>
                  <a:cubicBezTo>
                    <a:pt x="15681" y="80000"/>
                    <a:pt x="15000" y="78000"/>
                    <a:pt x="15000" y="78000"/>
                  </a:cubicBezTo>
                  <a:cubicBezTo>
                    <a:pt x="13636" y="78000"/>
                    <a:pt x="13636" y="78000"/>
                    <a:pt x="13636" y="78000"/>
                  </a:cubicBezTo>
                  <a:cubicBezTo>
                    <a:pt x="13636" y="78000"/>
                    <a:pt x="12954" y="80000"/>
                    <a:pt x="12954" y="81000"/>
                  </a:cubicBezTo>
                  <a:cubicBezTo>
                    <a:pt x="12954" y="81000"/>
                    <a:pt x="11590" y="81000"/>
                    <a:pt x="10909" y="81000"/>
                  </a:cubicBezTo>
                  <a:cubicBezTo>
                    <a:pt x="10227" y="82000"/>
                    <a:pt x="9545" y="82000"/>
                    <a:pt x="8863" y="83000"/>
                  </a:cubicBezTo>
                  <a:cubicBezTo>
                    <a:pt x="8181" y="83000"/>
                    <a:pt x="9545" y="84000"/>
                    <a:pt x="9545" y="84000"/>
                  </a:cubicBezTo>
                  <a:cubicBezTo>
                    <a:pt x="9545" y="86000"/>
                    <a:pt x="9545" y="86000"/>
                    <a:pt x="9545" y="86000"/>
                  </a:cubicBezTo>
                  <a:cubicBezTo>
                    <a:pt x="8181" y="86000"/>
                    <a:pt x="8181" y="86000"/>
                    <a:pt x="8181" y="86000"/>
                  </a:cubicBezTo>
                  <a:cubicBezTo>
                    <a:pt x="7500" y="85000"/>
                    <a:pt x="7500" y="85000"/>
                    <a:pt x="7500" y="85000"/>
                  </a:cubicBezTo>
                  <a:cubicBezTo>
                    <a:pt x="6136" y="87000"/>
                    <a:pt x="6136" y="87000"/>
                    <a:pt x="6136" y="87000"/>
                  </a:cubicBezTo>
                  <a:cubicBezTo>
                    <a:pt x="5454" y="89000"/>
                    <a:pt x="5454" y="89000"/>
                    <a:pt x="5454" y="89000"/>
                  </a:cubicBezTo>
                  <a:cubicBezTo>
                    <a:pt x="5454" y="89000"/>
                    <a:pt x="6136" y="91000"/>
                    <a:pt x="6136" y="91000"/>
                  </a:cubicBezTo>
                  <a:close/>
                  <a:moveTo>
                    <a:pt x="23863" y="76000"/>
                  </a:moveTo>
                  <a:cubicBezTo>
                    <a:pt x="23863" y="76000"/>
                    <a:pt x="23863" y="76000"/>
                    <a:pt x="23863" y="76000"/>
                  </a:cubicBezTo>
                  <a:cubicBezTo>
                    <a:pt x="24545" y="77000"/>
                    <a:pt x="24545" y="77000"/>
                    <a:pt x="24545" y="77000"/>
                  </a:cubicBezTo>
                  <a:cubicBezTo>
                    <a:pt x="24545" y="77000"/>
                    <a:pt x="25227" y="78000"/>
                    <a:pt x="26590" y="78000"/>
                  </a:cubicBezTo>
                  <a:cubicBezTo>
                    <a:pt x="28636" y="78000"/>
                    <a:pt x="28636" y="80000"/>
                    <a:pt x="30000" y="78000"/>
                  </a:cubicBezTo>
                  <a:cubicBezTo>
                    <a:pt x="30000" y="77000"/>
                    <a:pt x="30000" y="77000"/>
                    <a:pt x="29318" y="76000"/>
                  </a:cubicBezTo>
                  <a:cubicBezTo>
                    <a:pt x="29318" y="75000"/>
                    <a:pt x="28636" y="75000"/>
                    <a:pt x="28636" y="74000"/>
                  </a:cubicBezTo>
                  <a:cubicBezTo>
                    <a:pt x="28636" y="74000"/>
                    <a:pt x="28636" y="74000"/>
                    <a:pt x="27272" y="72000"/>
                  </a:cubicBezTo>
                  <a:cubicBezTo>
                    <a:pt x="26590" y="71000"/>
                    <a:pt x="26590" y="72000"/>
                    <a:pt x="25909" y="72000"/>
                  </a:cubicBezTo>
                  <a:cubicBezTo>
                    <a:pt x="25227" y="72000"/>
                    <a:pt x="24545" y="72000"/>
                    <a:pt x="23863" y="72000"/>
                  </a:cubicBezTo>
                  <a:cubicBezTo>
                    <a:pt x="23181" y="73000"/>
                    <a:pt x="24545" y="74000"/>
                    <a:pt x="24545" y="75000"/>
                  </a:cubicBezTo>
                  <a:cubicBezTo>
                    <a:pt x="24545" y="75000"/>
                    <a:pt x="23863" y="76000"/>
                    <a:pt x="23863" y="76000"/>
                  </a:cubicBezTo>
                  <a:close/>
                  <a:moveTo>
                    <a:pt x="15000" y="57000"/>
                  </a:moveTo>
                  <a:cubicBezTo>
                    <a:pt x="15000" y="57000"/>
                    <a:pt x="15000" y="57000"/>
                    <a:pt x="15000" y="57000"/>
                  </a:cubicBezTo>
                  <a:cubicBezTo>
                    <a:pt x="15000" y="56000"/>
                    <a:pt x="16363" y="56000"/>
                    <a:pt x="17045" y="57000"/>
                  </a:cubicBezTo>
                  <a:cubicBezTo>
                    <a:pt x="17045" y="57000"/>
                    <a:pt x="18409" y="58000"/>
                    <a:pt x="18409" y="59000"/>
                  </a:cubicBezTo>
                  <a:cubicBezTo>
                    <a:pt x="18409" y="59000"/>
                    <a:pt x="19090" y="59000"/>
                    <a:pt x="19090" y="60000"/>
                  </a:cubicBezTo>
                  <a:cubicBezTo>
                    <a:pt x="19090" y="60000"/>
                    <a:pt x="19772" y="61000"/>
                    <a:pt x="19772" y="62000"/>
                  </a:cubicBezTo>
                  <a:cubicBezTo>
                    <a:pt x="20454" y="63000"/>
                    <a:pt x="21136" y="64000"/>
                    <a:pt x="21136" y="64000"/>
                  </a:cubicBezTo>
                  <a:cubicBezTo>
                    <a:pt x="21136" y="64000"/>
                    <a:pt x="21818" y="65000"/>
                    <a:pt x="21136" y="65000"/>
                  </a:cubicBezTo>
                  <a:cubicBezTo>
                    <a:pt x="20454" y="65000"/>
                    <a:pt x="18409" y="65000"/>
                    <a:pt x="18409" y="65000"/>
                  </a:cubicBezTo>
                  <a:cubicBezTo>
                    <a:pt x="18409" y="65000"/>
                    <a:pt x="17727" y="66000"/>
                    <a:pt x="17727" y="66000"/>
                  </a:cubicBezTo>
                  <a:cubicBezTo>
                    <a:pt x="17727" y="67000"/>
                    <a:pt x="19090" y="68000"/>
                    <a:pt x="18409" y="68000"/>
                  </a:cubicBezTo>
                  <a:cubicBezTo>
                    <a:pt x="17727" y="69000"/>
                    <a:pt x="17727" y="69000"/>
                    <a:pt x="17045" y="69000"/>
                  </a:cubicBezTo>
                  <a:cubicBezTo>
                    <a:pt x="16363" y="68000"/>
                    <a:pt x="15681" y="66000"/>
                    <a:pt x="15681" y="66000"/>
                  </a:cubicBezTo>
                  <a:cubicBezTo>
                    <a:pt x="15000" y="67000"/>
                    <a:pt x="15000" y="70000"/>
                    <a:pt x="15000" y="70000"/>
                  </a:cubicBezTo>
                  <a:cubicBezTo>
                    <a:pt x="15000" y="71000"/>
                    <a:pt x="15681" y="72000"/>
                    <a:pt x="15000" y="73000"/>
                  </a:cubicBezTo>
                  <a:cubicBezTo>
                    <a:pt x="15000" y="73000"/>
                    <a:pt x="12954" y="74000"/>
                    <a:pt x="12954" y="74000"/>
                  </a:cubicBezTo>
                  <a:cubicBezTo>
                    <a:pt x="12954" y="74000"/>
                    <a:pt x="12272" y="74000"/>
                    <a:pt x="12272" y="74000"/>
                  </a:cubicBezTo>
                  <a:cubicBezTo>
                    <a:pt x="11590" y="74000"/>
                    <a:pt x="10227" y="72000"/>
                    <a:pt x="9545" y="71000"/>
                  </a:cubicBezTo>
                  <a:cubicBezTo>
                    <a:pt x="9545" y="70000"/>
                    <a:pt x="9545" y="68000"/>
                    <a:pt x="9545" y="68000"/>
                  </a:cubicBezTo>
                  <a:cubicBezTo>
                    <a:pt x="8863" y="67000"/>
                    <a:pt x="8181" y="66000"/>
                    <a:pt x="8181" y="66000"/>
                  </a:cubicBezTo>
                  <a:cubicBezTo>
                    <a:pt x="8181" y="66000"/>
                    <a:pt x="8863" y="65000"/>
                    <a:pt x="7500" y="66000"/>
                  </a:cubicBezTo>
                  <a:cubicBezTo>
                    <a:pt x="5454" y="66000"/>
                    <a:pt x="6136" y="67000"/>
                    <a:pt x="5454" y="67000"/>
                  </a:cubicBezTo>
                  <a:cubicBezTo>
                    <a:pt x="4772" y="66000"/>
                    <a:pt x="4772" y="65000"/>
                    <a:pt x="3409" y="65000"/>
                  </a:cubicBezTo>
                  <a:cubicBezTo>
                    <a:pt x="2727" y="65000"/>
                    <a:pt x="2045" y="64000"/>
                    <a:pt x="2045" y="64000"/>
                  </a:cubicBezTo>
                  <a:cubicBezTo>
                    <a:pt x="2045" y="64000"/>
                    <a:pt x="4090" y="62000"/>
                    <a:pt x="4772" y="62000"/>
                  </a:cubicBezTo>
                  <a:cubicBezTo>
                    <a:pt x="5454" y="62000"/>
                    <a:pt x="4772" y="62000"/>
                    <a:pt x="6136" y="62000"/>
                  </a:cubicBezTo>
                  <a:cubicBezTo>
                    <a:pt x="8181" y="61000"/>
                    <a:pt x="8863" y="63000"/>
                    <a:pt x="8863" y="61000"/>
                  </a:cubicBezTo>
                  <a:cubicBezTo>
                    <a:pt x="9545" y="59000"/>
                    <a:pt x="9545" y="58000"/>
                    <a:pt x="10227" y="57000"/>
                  </a:cubicBezTo>
                  <a:cubicBezTo>
                    <a:pt x="10227" y="56000"/>
                    <a:pt x="10909" y="54000"/>
                    <a:pt x="10909" y="54000"/>
                  </a:cubicBezTo>
                  <a:cubicBezTo>
                    <a:pt x="10909" y="53000"/>
                    <a:pt x="12954" y="53000"/>
                    <a:pt x="12954" y="53000"/>
                  </a:cubicBezTo>
                  <a:cubicBezTo>
                    <a:pt x="13636" y="56000"/>
                    <a:pt x="13636" y="56000"/>
                    <a:pt x="13636" y="56000"/>
                  </a:cubicBezTo>
                  <a:cubicBezTo>
                    <a:pt x="13636" y="56000"/>
                    <a:pt x="13636" y="57000"/>
                    <a:pt x="14318" y="57000"/>
                  </a:cubicBezTo>
                  <a:cubicBezTo>
                    <a:pt x="15000" y="57000"/>
                    <a:pt x="15000" y="57000"/>
                    <a:pt x="15000" y="57000"/>
                  </a:cubicBezTo>
                  <a:close/>
                  <a:moveTo>
                    <a:pt x="24545" y="52000"/>
                  </a:moveTo>
                  <a:cubicBezTo>
                    <a:pt x="24545" y="52000"/>
                    <a:pt x="24545" y="52000"/>
                    <a:pt x="24545" y="52000"/>
                  </a:cubicBezTo>
                  <a:cubicBezTo>
                    <a:pt x="23863" y="53000"/>
                    <a:pt x="23863" y="53000"/>
                    <a:pt x="23863" y="53000"/>
                  </a:cubicBezTo>
                  <a:cubicBezTo>
                    <a:pt x="21136" y="53000"/>
                    <a:pt x="21136" y="53000"/>
                    <a:pt x="21136" y="53000"/>
                  </a:cubicBezTo>
                  <a:cubicBezTo>
                    <a:pt x="21136" y="55000"/>
                    <a:pt x="21136" y="55000"/>
                    <a:pt x="21136" y="55000"/>
                  </a:cubicBezTo>
                  <a:cubicBezTo>
                    <a:pt x="22500" y="57000"/>
                    <a:pt x="22500" y="57000"/>
                    <a:pt x="22500" y="57000"/>
                  </a:cubicBezTo>
                  <a:cubicBezTo>
                    <a:pt x="22500" y="57000"/>
                    <a:pt x="23181" y="56000"/>
                    <a:pt x="23863" y="56000"/>
                  </a:cubicBezTo>
                  <a:cubicBezTo>
                    <a:pt x="24545" y="56000"/>
                    <a:pt x="25909" y="56000"/>
                    <a:pt x="25909" y="56000"/>
                  </a:cubicBezTo>
                  <a:cubicBezTo>
                    <a:pt x="26590" y="55000"/>
                    <a:pt x="26590" y="55000"/>
                    <a:pt x="26590" y="55000"/>
                  </a:cubicBezTo>
                  <a:cubicBezTo>
                    <a:pt x="25909" y="52000"/>
                    <a:pt x="25909" y="52000"/>
                    <a:pt x="25909" y="52000"/>
                  </a:cubicBezTo>
                  <a:lnTo>
                    <a:pt x="24545" y="52000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7" name="Shape 2038"/>
            <p:cNvSpPr/>
            <p:nvPr/>
          </p:nvSpPr>
          <p:spPr>
            <a:xfrm>
              <a:off x="6144085" y="3377866"/>
              <a:ext cx="556312" cy="4059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442" y="24782"/>
                  </a:moveTo>
                  <a:cubicBezTo>
                    <a:pt x="3442" y="23478"/>
                    <a:pt x="3442" y="23478"/>
                    <a:pt x="3442" y="23478"/>
                  </a:cubicBezTo>
                  <a:cubicBezTo>
                    <a:pt x="3442" y="23478"/>
                    <a:pt x="3442" y="23478"/>
                    <a:pt x="3442" y="23478"/>
                  </a:cubicBezTo>
                  <a:cubicBezTo>
                    <a:pt x="6885" y="22173"/>
                    <a:pt x="9836" y="24782"/>
                    <a:pt x="11311" y="24782"/>
                  </a:cubicBezTo>
                  <a:cubicBezTo>
                    <a:pt x="14262" y="25434"/>
                    <a:pt x="7868" y="30000"/>
                    <a:pt x="8852" y="30000"/>
                  </a:cubicBezTo>
                  <a:cubicBezTo>
                    <a:pt x="9836" y="29347"/>
                    <a:pt x="8852" y="33260"/>
                    <a:pt x="10327" y="33913"/>
                  </a:cubicBezTo>
                  <a:cubicBezTo>
                    <a:pt x="12786" y="34565"/>
                    <a:pt x="14754" y="31956"/>
                    <a:pt x="17704" y="31956"/>
                  </a:cubicBezTo>
                  <a:cubicBezTo>
                    <a:pt x="20163" y="31304"/>
                    <a:pt x="23114" y="33260"/>
                    <a:pt x="24098" y="31956"/>
                  </a:cubicBezTo>
                  <a:cubicBezTo>
                    <a:pt x="26065" y="28695"/>
                    <a:pt x="33934" y="35217"/>
                    <a:pt x="37868" y="31956"/>
                  </a:cubicBezTo>
                  <a:cubicBezTo>
                    <a:pt x="40327" y="29347"/>
                    <a:pt x="50163" y="28043"/>
                    <a:pt x="53606" y="28043"/>
                  </a:cubicBezTo>
                  <a:cubicBezTo>
                    <a:pt x="62459" y="27391"/>
                    <a:pt x="62950" y="27391"/>
                    <a:pt x="66885" y="24130"/>
                  </a:cubicBezTo>
                  <a:cubicBezTo>
                    <a:pt x="66885" y="24130"/>
                    <a:pt x="69344" y="16956"/>
                    <a:pt x="70819" y="13695"/>
                  </a:cubicBezTo>
                  <a:cubicBezTo>
                    <a:pt x="71803" y="11086"/>
                    <a:pt x="74754" y="9782"/>
                    <a:pt x="77704" y="7173"/>
                  </a:cubicBezTo>
                  <a:cubicBezTo>
                    <a:pt x="80163" y="4565"/>
                    <a:pt x="86557" y="1956"/>
                    <a:pt x="88032" y="1304"/>
                  </a:cubicBezTo>
                  <a:cubicBezTo>
                    <a:pt x="89508" y="1304"/>
                    <a:pt x="99836" y="1956"/>
                    <a:pt x="99836" y="1956"/>
                  </a:cubicBezTo>
                  <a:cubicBezTo>
                    <a:pt x="105245" y="0"/>
                    <a:pt x="105245" y="0"/>
                    <a:pt x="105245" y="0"/>
                  </a:cubicBezTo>
                  <a:cubicBezTo>
                    <a:pt x="105245" y="0"/>
                    <a:pt x="106229" y="5217"/>
                    <a:pt x="107704" y="5869"/>
                  </a:cubicBezTo>
                  <a:cubicBezTo>
                    <a:pt x="112131" y="6521"/>
                    <a:pt x="115573" y="6521"/>
                    <a:pt x="117049" y="5217"/>
                  </a:cubicBezTo>
                  <a:cubicBezTo>
                    <a:pt x="117540" y="5217"/>
                    <a:pt x="117540" y="6521"/>
                    <a:pt x="118032" y="7173"/>
                  </a:cubicBezTo>
                  <a:cubicBezTo>
                    <a:pt x="118524" y="8478"/>
                    <a:pt x="119016" y="11086"/>
                    <a:pt x="119016" y="11086"/>
                  </a:cubicBezTo>
                  <a:cubicBezTo>
                    <a:pt x="118524" y="14347"/>
                    <a:pt x="118524" y="14347"/>
                    <a:pt x="118524" y="14347"/>
                  </a:cubicBezTo>
                  <a:cubicBezTo>
                    <a:pt x="118032" y="15000"/>
                    <a:pt x="118032" y="15000"/>
                    <a:pt x="118032" y="15000"/>
                  </a:cubicBezTo>
                  <a:cubicBezTo>
                    <a:pt x="115573" y="16956"/>
                    <a:pt x="115573" y="16956"/>
                    <a:pt x="115573" y="16956"/>
                  </a:cubicBezTo>
                  <a:cubicBezTo>
                    <a:pt x="115573" y="16956"/>
                    <a:pt x="114590" y="16956"/>
                    <a:pt x="114098" y="17608"/>
                  </a:cubicBezTo>
                  <a:cubicBezTo>
                    <a:pt x="113606" y="17608"/>
                    <a:pt x="112622" y="18260"/>
                    <a:pt x="112622" y="18260"/>
                  </a:cubicBezTo>
                  <a:cubicBezTo>
                    <a:pt x="112622" y="18260"/>
                    <a:pt x="111639" y="19565"/>
                    <a:pt x="111639" y="20217"/>
                  </a:cubicBezTo>
                  <a:cubicBezTo>
                    <a:pt x="111147" y="21521"/>
                    <a:pt x="110655" y="23478"/>
                    <a:pt x="110655" y="23478"/>
                  </a:cubicBezTo>
                  <a:cubicBezTo>
                    <a:pt x="109672" y="26739"/>
                    <a:pt x="109672" y="26739"/>
                    <a:pt x="109672" y="26739"/>
                  </a:cubicBezTo>
                  <a:cubicBezTo>
                    <a:pt x="109672" y="31304"/>
                    <a:pt x="109672" y="31304"/>
                    <a:pt x="109672" y="31304"/>
                  </a:cubicBezTo>
                  <a:cubicBezTo>
                    <a:pt x="110655" y="36521"/>
                    <a:pt x="110655" y="36521"/>
                    <a:pt x="110655" y="36521"/>
                  </a:cubicBezTo>
                  <a:cubicBezTo>
                    <a:pt x="111639" y="42391"/>
                    <a:pt x="111639" y="42391"/>
                    <a:pt x="111639" y="42391"/>
                  </a:cubicBezTo>
                  <a:cubicBezTo>
                    <a:pt x="111639" y="42391"/>
                    <a:pt x="110163" y="44347"/>
                    <a:pt x="109672" y="44347"/>
                  </a:cubicBezTo>
                  <a:cubicBezTo>
                    <a:pt x="109672" y="44347"/>
                    <a:pt x="109180" y="45000"/>
                    <a:pt x="109180" y="45000"/>
                  </a:cubicBezTo>
                  <a:cubicBezTo>
                    <a:pt x="109180" y="46304"/>
                    <a:pt x="109180" y="46304"/>
                    <a:pt x="109180" y="46304"/>
                  </a:cubicBezTo>
                  <a:cubicBezTo>
                    <a:pt x="108688" y="48260"/>
                    <a:pt x="108688" y="48260"/>
                    <a:pt x="108688" y="48260"/>
                  </a:cubicBezTo>
                  <a:cubicBezTo>
                    <a:pt x="108196" y="49565"/>
                    <a:pt x="108196" y="49565"/>
                    <a:pt x="108196" y="49565"/>
                  </a:cubicBezTo>
                  <a:cubicBezTo>
                    <a:pt x="108196" y="49565"/>
                    <a:pt x="107704" y="50869"/>
                    <a:pt x="107213" y="50869"/>
                  </a:cubicBezTo>
                  <a:cubicBezTo>
                    <a:pt x="106721" y="51521"/>
                    <a:pt x="105737" y="52826"/>
                    <a:pt x="105737" y="52826"/>
                  </a:cubicBezTo>
                  <a:cubicBezTo>
                    <a:pt x="106229" y="54130"/>
                    <a:pt x="106229" y="54130"/>
                    <a:pt x="106229" y="54130"/>
                  </a:cubicBezTo>
                  <a:cubicBezTo>
                    <a:pt x="111639" y="55434"/>
                    <a:pt x="111639" y="55434"/>
                    <a:pt x="111639" y="55434"/>
                  </a:cubicBezTo>
                  <a:cubicBezTo>
                    <a:pt x="111639" y="56739"/>
                    <a:pt x="111639" y="56739"/>
                    <a:pt x="111639" y="56739"/>
                  </a:cubicBezTo>
                  <a:cubicBezTo>
                    <a:pt x="114098" y="60000"/>
                    <a:pt x="114098" y="60000"/>
                    <a:pt x="114098" y="60000"/>
                  </a:cubicBezTo>
                  <a:cubicBezTo>
                    <a:pt x="115573" y="63260"/>
                    <a:pt x="115573" y="63260"/>
                    <a:pt x="115573" y="63260"/>
                  </a:cubicBezTo>
                  <a:cubicBezTo>
                    <a:pt x="118032" y="64565"/>
                    <a:pt x="118032" y="64565"/>
                    <a:pt x="118032" y="64565"/>
                  </a:cubicBezTo>
                  <a:cubicBezTo>
                    <a:pt x="118032" y="64565"/>
                    <a:pt x="120000" y="66521"/>
                    <a:pt x="120000" y="66521"/>
                  </a:cubicBezTo>
                  <a:cubicBezTo>
                    <a:pt x="119508" y="67173"/>
                    <a:pt x="117049" y="68478"/>
                    <a:pt x="117049" y="68478"/>
                  </a:cubicBezTo>
                  <a:cubicBezTo>
                    <a:pt x="115573" y="69782"/>
                    <a:pt x="115573" y="69782"/>
                    <a:pt x="115573" y="69782"/>
                  </a:cubicBezTo>
                  <a:cubicBezTo>
                    <a:pt x="115573" y="69782"/>
                    <a:pt x="114590" y="69782"/>
                    <a:pt x="113606" y="70434"/>
                  </a:cubicBezTo>
                  <a:cubicBezTo>
                    <a:pt x="113114" y="71086"/>
                    <a:pt x="110163" y="73043"/>
                    <a:pt x="110163" y="73043"/>
                  </a:cubicBezTo>
                  <a:cubicBezTo>
                    <a:pt x="106229" y="69782"/>
                    <a:pt x="106229" y="69782"/>
                    <a:pt x="106229" y="69782"/>
                  </a:cubicBezTo>
                  <a:cubicBezTo>
                    <a:pt x="103770" y="69130"/>
                    <a:pt x="103770" y="69130"/>
                    <a:pt x="103770" y="69130"/>
                  </a:cubicBezTo>
                  <a:cubicBezTo>
                    <a:pt x="102786" y="71086"/>
                    <a:pt x="102786" y="71086"/>
                    <a:pt x="102786" y="71086"/>
                  </a:cubicBezTo>
                  <a:cubicBezTo>
                    <a:pt x="100327" y="71739"/>
                    <a:pt x="100327" y="71739"/>
                    <a:pt x="100327" y="71739"/>
                  </a:cubicBezTo>
                  <a:cubicBezTo>
                    <a:pt x="98852" y="75000"/>
                    <a:pt x="98852" y="75000"/>
                    <a:pt x="98852" y="75000"/>
                  </a:cubicBezTo>
                  <a:cubicBezTo>
                    <a:pt x="98852" y="75000"/>
                    <a:pt x="95409" y="76304"/>
                    <a:pt x="94426" y="76956"/>
                  </a:cubicBezTo>
                  <a:cubicBezTo>
                    <a:pt x="93934" y="77608"/>
                    <a:pt x="91967" y="79565"/>
                    <a:pt x="91967" y="79565"/>
                  </a:cubicBezTo>
                  <a:cubicBezTo>
                    <a:pt x="92459" y="82173"/>
                    <a:pt x="92459" y="82173"/>
                    <a:pt x="92459" y="82173"/>
                  </a:cubicBezTo>
                  <a:cubicBezTo>
                    <a:pt x="90491" y="84130"/>
                    <a:pt x="90491" y="84130"/>
                    <a:pt x="90491" y="84130"/>
                  </a:cubicBezTo>
                  <a:cubicBezTo>
                    <a:pt x="90491" y="84130"/>
                    <a:pt x="89016" y="84782"/>
                    <a:pt x="88524" y="86086"/>
                  </a:cubicBezTo>
                  <a:cubicBezTo>
                    <a:pt x="88524" y="87391"/>
                    <a:pt x="89016" y="88043"/>
                    <a:pt x="89016" y="88043"/>
                  </a:cubicBezTo>
                  <a:cubicBezTo>
                    <a:pt x="88032" y="88043"/>
                    <a:pt x="86557" y="88695"/>
                    <a:pt x="86065" y="89347"/>
                  </a:cubicBezTo>
                  <a:cubicBezTo>
                    <a:pt x="85573" y="89347"/>
                    <a:pt x="85573" y="90652"/>
                    <a:pt x="86065" y="91956"/>
                  </a:cubicBezTo>
                  <a:cubicBezTo>
                    <a:pt x="86065" y="92608"/>
                    <a:pt x="87049" y="93913"/>
                    <a:pt x="88032" y="95869"/>
                  </a:cubicBezTo>
                  <a:cubicBezTo>
                    <a:pt x="88524" y="97826"/>
                    <a:pt x="89016" y="97826"/>
                    <a:pt x="89016" y="98478"/>
                  </a:cubicBezTo>
                  <a:cubicBezTo>
                    <a:pt x="89016" y="99130"/>
                    <a:pt x="88524" y="101086"/>
                    <a:pt x="88032" y="101739"/>
                  </a:cubicBezTo>
                  <a:cubicBezTo>
                    <a:pt x="87049" y="103043"/>
                    <a:pt x="86065" y="103043"/>
                    <a:pt x="85573" y="103043"/>
                  </a:cubicBezTo>
                  <a:cubicBezTo>
                    <a:pt x="85081" y="103695"/>
                    <a:pt x="83606" y="105000"/>
                    <a:pt x="83114" y="105000"/>
                  </a:cubicBezTo>
                  <a:cubicBezTo>
                    <a:pt x="82622" y="105652"/>
                    <a:pt x="80163" y="106304"/>
                    <a:pt x="79672" y="106304"/>
                  </a:cubicBezTo>
                  <a:cubicBezTo>
                    <a:pt x="79180" y="106304"/>
                    <a:pt x="76229" y="107608"/>
                    <a:pt x="76229" y="107608"/>
                  </a:cubicBezTo>
                  <a:cubicBezTo>
                    <a:pt x="73770" y="108913"/>
                    <a:pt x="73770" y="108913"/>
                    <a:pt x="73770" y="108913"/>
                  </a:cubicBezTo>
                  <a:cubicBezTo>
                    <a:pt x="72295" y="110217"/>
                    <a:pt x="72295" y="110217"/>
                    <a:pt x="72295" y="110217"/>
                  </a:cubicBezTo>
                  <a:cubicBezTo>
                    <a:pt x="68360" y="108913"/>
                    <a:pt x="68360" y="108913"/>
                    <a:pt x="68360" y="108913"/>
                  </a:cubicBezTo>
                  <a:cubicBezTo>
                    <a:pt x="63442" y="106956"/>
                    <a:pt x="63442" y="106956"/>
                    <a:pt x="63442" y="106956"/>
                  </a:cubicBezTo>
                  <a:cubicBezTo>
                    <a:pt x="63442" y="106956"/>
                    <a:pt x="60983" y="109565"/>
                    <a:pt x="60491" y="109565"/>
                  </a:cubicBezTo>
                  <a:cubicBezTo>
                    <a:pt x="60000" y="109565"/>
                    <a:pt x="57049" y="106956"/>
                    <a:pt x="57049" y="106956"/>
                  </a:cubicBezTo>
                  <a:cubicBezTo>
                    <a:pt x="55573" y="103695"/>
                    <a:pt x="55573" y="103695"/>
                    <a:pt x="55573" y="103695"/>
                  </a:cubicBezTo>
                  <a:cubicBezTo>
                    <a:pt x="55573" y="103695"/>
                    <a:pt x="52622" y="104347"/>
                    <a:pt x="52131" y="104347"/>
                  </a:cubicBezTo>
                  <a:cubicBezTo>
                    <a:pt x="51639" y="104347"/>
                    <a:pt x="51147" y="105652"/>
                    <a:pt x="51147" y="106304"/>
                  </a:cubicBezTo>
                  <a:cubicBezTo>
                    <a:pt x="50655" y="106304"/>
                    <a:pt x="49672" y="106304"/>
                    <a:pt x="48688" y="106304"/>
                  </a:cubicBezTo>
                  <a:cubicBezTo>
                    <a:pt x="47213" y="106304"/>
                    <a:pt x="46229" y="107608"/>
                    <a:pt x="46229" y="107608"/>
                  </a:cubicBezTo>
                  <a:cubicBezTo>
                    <a:pt x="45245" y="110217"/>
                    <a:pt x="45245" y="110217"/>
                    <a:pt x="45245" y="110217"/>
                  </a:cubicBezTo>
                  <a:cubicBezTo>
                    <a:pt x="45245" y="110217"/>
                    <a:pt x="42786" y="111521"/>
                    <a:pt x="42786" y="111521"/>
                  </a:cubicBezTo>
                  <a:cubicBezTo>
                    <a:pt x="42295" y="112173"/>
                    <a:pt x="37868" y="114130"/>
                    <a:pt x="37868" y="114130"/>
                  </a:cubicBezTo>
                  <a:cubicBezTo>
                    <a:pt x="34426" y="115434"/>
                    <a:pt x="34426" y="115434"/>
                    <a:pt x="34426" y="115434"/>
                  </a:cubicBezTo>
                  <a:cubicBezTo>
                    <a:pt x="34426" y="115434"/>
                    <a:pt x="33442" y="116086"/>
                    <a:pt x="32950" y="115434"/>
                  </a:cubicBezTo>
                  <a:cubicBezTo>
                    <a:pt x="32459" y="115434"/>
                    <a:pt x="30983" y="117391"/>
                    <a:pt x="30983" y="117391"/>
                  </a:cubicBezTo>
                  <a:cubicBezTo>
                    <a:pt x="28032" y="120000"/>
                    <a:pt x="28032" y="120000"/>
                    <a:pt x="28032" y="120000"/>
                  </a:cubicBezTo>
                  <a:cubicBezTo>
                    <a:pt x="25081" y="120000"/>
                    <a:pt x="25081" y="120000"/>
                    <a:pt x="25081" y="120000"/>
                  </a:cubicBezTo>
                  <a:cubicBezTo>
                    <a:pt x="25081" y="120000"/>
                    <a:pt x="25081" y="119347"/>
                    <a:pt x="25081" y="119347"/>
                  </a:cubicBezTo>
                  <a:cubicBezTo>
                    <a:pt x="25081" y="119347"/>
                    <a:pt x="25081" y="119347"/>
                    <a:pt x="25081" y="119347"/>
                  </a:cubicBezTo>
                  <a:cubicBezTo>
                    <a:pt x="25081" y="118695"/>
                    <a:pt x="25081" y="118695"/>
                    <a:pt x="25081" y="118695"/>
                  </a:cubicBezTo>
                  <a:cubicBezTo>
                    <a:pt x="25081" y="118043"/>
                    <a:pt x="24590" y="117391"/>
                    <a:pt x="24590" y="116086"/>
                  </a:cubicBezTo>
                  <a:cubicBezTo>
                    <a:pt x="24098" y="114782"/>
                    <a:pt x="23606" y="113478"/>
                    <a:pt x="23606" y="112173"/>
                  </a:cubicBezTo>
                  <a:cubicBezTo>
                    <a:pt x="23606" y="111521"/>
                    <a:pt x="24098" y="110869"/>
                    <a:pt x="24098" y="110217"/>
                  </a:cubicBezTo>
                  <a:cubicBezTo>
                    <a:pt x="24098" y="110217"/>
                    <a:pt x="24098" y="110217"/>
                    <a:pt x="24098" y="110217"/>
                  </a:cubicBezTo>
                  <a:cubicBezTo>
                    <a:pt x="24590" y="109565"/>
                    <a:pt x="24590" y="108913"/>
                    <a:pt x="24590" y="107608"/>
                  </a:cubicBezTo>
                  <a:cubicBezTo>
                    <a:pt x="24098" y="105000"/>
                    <a:pt x="22131" y="105000"/>
                    <a:pt x="21639" y="102391"/>
                  </a:cubicBezTo>
                  <a:cubicBezTo>
                    <a:pt x="21147" y="100434"/>
                    <a:pt x="19180" y="98478"/>
                    <a:pt x="19180" y="97826"/>
                  </a:cubicBezTo>
                  <a:cubicBezTo>
                    <a:pt x="15737" y="95217"/>
                    <a:pt x="13770" y="95869"/>
                    <a:pt x="11803" y="93260"/>
                  </a:cubicBezTo>
                  <a:cubicBezTo>
                    <a:pt x="11311" y="92608"/>
                    <a:pt x="10819" y="91956"/>
                    <a:pt x="10819" y="91304"/>
                  </a:cubicBezTo>
                  <a:cubicBezTo>
                    <a:pt x="11311" y="90652"/>
                    <a:pt x="11311" y="90652"/>
                    <a:pt x="11311" y="90652"/>
                  </a:cubicBezTo>
                  <a:cubicBezTo>
                    <a:pt x="11311" y="90652"/>
                    <a:pt x="10819" y="90652"/>
                    <a:pt x="10327" y="90000"/>
                  </a:cubicBezTo>
                  <a:cubicBezTo>
                    <a:pt x="9836" y="89347"/>
                    <a:pt x="9344" y="88695"/>
                    <a:pt x="8852" y="88043"/>
                  </a:cubicBezTo>
                  <a:cubicBezTo>
                    <a:pt x="8852" y="88043"/>
                    <a:pt x="8852" y="88043"/>
                    <a:pt x="8852" y="88043"/>
                  </a:cubicBezTo>
                  <a:cubicBezTo>
                    <a:pt x="9344" y="88043"/>
                    <a:pt x="9836" y="86739"/>
                    <a:pt x="9836" y="86739"/>
                  </a:cubicBezTo>
                  <a:cubicBezTo>
                    <a:pt x="10327" y="84782"/>
                    <a:pt x="10327" y="84782"/>
                    <a:pt x="10327" y="84782"/>
                  </a:cubicBezTo>
                  <a:cubicBezTo>
                    <a:pt x="10819" y="83478"/>
                    <a:pt x="10819" y="83478"/>
                    <a:pt x="10819" y="83478"/>
                  </a:cubicBezTo>
                  <a:cubicBezTo>
                    <a:pt x="10819" y="83478"/>
                    <a:pt x="10327" y="81521"/>
                    <a:pt x="9836" y="81521"/>
                  </a:cubicBezTo>
                  <a:cubicBezTo>
                    <a:pt x="9836" y="80869"/>
                    <a:pt x="8360" y="80217"/>
                    <a:pt x="8360" y="80217"/>
                  </a:cubicBezTo>
                  <a:cubicBezTo>
                    <a:pt x="8360" y="76956"/>
                    <a:pt x="8360" y="76956"/>
                    <a:pt x="8360" y="76956"/>
                  </a:cubicBezTo>
                  <a:cubicBezTo>
                    <a:pt x="7868" y="73695"/>
                    <a:pt x="7868" y="73695"/>
                    <a:pt x="7868" y="73695"/>
                  </a:cubicBezTo>
                  <a:cubicBezTo>
                    <a:pt x="6885" y="71739"/>
                    <a:pt x="6885" y="71739"/>
                    <a:pt x="6885" y="71739"/>
                  </a:cubicBezTo>
                  <a:cubicBezTo>
                    <a:pt x="6885" y="71739"/>
                    <a:pt x="7868" y="70434"/>
                    <a:pt x="8360" y="69782"/>
                  </a:cubicBezTo>
                  <a:cubicBezTo>
                    <a:pt x="8360" y="69782"/>
                    <a:pt x="8852" y="69130"/>
                    <a:pt x="9344" y="69130"/>
                  </a:cubicBezTo>
                  <a:cubicBezTo>
                    <a:pt x="9836" y="68478"/>
                    <a:pt x="10819" y="68478"/>
                    <a:pt x="11311" y="68478"/>
                  </a:cubicBezTo>
                  <a:cubicBezTo>
                    <a:pt x="11803" y="68478"/>
                    <a:pt x="12786" y="67173"/>
                    <a:pt x="12786" y="67173"/>
                  </a:cubicBezTo>
                  <a:cubicBezTo>
                    <a:pt x="12786" y="67173"/>
                    <a:pt x="12786" y="65217"/>
                    <a:pt x="12295" y="64565"/>
                  </a:cubicBezTo>
                  <a:cubicBezTo>
                    <a:pt x="12295" y="63260"/>
                    <a:pt x="13278" y="61956"/>
                    <a:pt x="13278" y="61956"/>
                  </a:cubicBezTo>
                  <a:cubicBezTo>
                    <a:pt x="13278" y="61956"/>
                    <a:pt x="14754" y="59347"/>
                    <a:pt x="15245" y="58695"/>
                  </a:cubicBezTo>
                  <a:cubicBezTo>
                    <a:pt x="15737" y="58043"/>
                    <a:pt x="16229" y="54782"/>
                    <a:pt x="16229" y="54782"/>
                  </a:cubicBezTo>
                  <a:cubicBezTo>
                    <a:pt x="14262" y="54782"/>
                    <a:pt x="14262" y="54782"/>
                    <a:pt x="14262" y="54782"/>
                  </a:cubicBezTo>
                  <a:cubicBezTo>
                    <a:pt x="12295" y="54130"/>
                    <a:pt x="12295" y="54130"/>
                    <a:pt x="12295" y="54130"/>
                  </a:cubicBezTo>
                  <a:cubicBezTo>
                    <a:pt x="12295" y="54130"/>
                    <a:pt x="10327" y="50217"/>
                    <a:pt x="10327" y="50217"/>
                  </a:cubicBezTo>
                  <a:cubicBezTo>
                    <a:pt x="10327" y="49565"/>
                    <a:pt x="9344" y="49565"/>
                    <a:pt x="9344" y="49565"/>
                  </a:cubicBezTo>
                  <a:cubicBezTo>
                    <a:pt x="9344" y="49565"/>
                    <a:pt x="7377" y="48260"/>
                    <a:pt x="7377" y="48260"/>
                  </a:cubicBezTo>
                  <a:cubicBezTo>
                    <a:pt x="6885" y="48260"/>
                    <a:pt x="5409" y="47608"/>
                    <a:pt x="5409" y="47608"/>
                  </a:cubicBezTo>
                  <a:cubicBezTo>
                    <a:pt x="5409" y="47608"/>
                    <a:pt x="3442" y="44347"/>
                    <a:pt x="2950" y="43043"/>
                  </a:cubicBezTo>
                  <a:cubicBezTo>
                    <a:pt x="2459" y="41739"/>
                    <a:pt x="1967" y="41086"/>
                    <a:pt x="1967" y="41086"/>
                  </a:cubicBezTo>
                  <a:cubicBezTo>
                    <a:pt x="1967" y="41086"/>
                    <a:pt x="1475" y="39782"/>
                    <a:pt x="983" y="39130"/>
                  </a:cubicBezTo>
                  <a:cubicBezTo>
                    <a:pt x="491" y="38478"/>
                    <a:pt x="491" y="37173"/>
                    <a:pt x="491" y="37173"/>
                  </a:cubicBezTo>
                  <a:cubicBezTo>
                    <a:pt x="491" y="37173"/>
                    <a:pt x="983" y="35217"/>
                    <a:pt x="491" y="33913"/>
                  </a:cubicBezTo>
                  <a:cubicBezTo>
                    <a:pt x="491" y="33260"/>
                    <a:pt x="0" y="30652"/>
                    <a:pt x="491" y="30652"/>
                  </a:cubicBezTo>
                  <a:cubicBezTo>
                    <a:pt x="983" y="29347"/>
                    <a:pt x="1475" y="28043"/>
                    <a:pt x="2459" y="27391"/>
                  </a:cubicBezTo>
                  <a:cubicBezTo>
                    <a:pt x="2950" y="27391"/>
                    <a:pt x="2950" y="27391"/>
                    <a:pt x="3442" y="27391"/>
                  </a:cubicBezTo>
                  <a:cubicBezTo>
                    <a:pt x="3934" y="27391"/>
                    <a:pt x="3442" y="25434"/>
                    <a:pt x="3442" y="25434"/>
                  </a:cubicBezTo>
                  <a:lnTo>
                    <a:pt x="3442" y="24782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9" name="Shape 2040"/>
            <p:cNvSpPr/>
            <p:nvPr/>
          </p:nvSpPr>
          <p:spPr>
            <a:xfrm>
              <a:off x="4983087" y="2966615"/>
              <a:ext cx="635471" cy="3132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430" y="20281"/>
                  </a:moveTo>
                  <a:cubicBezTo>
                    <a:pt x="80430" y="20281"/>
                    <a:pt x="80430" y="15211"/>
                    <a:pt x="80860" y="15211"/>
                  </a:cubicBezTo>
                  <a:cubicBezTo>
                    <a:pt x="81290" y="15211"/>
                    <a:pt x="82150" y="12676"/>
                    <a:pt x="82150" y="12676"/>
                  </a:cubicBezTo>
                  <a:cubicBezTo>
                    <a:pt x="83440" y="11830"/>
                    <a:pt x="83440" y="11830"/>
                    <a:pt x="83440" y="11830"/>
                  </a:cubicBezTo>
                  <a:cubicBezTo>
                    <a:pt x="83440" y="11830"/>
                    <a:pt x="84301" y="10140"/>
                    <a:pt x="84301" y="8450"/>
                  </a:cubicBezTo>
                  <a:cubicBezTo>
                    <a:pt x="83870" y="7605"/>
                    <a:pt x="84301" y="3380"/>
                    <a:pt x="84301" y="3380"/>
                  </a:cubicBezTo>
                  <a:cubicBezTo>
                    <a:pt x="84301" y="3380"/>
                    <a:pt x="83870" y="845"/>
                    <a:pt x="84301" y="845"/>
                  </a:cubicBezTo>
                  <a:cubicBezTo>
                    <a:pt x="85161" y="0"/>
                    <a:pt x="86451" y="1690"/>
                    <a:pt x="86451" y="1690"/>
                  </a:cubicBezTo>
                  <a:cubicBezTo>
                    <a:pt x="88602" y="2535"/>
                    <a:pt x="88602" y="2535"/>
                    <a:pt x="88602" y="2535"/>
                  </a:cubicBezTo>
                  <a:cubicBezTo>
                    <a:pt x="88602" y="2535"/>
                    <a:pt x="89462" y="2535"/>
                    <a:pt x="89892" y="2535"/>
                  </a:cubicBezTo>
                  <a:cubicBezTo>
                    <a:pt x="90322" y="2535"/>
                    <a:pt x="92043" y="3380"/>
                    <a:pt x="92043" y="3380"/>
                  </a:cubicBezTo>
                  <a:cubicBezTo>
                    <a:pt x="92043" y="3380"/>
                    <a:pt x="93763" y="4225"/>
                    <a:pt x="94193" y="4225"/>
                  </a:cubicBezTo>
                  <a:cubicBezTo>
                    <a:pt x="94623" y="4225"/>
                    <a:pt x="96344" y="4225"/>
                    <a:pt x="96344" y="4225"/>
                  </a:cubicBezTo>
                  <a:cubicBezTo>
                    <a:pt x="97204" y="5070"/>
                    <a:pt x="97204" y="5070"/>
                    <a:pt x="97204" y="5070"/>
                  </a:cubicBezTo>
                  <a:cubicBezTo>
                    <a:pt x="100215" y="7605"/>
                    <a:pt x="100215" y="7605"/>
                    <a:pt x="100215" y="7605"/>
                  </a:cubicBezTo>
                  <a:cubicBezTo>
                    <a:pt x="101935" y="9295"/>
                    <a:pt x="101935" y="9295"/>
                    <a:pt x="101935" y="9295"/>
                  </a:cubicBezTo>
                  <a:cubicBezTo>
                    <a:pt x="106666" y="10140"/>
                    <a:pt x="106666" y="10140"/>
                    <a:pt x="106666" y="10140"/>
                  </a:cubicBezTo>
                  <a:cubicBezTo>
                    <a:pt x="107096" y="6760"/>
                    <a:pt x="107096" y="6760"/>
                    <a:pt x="107096" y="6760"/>
                  </a:cubicBezTo>
                  <a:cubicBezTo>
                    <a:pt x="107096" y="6760"/>
                    <a:pt x="108817" y="5915"/>
                    <a:pt x="108817" y="6760"/>
                  </a:cubicBezTo>
                  <a:cubicBezTo>
                    <a:pt x="109247" y="6760"/>
                    <a:pt x="110107" y="8450"/>
                    <a:pt x="111397" y="9295"/>
                  </a:cubicBezTo>
                  <a:cubicBezTo>
                    <a:pt x="112688" y="9295"/>
                    <a:pt x="113978" y="8450"/>
                    <a:pt x="113978" y="8450"/>
                  </a:cubicBezTo>
                  <a:cubicBezTo>
                    <a:pt x="114838" y="13521"/>
                    <a:pt x="114838" y="13521"/>
                    <a:pt x="114838" y="13521"/>
                  </a:cubicBezTo>
                  <a:cubicBezTo>
                    <a:pt x="115698" y="14366"/>
                    <a:pt x="115698" y="14366"/>
                    <a:pt x="115698" y="14366"/>
                  </a:cubicBezTo>
                  <a:cubicBezTo>
                    <a:pt x="115268" y="14366"/>
                    <a:pt x="115268" y="14366"/>
                    <a:pt x="115268" y="14366"/>
                  </a:cubicBezTo>
                  <a:cubicBezTo>
                    <a:pt x="115268" y="16901"/>
                    <a:pt x="115268" y="16901"/>
                    <a:pt x="115268" y="16901"/>
                  </a:cubicBezTo>
                  <a:cubicBezTo>
                    <a:pt x="115698" y="17746"/>
                    <a:pt x="115698" y="17746"/>
                    <a:pt x="115698" y="17746"/>
                  </a:cubicBezTo>
                  <a:cubicBezTo>
                    <a:pt x="115698" y="17746"/>
                    <a:pt x="115268" y="19436"/>
                    <a:pt x="115268" y="19436"/>
                  </a:cubicBezTo>
                  <a:cubicBezTo>
                    <a:pt x="115268" y="19436"/>
                    <a:pt x="115268" y="21126"/>
                    <a:pt x="115268" y="21126"/>
                  </a:cubicBezTo>
                  <a:cubicBezTo>
                    <a:pt x="114408" y="22816"/>
                    <a:pt x="114408" y="22816"/>
                    <a:pt x="114408" y="22816"/>
                  </a:cubicBezTo>
                  <a:cubicBezTo>
                    <a:pt x="114408" y="24507"/>
                    <a:pt x="114408" y="24507"/>
                    <a:pt x="114408" y="24507"/>
                  </a:cubicBezTo>
                  <a:cubicBezTo>
                    <a:pt x="114408" y="24507"/>
                    <a:pt x="114408" y="27042"/>
                    <a:pt x="114408" y="27042"/>
                  </a:cubicBezTo>
                  <a:cubicBezTo>
                    <a:pt x="114408" y="27042"/>
                    <a:pt x="114838" y="27887"/>
                    <a:pt x="115268" y="27887"/>
                  </a:cubicBezTo>
                  <a:cubicBezTo>
                    <a:pt x="115268" y="27887"/>
                    <a:pt x="115268" y="28732"/>
                    <a:pt x="115268" y="28732"/>
                  </a:cubicBezTo>
                  <a:cubicBezTo>
                    <a:pt x="115268" y="28732"/>
                    <a:pt x="115698" y="29577"/>
                    <a:pt x="116129" y="30422"/>
                  </a:cubicBezTo>
                  <a:cubicBezTo>
                    <a:pt x="116129" y="30422"/>
                    <a:pt x="116129" y="30422"/>
                    <a:pt x="116129" y="30422"/>
                  </a:cubicBezTo>
                  <a:cubicBezTo>
                    <a:pt x="116129" y="30422"/>
                    <a:pt x="116559" y="32112"/>
                    <a:pt x="116559" y="32957"/>
                  </a:cubicBezTo>
                  <a:cubicBezTo>
                    <a:pt x="116989" y="33802"/>
                    <a:pt x="116989" y="34647"/>
                    <a:pt x="116989" y="34647"/>
                  </a:cubicBezTo>
                  <a:cubicBezTo>
                    <a:pt x="116989" y="34647"/>
                    <a:pt x="117419" y="36338"/>
                    <a:pt x="117849" y="36338"/>
                  </a:cubicBezTo>
                  <a:cubicBezTo>
                    <a:pt x="117849" y="36338"/>
                    <a:pt x="118279" y="36338"/>
                    <a:pt x="118709" y="36338"/>
                  </a:cubicBezTo>
                  <a:cubicBezTo>
                    <a:pt x="118709" y="36338"/>
                    <a:pt x="119139" y="36338"/>
                    <a:pt x="119139" y="36338"/>
                  </a:cubicBezTo>
                  <a:cubicBezTo>
                    <a:pt x="119139" y="37183"/>
                    <a:pt x="118709" y="42253"/>
                    <a:pt x="118709" y="42253"/>
                  </a:cubicBezTo>
                  <a:cubicBezTo>
                    <a:pt x="119139" y="47323"/>
                    <a:pt x="119139" y="47323"/>
                    <a:pt x="119139" y="47323"/>
                  </a:cubicBezTo>
                  <a:cubicBezTo>
                    <a:pt x="119139" y="47323"/>
                    <a:pt x="118709" y="49859"/>
                    <a:pt x="118709" y="50704"/>
                  </a:cubicBezTo>
                  <a:cubicBezTo>
                    <a:pt x="119139" y="52394"/>
                    <a:pt x="120000" y="54084"/>
                    <a:pt x="118709" y="54929"/>
                  </a:cubicBezTo>
                  <a:cubicBezTo>
                    <a:pt x="117849" y="54929"/>
                    <a:pt x="116559" y="56619"/>
                    <a:pt x="116129" y="54929"/>
                  </a:cubicBezTo>
                  <a:cubicBezTo>
                    <a:pt x="116129" y="54929"/>
                    <a:pt x="115698" y="53239"/>
                    <a:pt x="115698" y="55774"/>
                  </a:cubicBezTo>
                  <a:cubicBezTo>
                    <a:pt x="116129" y="56619"/>
                    <a:pt x="114838" y="55774"/>
                    <a:pt x="114838" y="55774"/>
                  </a:cubicBezTo>
                  <a:cubicBezTo>
                    <a:pt x="111397" y="53239"/>
                    <a:pt x="111397" y="53239"/>
                    <a:pt x="111397" y="53239"/>
                  </a:cubicBezTo>
                  <a:cubicBezTo>
                    <a:pt x="110537" y="54929"/>
                    <a:pt x="110537" y="54929"/>
                    <a:pt x="110537" y="54929"/>
                  </a:cubicBezTo>
                  <a:cubicBezTo>
                    <a:pt x="108817" y="57464"/>
                    <a:pt x="108817" y="57464"/>
                    <a:pt x="108817" y="57464"/>
                  </a:cubicBezTo>
                  <a:cubicBezTo>
                    <a:pt x="111397" y="59154"/>
                    <a:pt x="111397" y="59154"/>
                    <a:pt x="111397" y="59154"/>
                  </a:cubicBezTo>
                  <a:cubicBezTo>
                    <a:pt x="112258" y="59154"/>
                    <a:pt x="112258" y="59154"/>
                    <a:pt x="112258" y="59154"/>
                  </a:cubicBezTo>
                  <a:cubicBezTo>
                    <a:pt x="114408" y="65915"/>
                    <a:pt x="114408" y="65915"/>
                    <a:pt x="114408" y="65915"/>
                  </a:cubicBezTo>
                  <a:cubicBezTo>
                    <a:pt x="111827" y="69295"/>
                    <a:pt x="111827" y="69295"/>
                    <a:pt x="111827" y="69295"/>
                  </a:cubicBezTo>
                  <a:cubicBezTo>
                    <a:pt x="111827" y="69295"/>
                    <a:pt x="110537" y="70985"/>
                    <a:pt x="110107" y="70985"/>
                  </a:cubicBezTo>
                  <a:cubicBezTo>
                    <a:pt x="109677" y="70985"/>
                    <a:pt x="109247" y="71830"/>
                    <a:pt x="109247" y="71830"/>
                  </a:cubicBezTo>
                  <a:cubicBezTo>
                    <a:pt x="110537" y="76901"/>
                    <a:pt x="110537" y="76901"/>
                    <a:pt x="110537" y="76901"/>
                  </a:cubicBezTo>
                  <a:cubicBezTo>
                    <a:pt x="110537" y="78591"/>
                    <a:pt x="110537" y="78591"/>
                    <a:pt x="110537" y="78591"/>
                  </a:cubicBezTo>
                  <a:cubicBezTo>
                    <a:pt x="110967" y="83661"/>
                    <a:pt x="110967" y="83661"/>
                    <a:pt x="110967" y="83661"/>
                  </a:cubicBezTo>
                  <a:cubicBezTo>
                    <a:pt x="109677" y="87887"/>
                    <a:pt x="109677" y="87887"/>
                    <a:pt x="109677" y="87887"/>
                  </a:cubicBezTo>
                  <a:cubicBezTo>
                    <a:pt x="108387" y="88732"/>
                    <a:pt x="108387" y="88732"/>
                    <a:pt x="108387" y="88732"/>
                  </a:cubicBezTo>
                  <a:cubicBezTo>
                    <a:pt x="107096" y="94647"/>
                    <a:pt x="107096" y="94647"/>
                    <a:pt x="107096" y="94647"/>
                  </a:cubicBezTo>
                  <a:cubicBezTo>
                    <a:pt x="104946" y="97183"/>
                    <a:pt x="104946" y="97183"/>
                    <a:pt x="104946" y="97183"/>
                  </a:cubicBezTo>
                  <a:cubicBezTo>
                    <a:pt x="104516" y="100563"/>
                    <a:pt x="104516" y="100563"/>
                    <a:pt x="104516" y="100563"/>
                  </a:cubicBezTo>
                  <a:cubicBezTo>
                    <a:pt x="104946" y="105633"/>
                    <a:pt x="104946" y="105633"/>
                    <a:pt x="104946" y="105633"/>
                  </a:cubicBezTo>
                  <a:cubicBezTo>
                    <a:pt x="102365" y="102253"/>
                    <a:pt x="102365" y="102253"/>
                    <a:pt x="102365" y="102253"/>
                  </a:cubicBezTo>
                  <a:cubicBezTo>
                    <a:pt x="100215" y="103943"/>
                    <a:pt x="100215" y="103943"/>
                    <a:pt x="100215" y="103943"/>
                  </a:cubicBezTo>
                  <a:cubicBezTo>
                    <a:pt x="98924" y="104788"/>
                    <a:pt x="98924" y="104788"/>
                    <a:pt x="98924" y="104788"/>
                  </a:cubicBezTo>
                  <a:cubicBezTo>
                    <a:pt x="96344" y="108169"/>
                    <a:pt x="96344" y="108169"/>
                    <a:pt x="96344" y="108169"/>
                  </a:cubicBezTo>
                  <a:cubicBezTo>
                    <a:pt x="94193" y="106478"/>
                    <a:pt x="94193" y="106478"/>
                    <a:pt x="94193" y="106478"/>
                  </a:cubicBezTo>
                  <a:cubicBezTo>
                    <a:pt x="91182" y="108169"/>
                    <a:pt x="91182" y="108169"/>
                    <a:pt x="91182" y="108169"/>
                  </a:cubicBezTo>
                  <a:cubicBezTo>
                    <a:pt x="88602" y="108169"/>
                    <a:pt x="88602" y="108169"/>
                    <a:pt x="88602" y="108169"/>
                  </a:cubicBezTo>
                  <a:cubicBezTo>
                    <a:pt x="87311" y="109859"/>
                    <a:pt x="87311" y="109859"/>
                    <a:pt x="87311" y="109859"/>
                  </a:cubicBezTo>
                  <a:cubicBezTo>
                    <a:pt x="86451" y="113239"/>
                    <a:pt x="86451" y="113239"/>
                    <a:pt x="86451" y="113239"/>
                  </a:cubicBezTo>
                  <a:cubicBezTo>
                    <a:pt x="86021" y="114929"/>
                    <a:pt x="86021" y="114929"/>
                    <a:pt x="86021" y="114929"/>
                  </a:cubicBezTo>
                  <a:cubicBezTo>
                    <a:pt x="84301" y="115774"/>
                    <a:pt x="84301" y="115774"/>
                    <a:pt x="84301" y="115774"/>
                  </a:cubicBezTo>
                  <a:cubicBezTo>
                    <a:pt x="83440" y="118309"/>
                    <a:pt x="83440" y="118309"/>
                    <a:pt x="83440" y="118309"/>
                  </a:cubicBezTo>
                  <a:cubicBezTo>
                    <a:pt x="82150" y="120000"/>
                    <a:pt x="82150" y="120000"/>
                    <a:pt x="82150" y="120000"/>
                  </a:cubicBezTo>
                  <a:cubicBezTo>
                    <a:pt x="81290" y="120000"/>
                    <a:pt x="81290" y="120000"/>
                    <a:pt x="81290" y="120000"/>
                  </a:cubicBezTo>
                  <a:cubicBezTo>
                    <a:pt x="77419" y="120000"/>
                    <a:pt x="77419" y="120000"/>
                    <a:pt x="77419" y="120000"/>
                  </a:cubicBezTo>
                  <a:cubicBezTo>
                    <a:pt x="73118" y="119154"/>
                    <a:pt x="73118" y="119154"/>
                    <a:pt x="73118" y="119154"/>
                  </a:cubicBezTo>
                  <a:cubicBezTo>
                    <a:pt x="69247" y="116619"/>
                    <a:pt x="69247" y="116619"/>
                    <a:pt x="69247" y="116619"/>
                  </a:cubicBezTo>
                  <a:cubicBezTo>
                    <a:pt x="66236" y="117464"/>
                    <a:pt x="66236" y="117464"/>
                    <a:pt x="66236" y="117464"/>
                  </a:cubicBezTo>
                  <a:cubicBezTo>
                    <a:pt x="66236" y="117464"/>
                    <a:pt x="64086" y="116619"/>
                    <a:pt x="62795" y="116619"/>
                  </a:cubicBezTo>
                  <a:cubicBezTo>
                    <a:pt x="61075" y="116619"/>
                    <a:pt x="57634" y="114929"/>
                    <a:pt x="57634" y="114929"/>
                  </a:cubicBezTo>
                  <a:cubicBezTo>
                    <a:pt x="53333" y="112394"/>
                    <a:pt x="53333" y="112394"/>
                    <a:pt x="53333" y="112394"/>
                  </a:cubicBezTo>
                  <a:cubicBezTo>
                    <a:pt x="50752" y="112394"/>
                    <a:pt x="50752" y="112394"/>
                    <a:pt x="50752" y="112394"/>
                  </a:cubicBezTo>
                  <a:cubicBezTo>
                    <a:pt x="46881" y="111549"/>
                    <a:pt x="46881" y="111549"/>
                    <a:pt x="46881" y="111549"/>
                  </a:cubicBezTo>
                  <a:cubicBezTo>
                    <a:pt x="46881" y="111549"/>
                    <a:pt x="46451" y="109859"/>
                    <a:pt x="46021" y="109014"/>
                  </a:cubicBezTo>
                  <a:cubicBezTo>
                    <a:pt x="46021" y="108169"/>
                    <a:pt x="44731" y="106478"/>
                    <a:pt x="44731" y="106478"/>
                  </a:cubicBezTo>
                  <a:cubicBezTo>
                    <a:pt x="44731" y="104788"/>
                    <a:pt x="44731" y="104788"/>
                    <a:pt x="44731" y="104788"/>
                  </a:cubicBezTo>
                  <a:cubicBezTo>
                    <a:pt x="43870" y="100563"/>
                    <a:pt x="43870" y="100563"/>
                    <a:pt x="43870" y="100563"/>
                  </a:cubicBezTo>
                  <a:cubicBezTo>
                    <a:pt x="43010" y="97183"/>
                    <a:pt x="43010" y="97183"/>
                    <a:pt x="43010" y="97183"/>
                  </a:cubicBezTo>
                  <a:cubicBezTo>
                    <a:pt x="43870" y="94647"/>
                    <a:pt x="43870" y="94647"/>
                    <a:pt x="43870" y="94647"/>
                  </a:cubicBezTo>
                  <a:cubicBezTo>
                    <a:pt x="43010" y="93802"/>
                    <a:pt x="43010" y="93802"/>
                    <a:pt x="43010" y="93802"/>
                  </a:cubicBezTo>
                  <a:cubicBezTo>
                    <a:pt x="43010" y="93802"/>
                    <a:pt x="41290" y="94647"/>
                    <a:pt x="40430" y="94647"/>
                  </a:cubicBezTo>
                  <a:cubicBezTo>
                    <a:pt x="40000" y="95492"/>
                    <a:pt x="37419" y="96338"/>
                    <a:pt x="37419" y="96338"/>
                  </a:cubicBezTo>
                  <a:cubicBezTo>
                    <a:pt x="36559" y="97183"/>
                    <a:pt x="36559" y="97183"/>
                    <a:pt x="36559" y="97183"/>
                  </a:cubicBezTo>
                  <a:cubicBezTo>
                    <a:pt x="33118" y="97183"/>
                    <a:pt x="33118" y="97183"/>
                    <a:pt x="33118" y="97183"/>
                  </a:cubicBezTo>
                  <a:cubicBezTo>
                    <a:pt x="29677" y="98028"/>
                    <a:pt x="29677" y="98028"/>
                    <a:pt x="29677" y="98028"/>
                  </a:cubicBezTo>
                  <a:cubicBezTo>
                    <a:pt x="28387" y="99718"/>
                    <a:pt x="28387" y="99718"/>
                    <a:pt x="28387" y="99718"/>
                  </a:cubicBezTo>
                  <a:cubicBezTo>
                    <a:pt x="25806" y="102253"/>
                    <a:pt x="25806" y="102253"/>
                    <a:pt x="25806" y="102253"/>
                  </a:cubicBezTo>
                  <a:cubicBezTo>
                    <a:pt x="25806" y="105633"/>
                    <a:pt x="25806" y="105633"/>
                    <a:pt x="25806" y="105633"/>
                  </a:cubicBezTo>
                  <a:cubicBezTo>
                    <a:pt x="24516" y="109014"/>
                    <a:pt x="24516" y="109014"/>
                    <a:pt x="24516" y="109014"/>
                  </a:cubicBezTo>
                  <a:cubicBezTo>
                    <a:pt x="22365" y="109014"/>
                    <a:pt x="22365" y="109014"/>
                    <a:pt x="22365" y="109014"/>
                  </a:cubicBezTo>
                  <a:cubicBezTo>
                    <a:pt x="20215" y="105633"/>
                    <a:pt x="20215" y="105633"/>
                    <a:pt x="20215" y="105633"/>
                  </a:cubicBezTo>
                  <a:cubicBezTo>
                    <a:pt x="19354" y="107323"/>
                    <a:pt x="19354" y="107323"/>
                    <a:pt x="19354" y="107323"/>
                  </a:cubicBezTo>
                  <a:cubicBezTo>
                    <a:pt x="16774" y="106478"/>
                    <a:pt x="16774" y="106478"/>
                    <a:pt x="16774" y="106478"/>
                  </a:cubicBezTo>
                  <a:cubicBezTo>
                    <a:pt x="16344" y="107323"/>
                    <a:pt x="16344" y="107323"/>
                    <a:pt x="16344" y="107323"/>
                  </a:cubicBezTo>
                  <a:cubicBezTo>
                    <a:pt x="16344" y="107323"/>
                    <a:pt x="16344" y="106478"/>
                    <a:pt x="16344" y="106478"/>
                  </a:cubicBezTo>
                  <a:cubicBezTo>
                    <a:pt x="16344" y="105633"/>
                    <a:pt x="16774" y="103098"/>
                    <a:pt x="16774" y="103098"/>
                  </a:cubicBezTo>
                  <a:cubicBezTo>
                    <a:pt x="16774" y="103098"/>
                    <a:pt x="16774" y="102253"/>
                    <a:pt x="16774" y="101408"/>
                  </a:cubicBezTo>
                  <a:cubicBezTo>
                    <a:pt x="16774" y="101408"/>
                    <a:pt x="16344" y="100563"/>
                    <a:pt x="16344" y="100563"/>
                  </a:cubicBezTo>
                  <a:cubicBezTo>
                    <a:pt x="15913" y="99718"/>
                    <a:pt x="15913" y="99718"/>
                    <a:pt x="15913" y="99718"/>
                  </a:cubicBezTo>
                  <a:cubicBezTo>
                    <a:pt x="15913" y="99718"/>
                    <a:pt x="15483" y="98028"/>
                    <a:pt x="15483" y="98028"/>
                  </a:cubicBezTo>
                  <a:cubicBezTo>
                    <a:pt x="15053" y="98873"/>
                    <a:pt x="14623" y="98873"/>
                    <a:pt x="14623" y="98873"/>
                  </a:cubicBezTo>
                  <a:cubicBezTo>
                    <a:pt x="14623" y="98873"/>
                    <a:pt x="14623" y="100563"/>
                    <a:pt x="14623" y="100563"/>
                  </a:cubicBezTo>
                  <a:cubicBezTo>
                    <a:pt x="14193" y="101408"/>
                    <a:pt x="13763" y="101408"/>
                    <a:pt x="13763" y="101408"/>
                  </a:cubicBezTo>
                  <a:cubicBezTo>
                    <a:pt x="13763" y="101408"/>
                    <a:pt x="13763" y="101408"/>
                    <a:pt x="13763" y="101408"/>
                  </a:cubicBezTo>
                  <a:cubicBezTo>
                    <a:pt x="13333" y="101408"/>
                    <a:pt x="13333" y="101408"/>
                    <a:pt x="13333" y="101408"/>
                  </a:cubicBezTo>
                  <a:cubicBezTo>
                    <a:pt x="12903" y="103098"/>
                    <a:pt x="12903" y="103098"/>
                    <a:pt x="12903" y="103098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043" y="103943"/>
                    <a:pt x="12043" y="104788"/>
                  </a:cubicBezTo>
                  <a:cubicBezTo>
                    <a:pt x="12043" y="104788"/>
                    <a:pt x="11612" y="104788"/>
                    <a:pt x="11182" y="104788"/>
                  </a:cubicBezTo>
                  <a:cubicBezTo>
                    <a:pt x="11182" y="104788"/>
                    <a:pt x="10322" y="104788"/>
                    <a:pt x="10322" y="104788"/>
                  </a:cubicBezTo>
                  <a:cubicBezTo>
                    <a:pt x="9892" y="103943"/>
                    <a:pt x="9892" y="103943"/>
                    <a:pt x="9892" y="103943"/>
                  </a:cubicBezTo>
                  <a:cubicBezTo>
                    <a:pt x="8602" y="103098"/>
                    <a:pt x="8602" y="103098"/>
                    <a:pt x="8602" y="103098"/>
                  </a:cubicBezTo>
                  <a:cubicBezTo>
                    <a:pt x="8602" y="103098"/>
                    <a:pt x="8602" y="103098"/>
                    <a:pt x="8602" y="103098"/>
                  </a:cubicBezTo>
                  <a:cubicBezTo>
                    <a:pt x="7741" y="102253"/>
                    <a:pt x="7741" y="102253"/>
                    <a:pt x="7741" y="102253"/>
                  </a:cubicBezTo>
                  <a:cubicBezTo>
                    <a:pt x="7311" y="101408"/>
                    <a:pt x="7311" y="101408"/>
                    <a:pt x="7311" y="101408"/>
                  </a:cubicBezTo>
                  <a:cubicBezTo>
                    <a:pt x="7311" y="99718"/>
                    <a:pt x="7311" y="99718"/>
                    <a:pt x="7311" y="99718"/>
                  </a:cubicBezTo>
                  <a:cubicBezTo>
                    <a:pt x="6451" y="98028"/>
                    <a:pt x="6451" y="98028"/>
                    <a:pt x="6451" y="98028"/>
                  </a:cubicBezTo>
                  <a:cubicBezTo>
                    <a:pt x="4731" y="97183"/>
                    <a:pt x="4731" y="97183"/>
                    <a:pt x="4731" y="97183"/>
                  </a:cubicBezTo>
                  <a:cubicBezTo>
                    <a:pt x="3440" y="96338"/>
                    <a:pt x="3440" y="96338"/>
                    <a:pt x="3440" y="96338"/>
                  </a:cubicBezTo>
                  <a:cubicBezTo>
                    <a:pt x="2580" y="96338"/>
                    <a:pt x="2580" y="96338"/>
                    <a:pt x="2580" y="96338"/>
                  </a:cubicBezTo>
                  <a:cubicBezTo>
                    <a:pt x="2580" y="96338"/>
                    <a:pt x="860" y="96338"/>
                    <a:pt x="860" y="96338"/>
                  </a:cubicBezTo>
                  <a:cubicBezTo>
                    <a:pt x="86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860" y="96338"/>
                    <a:pt x="860" y="96338"/>
                    <a:pt x="860" y="96338"/>
                  </a:cubicBezTo>
                  <a:cubicBezTo>
                    <a:pt x="860" y="96338"/>
                    <a:pt x="860" y="95492"/>
                    <a:pt x="860" y="95492"/>
                  </a:cubicBezTo>
                  <a:cubicBezTo>
                    <a:pt x="860" y="95492"/>
                    <a:pt x="860" y="95492"/>
                    <a:pt x="860" y="95492"/>
                  </a:cubicBezTo>
                  <a:cubicBezTo>
                    <a:pt x="860" y="95492"/>
                    <a:pt x="1290" y="96338"/>
                    <a:pt x="1290" y="96338"/>
                  </a:cubicBezTo>
                  <a:cubicBezTo>
                    <a:pt x="1290" y="96338"/>
                    <a:pt x="1290" y="96338"/>
                    <a:pt x="1290" y="96338"/>
                  </a:cubicBezTo>
                  <a:cubicBezTo>
                    <a:pt x="1290" y="96338"/>
                    <a:pt x="1290" y="96338"/>
                    <a:pt x="1290" y="96338"/>
                  </a:cubicBezTo>
                  <a:cubicBezTo>
                    <a:pt x="1290" y="96338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2150" y="95492"/>
                  </a:cubicBezTo>
                  <a:cubicBezTo>
                    <a:pt x="2150" y="95492"/>
                    <a:pt x="2150" y="95492"/>
                    <a:pt x="2150" y="94647"/>
                  </a:cubicBezTo>
                  <a:cubicBezTo>
                    <a:pt x="2150" y="94647"/>
                    <a:pt x="2150" y="94647"/>
                    <a:pt x="2150" y="94647"/>
                  </a:cubicBezTo>
                  <a:cubicBezTo>
                    <a:pt x="2150" y="94647"/>
                    <a:pt x="2150" y="94647"/>
                    <a:pt x="1720" y="94647"/>
                  </a:cubicBezTo>
                  <a:cubicBezTo>
                    <a:pt x="1720" y="94647"/>
                    <a:pt x="1720" y="94647"/>
                    <a:pt x="1720" y="94647"/>
                  </a:cubicBezTo>
                  <a:cubicBezTo>
                    <a:pt x="1720" y="94647"/>
                    <a:pt x="1720" y="94647"/>
                    <a:pt x="1720" y="93802"/>
                  </a:cubicBezTo>
                  <a:cubicBezTo>
                    <a:pt x="1720" y="93802"/>
                    <a:pt x="2150" y="93802"/>
                    <a:pt x="2150" y="93802"/>
                  </a:cubicBezTo>
                  <a:cubicBezTo>
                    <a:pt x="2150" y="93802"/>
                    <a:pt x="2150" y="93802"/>
                    <a:pt x="1720" y="93802"/>
                  </a:cubicBezTo>
                  <a:cubicBezTo>
                    <a:pt x="1720" y="93802"/>
                    <a:pt x="1720" y="93802"/>
                    <a:pt x="1720" y="93802"/>
                  </a:cubicBezTo>
                  <a:cubicBezTo>
                    <a:pt x="1720" y="92957"/>
                    <a:pt x="1720" y="93802"/>
                    <a:pt x="1720" y="93802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290" y="92957"/>
                    <a:pt x="1290" y="92957"/>
                    <a:pt x="1290" y="92957"/>
                  </a:cubicBezTo>
                  <a:cubicBezTo>
                    <a:pt x="1290" y="92957"/>
                    <a:pt x="1290" y="92957"/>
                    <a:pt x="1290" y="92957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0422"/>
                    <a:pt x="1290" y="91267"/>
                    <a:pt x="1290" y="90422"/>
                  </a:cubicBezTo>
                  <a:cubicBezTo>
                    <a:pt x="1290" y="90422"/>
                    <a:pt x="1290" y="90422"/>
                    <a:pt x="1290" y="90422"/>
                  </a:cubicBezTo>
                  <a:cubicBezTo>
                    <a:pt x="1290" y="90422"/>
                    <a:pt x="1290" y="90422"/>
                    <a:pt x="1290" y="90422"/>
                  </a:cubicBezTo>
                  <a:cubicBezTo>
                    <a:pt x="1290" y="90422"/>
                    <a:pt x="860" y="90422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90422"/>
                    <a:pt x="860" y="90422"/>
                    <a:pt x="860" y="90422"/>
                  </a:cubicBezTo>
                  <a:cubicBezTo>
                    <a:pt x="860" y="91267"/>
                    <a:pt x="860" y="91267"/>
                    <a:pt x="860" y="91267"/>
                  </a:cubicBezTo>
                  <a:cubicBezTo>
                    <a:pt x="430" y="91267"/>
                    <a:pt x="430" y="91267"/>
                    <a:pt x="430" y="91267"/>
                  </a:cubicBezTo>
                  <a:cubicBezTo>
                    <a:pt x="430" y="90422"/>
                    <a:pt x="430" y="90422"/>
                    <a:pt x="430" y="90422"/>
                  </a:cubicBezTo>
                  <a:cubicBezTo>
                    <a:pt x="860" y="87887"/>
                    <a:pt x="860" y="87887"/>
                    <a:pt x="860" y="87887"/>
                  </a:cubicBezTo>
                  <a:cubicBezTo>
                    <a:pt x="1720" y="86197"/>
                    <a:pt x="1720" y="86197"/>
                    <a:pt x="1720" y="86197"/>
                  </a:cubicBezTo>
                  <a:cubicBezTo>
                    <a:pt x="1720" y="86197"/>
                    <a:pt x="1720" y="84507"/>
                    <a:pt x="2150" y="84507"/>
                  </a:cubicBezTo>
                  <a:cubicBezTo>
                    <a:pt x="2150" y="83661"/>
                    <a:pt x="2150" y="82816"/>
                    <a:pt x="2150" y="82816"/>
                  </a:cubicBezTo>
                  <a:cubicBezTo>
                    <a:pt x="3010" y="81971"/>
                    <a:pt x="3010" y="81971"/>
                    <a:pt x="3010" y="81971"/>
                  </a:cubicBezTo>
                  <a:cubicBezTo>
                    <a:pt x="3010" y="81971"/>
                    <a:pt x="3440" y="81126"/>
                    <a:pt x="3440" y="81126"/>
                  </a:cubicBezTo>
                  <a:cubicBezTo>
                    <a:pt x="3440" y="80281"/>
                    <a:pt x="3010" y="79436"/>
                    <a:pt x="3010" y="79436"/>
                  </a:cubicBezTo>
                  <a:cubicBezTo>
                    <a:pt x="3010" y="78591"/>
                    <a:pt x="3440" y="77746"/>
                    <a:pt x="3440" y="77746"/>
                  </a:cubicBezTo>
                  <a:cubicBezTo>
                    <a:pt x="3010" y="77746"/>
                    <a:pt x="301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3440" y="74366"/>
                    <a:pt x="4301" y="72676"/>
                    <a:pt x="4301" y="72676"/>
                  </a:cubicBezTo>
                  <a:cubicBezTo>
                    <a:pt x="4301" y="72676"/>
                    <a:pt x="5161" y="71830"/>
                    <a:pt x="6021" y="72676"/>
                  </a:cubicBezTo>
                  <a:cubicBezTo>
                    <a:pt x="6451" y="73521"/>
                    <a:pt x="7311" y="75211"/>
                    <a:pt x="7741" y="76056"/>
                  </a:cubicBezTo>
                  <a:cubicBezTo>
                    <a:pt x="7741" y="76056"/>
                    <a:pt x="8172" y="76901"/>
                    <a:pt x="8602" y="76901"/>
                  </a:cubicBezTo>
                  <a:cubicBezTo>
                    <a:pt x="9032" y="76901"/>
                    <a:pt x="9462" y="77746"/>
                    <a:pt x="9462" y="77746"/>
                  </a:cubicBezTo>
                  <a:cubicBezTo>
                    <a:pt x="9462" y="78591"/>
                    <a:pt x="9892" y="77746"/>
                    <a:pt x="9892" y="79436"/>
                  </a:cubicBezTo>
                  <a:cubicBezTo>
                    <a:pt x="9462" y="81126"/>
                    <a:pt x="9462" y="82816"/>
                    <a:pt x="9892" y="82816"/>
                  </a:cubicBezTo>
                  <a:cubicBezTo>
                    <a:pt x="10752" y="81971"/>
                    <a:pt x="11182" y="81126"/>
                    <a:pt x="11182" y="81971"/>
                  </a:cubicBezTo>
                  <a:cubicBezTo>
                    <a:pt x="11182" y="82816"/>
                    <a:pt x="11612" y="81971"/>
                    <a:pt x="11182" y="83661"/>
                  </a:cubicBezTo>
                  <a:cubicBezTo>
                    <a:pt x="11182" y="85352"/>
                    <a:pt x="10752" y="86197"/>
                    <a:pt x="11182" y="86197"/>
                  </a:cubicBezTo>
                  <a:cubicBezTo>
                    <a:pt x="12043" y="87042"/>
                    <a:pt x="12903" y="87887"/>
                    <a:pt x="13333" y="87042"/>
                  </a:cubicBezTo>
                  <a:cubicBezTo>
                    <a:pt x="13763" y="85352"/>
                    <a:pt x="13333" y="87042"/>
                    <a:pt x="13763" y="85352"/>
                  </a:cubicBezTo>
                  <a:cubicBezTo>
                    <a:pt x="14193" y="82816"/>
                    <a:pt x="14193" y="83661"/>
                    <a:pt x="14623" y="82816"/>
                  </a:cubicBezTo>
                  <a:cubicBezTo>
                    <a:pt x="14623" y="81126"/>
                    <a:pt x="14623" y="81971"/>
                    <a:pt x="15053" y="80281"/>
                  </a:cubicBezTo>
                  <a:cubicBezTo>
                    <a:pt x="15053" y="78591"/>
                    <a:pt x="15483" y="79436"/>
                    <a:pt x="15053" y="78591"/>
                  </a:cubicBezTo>
                  <a:cubicBezTo>
                    <a:pt x="15053" y="78591"/>
                    <a:pt x="15053" y="77746"/>
                    <a:pt x="14623" y="76901"/>
                  </a:cubicBezTo>
                  <a:cubicBezTo>
                    <a:pt x="14623" y="75211"/>
                    <a:pt x="13763" y="76056"/>
                    <a:pt x="15053" y="75211"/>
                  </a:cubicBezTo>
                  <a:cubicBezTo>
                    <a:pt x="15913" y="74366"/>
                    <a:pt x="16344" y="74366"/>
                    <a:pt x="16344" y="74366"/>
                  </a:cubicBezTo>
                  <a:cubicBezTo>
                    <a:pt x="16344" y="73521"/>
                    <a:pt x="17634" y="73521"/>
                    <a:pt x="17634" y="73521"/>
                  </a:cubicBezTo>
                  <a:cubicBezTo>
                    <a:pt x="17634" y="73521"/>
                    <a:pt x="18924" y="73521"/>
                    <a:pt x="18924" y="73521"/>
                  </a:cubicBezTo>
                  <a:cubicBezTo>
                    <a:pt x="19354" y="73521"/>
                    <a:pt x="21075" y="73521"/>
                    <a:pt x="21075" y="74366"/>
                  </a:cubicBezTo>
                  <a:cubicBezTo>
                    <a:pt x="21075" y="75211"/>
                    <a:pt x="21935" y="75211"/>
                    <a:pt x="21935" y="75211"/>
                  </a:cubicBezTo>
                  <a:cubicBezTo>
                    <a:pt x="21935" y="75211"/>
                    <a:pt x="22795" y="75211"/>
                    <a:pt x="23225" y="76901"/>
                  </a:cubicBezTo>
                  <a:cubicBezTo>
                    <a:pt x="23225" y="79436"/>
                    <a:pt x="23225" y="81126"/>
                    <a:pt x="23655" y="80281"/>
                  </a:cubicBezTo>
                  <a:cubicBezTo>
                    <a:pt x="24086" y="80281"/>
                    <a:pt x="24946" y="81971"/>
                    <a:pt x="24946" y="81126"/>
                  </a:cubicBezTo>
                  <a:cubicBezTo>
                    <a:pt x="25376" y="80281"/>
                    <a:pt x="25806" y="79436"/>
                    <a:pt x="26236" y="79436"/>
                  </a:cubicBezTo>
                  <a:cubicBezTo>
                    <a:pt x="26666" y="79436"/>
                    <a:pt x="25806" y="78591"/>
                    <a:pt x="27096" y="78591"/>
                  </a:cubicBezTo>
                  <a:cubicBezTo>
                    <a:pt x="28817" y="79436"/>
                    <a:pt x="28387" y="80281"/>
                    <a:pt x="29247" y="78591"/>
                  </a:cubicBezTo>
                  <a:cubicBezTo>
                    <a:pt x="29677" y="76901"/>
                    <a:pt x="29677" y="76901"/>
                    <a:pt x="30537" y="76056"/>
                  </a:cubicBezTo>
                  <a:cubicBezTo>
                    <a:pt x="30967" y="75211"/>
                    <a:pt x="30967" y="75211"/>
                    <a:pt x="31397" y="74366"/>
                  </a:cubicBezTo>
                  <a:cubicBezTo>
                    <a:pt x="31397" y="74366"/>
                    <a:pt x="33118" y="74366"/>
                    <a:pt x="33118" y="74366"/>
                  </a:cubicBezTo>
                  <a:cubicBezTo>
                    <a:pt x="33548" y="73521"/>
                    <a:pt x="33978" y="71830"/>
                    <a:pt x="34408" y="71830"/>
                  </a:cubicBezTo>
                  <a:cubicBezTo>
                    <a:pt x="34408" y="71830"/>
                    <a:pt x="36129" y="71830"/>
                    <a:pt x="36559" y="71830"/>
                  </a:cubicBezTo>
                  <a:cubicBezTo>
                    <a:pt x="36989" y="71830"/>
                    <a:pt x="37849" y="71830"/>
                    <a:pt x="38279" y="70985"/>
                  </a:cubicBezTo>
                  <a:cubicBezTo>
                    <a:pt x="38279" y="70140"/>
                    <a:pt x="38279" y="70140"/>
                    <a:pt x="38709" y="69295"/>
                  </a:cubicBezTo>
                  <a:cubicBezTo>
                    <a:pt x="39569" y="69295"/>
                    <a:pt x="40000" y="69295"/>
                    <a:pt x="40860" y="69295"/>
                  </a:cubicBezTo>
                  <a:cubicBezTo>
                    <a:pt x="41720" y="69295"/>
                    <a:pt x="41720" y="69295"/>
                    <a:pt x="42150" y="69295"/>
                  </a:cubicBezTo>
                  <a:cubicBezTo>
                    <a:pt x="42580" y="69295"/>
                    <a:pt x="43010" y="70985"/>
                    <a:pt x="43010" y="68450"/>
                  </a:cubicBezTo>
                  <a:cubicBezTo>
                    <a:pt x="42580" y="65915"/>
                    <a:pt x="42150" y="65915"/>
                    <a:pt x="42580" y="65070"/>
                  </a:cubicBezTo>
                  <a:cubicBezTo>
                    <a:pt x="43440" y="65070"/>
                    <a:pt x="44301" y="65070"/>
                    <a:pt x="44301" y="65070"/>
                  </a:cubicBezTo>
                  <a:cubicBezTo>
                    <a:pt x="44731" y="65070"/>
                    <a:pt x="46451" y="65915"/>
                    <a:pt x="46881" y="65915"/>
                  </a:cubicBezTo>
                  <a:cubicBezTo>
                    <a:pt x="46881" y="65915"/>
                    <a:pt x="47311" y="67605"/>
                    <a:pt x="47311" y="67605"/>
                  </a:cubicBezTo>
                  <a:cubicBezTo>
                    <a:pt x="47741" y="67605"/>
                    <a:pt x="48172" y="68450"/>
                    <a:pt x="48602" y="67605"/>
                  </a:cubicBezTo>
                  <a:cubicBezTo>
                    <a:pt x="48602" y="67605"/>
                    <a:pt x="49032" y="65915"/>
                    <a:pt x="49462" y="65915"/>
                  </a:cubicBezTo>
                  <a:cubicBezTo>
                    <a:pt x="49892" y="65915"/>
                    <a:pt x="51182" y="65915"/>
                    <a:pt x="51182" y="65915"/>
                  </a:cubicBezTo>
                  <a:cubicBezTo>
                    <a:pt x="51182" y="65915"/>
                    <a:pt x="52903" y="66760"/>
                    <a:pt x="52903" y="66760"/>
                  </a:cubicBezTo>
                  <a:cubicBezTo>
                    <a:pt x="52903" y="66760"/>
                    <a:pt x="52473" y="68450"/>
                    <a:pt x="52473" y="69295"/>
                  </a:cubicBezTo>
                  <a:cubicBezTo>
                    <a:pt x="52473" y="70140"/>
                    <a:pt x="52473" y="70985"/>
                    <a:pt x="52903" y="71830"/>
                  </a:cubicBezTo>
                  <a:cubicBezTo>
                    <a:pt x="52903" y="71830"/>
                    <a:pt x="53763" y="73521"/>
                    <a:pt x="53763" y="73521"/>
                  </a:cubicBezTo>
                  <a:cubicBezTo>
                    <a:pt x="53763" y="73521"/>
                    <a:pt x="55913" y="75211"/>
                    <a:pt x="55913" y="75211"/>
                  </a:cubicBezTo>
                  <a:cubicBezTo>
                    <a:pt x="55913" y="75211"/>
                    <a:pt x="56344" y="76056"/>
                    <a:pt x="56344" y="72676"/>
                  </a:cubicBezTo>
                  <a:cubicBezTo>
                    <a:pt x="56344" y="69295"/>
                    <a:pt x="56344" y="68450"/>
                    <a:pt x="56344" y="68450"/>
                  </a:cubicBezTo>
                  <a:cubicBezTo>
                    <a:pt x="56344" y="65070"/>
                    <a:pt x="56344" y="65070"/>
                    <a:pt x="56344" y="65070"/>
                  </a:cubicBezTo>
                  <a:cubicBezTo>
                    <a:pt x="56344" y="65070"/>
                    <a:pt x="56344" y="64225"/>
                    <a:pt x="55913" y="64225"/>
                  </a:cubicBezTo>
                  <a:cubicBezTo>
                    <a:pt x="55913" y="64225"/>
                    <a:pt x="55483" y="64225"/>
                    <a:pt x="55483" y="64225"/>
                  </a:cubicBezTo>
                  <a:cubicBezTo>
                    <a:pt x="55483" y="64225"/>
                    <a:pt x="53763" y="63380"/>
                    <a:pt x="53333" y="63380"/>
                  </a:cubicBezTo>
                  <a:cubicBezTo>
                    <a:pt x="52903" y="63380"/>
                    <a:pt x="53333" y="61690"/>
                    <a:pt x="53333" y="60845"/>
                  </a:cubicBezTo>
                  <a:cubicBezTo>
                    <a:pt x="53333" y="60845"/>
                    <a:pt x="54193" y="59154"/>
                    <a:pt x="54193" y="59154"/>
                  </a:cubicBezTo>
                  <a:cubicBezTo>
                    <a:pt x="54193" y="56619"/>
                    <a:pt x="54193" y="56619"/>
                    <a:pt x="54193" y="56619"/>
                  </a:cubicBezTo>
                  <a:cubicBezTo>
                    <a:pt x="52903" y="52394"/>
                    <a:pt x="52903" y="52394"/>
                    <a:pt x="52903" y="52394"/>
                  </a:cubicBezTo>
                  <a:cubicBezTo>
                    <a:pt x="51612" y="49859"/>
                    <a:pt x="51612" y="49859"/>
                    <a:pt x="51612" y="49859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2043" y="43943"/>
                    <a:pt x="52043" y="43943"/>
                    <a:pt x="52043" y="43943"/>
                  </a:cubicBezTo>
                  <a:cubicBezTo>
                    <a:pt x="52903" y="42253"/>
                    <a:pt x="54193" y="40563"/>
                    <a:pt x="54193" y="40563"/>
                  </a:cubicBezTo>
                  <a:cubicBezTo>
                    <a:pt x="54193" y="40563"/>
                    <a:pt x="54193" y="40563"/>
                    <a:pt x="54623" y="40563"/>
                  </a:cubicBezTo>
                  <a:cubicBezTo>
                    <a:pt x="55483" y="38873"/>
                    <a:pt x="55483" y="38873"/>
                    <a:pt x="55483" y="38873"/>
                  </a:cubicBezTo>
                  <a:cubicBezTo>
                    <a:pt x="55483" y="38873"/>
                    <a:pt x="57634" y="37183"/>
                    <a:pt x="57634" y="37183"/>
                  </a:cubicBezTo>
                  <a:cubicBezTo>
                    <a:pt x="57634" y="37183"/>
                    <a:pt x="58064" y="36338"/>
                    <a:pt x="58064" y="36338"/>
                  </a:cubicBezTo>
                  <a:cubicBezTo>
                    <a:pt x="58494" y="36338"/>
                    <a:pt x="58494" y="36338"/>
                    <a:pt x="58494" y="36338"/>
                  </a:cubicBezTo>
                  <a:cubicBezTo>
                    <a:pt x="60645" y="32112"/>
                    <a:pt x="60645" y="32112"/>
                    <a:pt x="60645" y="32112"/>
                  </a:cubicBezTo>
                  <a:cubicBezTo>
                    <a:pt x="60645" y="27887"/>
                    <a:pt x="60645" y="27887"/>
                    <a:pt x="60645" y="27887"/>
                  </a:cubicBezTo>
                  <a:cubicBezTo>
                    <a:pt x="61075" y="26197"/>
                    <a:pt x="61075" y="26197"/>
                    <a:pt x="61075" y="26197"/>
                  </a:cubicBezTo>
                  <a:cubicBezTo>
                    <a:pt x="61075" y="25352"/>
                    <a:pt x="61075" y="23661"/>
                    <a:pt x="61075" y="23661"/>
                  </a:cubicBezTo>
                  <a:cubicBezTo>
                    <a:pt x="63655" y="23661"/>
                    <a:pt x="63655" y="23661"/>
                    <a:pt x="63655" y="23661"/>
                  </a:cubicBezTo>
                  <a:cubicBezTo>
                    <a:pt x="63655" y="23661"/>
                    <a:pt x="64086" y="24507"/>
                    <a:pt x="64516" y="25352"/>
                  </a:cubicBezTo>
                  <a:cubicBezTo>
                    <a:pt x="64946" y="25352"/>
                    <a:pt x="65376" y="24507"/>
                    <a:pt x="65376" y="24507"/>
                  </a:cubicBezTo>
                  <a:cubicBezTo>
                    <a:pt x="65806" y="24507"/>
                    <a:pt x="66236" y="22816"/>
                    <a:pt x="66236" y="22816"/>
                  </a:cubicBezTo>
                  <a:cubicBezTo>
                    <a:pt x="66236" y="20281"/>
                    <a:pt x="66236" y="20281"/>
                    <a:pt x="66236" y="20281"/>
                  </a:cubicBezTo>
                  <a:cubicBezTo>
                    <a:pt x="65806" y="16056"/>
                    <a:pt x="65806" y="16056"/>
                    <a:pt x="65806" y="16056"/>
                  </a:cubicBezTo>
                  <a:cubicBezTo>
                    <a:pt x="65806" y="13521"/>
                    <a:pt x="65806" y="13521"/>
                    <a:pt x="65806" y="13521"/>
                  </a:cubicBezTo>
                  <a:cubicBezTo>
                    <a:pt x="65806" y="13521"/>
                    <a:pt x="65806" y="13521"/>
                    <a:pt x="65806" y="13521"/>
                  </a:cubicBezTo>
                  <a:cubicBezTo>
                    <a:pt x="66236" y="13521"/>
                    <a:pt x="67956" y="16056"/>
                    <a:pt x="68817" y="16901"/>
                  </a:cubicBezTo>
                  <a:cubicBezTo>
                    <a:pt x="69247" y="17746"/>
                    <a:pt x="70537" y="20281"/>
                    <a:pt x="70537" y="20281"/>
                  </a:cubicBezTo>
                  <a:cubicBezTo>
                    <a:pt x="70537" y="20281"/>
                    <a:pt x="72688" y="21126"/>
                    <a:pt x="73118" y="21126"/>
                  </a:cubicBezTo>
                  <a:cubicBezTo>
                    <a:pt x="73118" y="21126"/>
                    <a:pt x="75268" y="21971"/>
                    <a:pt x="75268" y="21971"/>
                  </a:cubicBezTo>
                  <a:cubicBezTo>
                    <a:pt x="75698" y="20281"/>
                    <a:pt x="75698" y="20281"/>
                    <a:pt x="75698" y="20281"/>
                  </a:cubicBezTo>
                  <a:cubicBezTo>
                    <a:pt x="76989" y="18591"/>
                    <a:pt x="76989" y="18591"/>
                    <a:pt x="76989" y="18591"/>
                  </a:cubicBezTo>
                  <a:cubicBezTo>
                    <a:pt x="78709" y="21126"/>
                    <a:pt x="78709" y="21126"/>
                    <a:pt x="78709" y="21126"/>
                  </a:cubicBezTo>
                  <a:cubicBezTo>
                    <a:pt x="80430" y="20281"/>
                    <a:pt x="80430" y="20281"/>
                    <a:pt x="80430" y="20281"/>
                  </a:cubicBezTo>
                  <a:close/>
                  <a:moveTo>
                    <a:pt x="2150" y="76901"/>
                  </a:moveTo>
                  <a:cubicBezTo>
                    <a:pt x="2150" y="76901"/>
                    <a:pt x="2150" y="76901"/>
                    <a:pt x="2150" y="76901"/>
                  </a:cubicBezTo>
                  <a:cubicBezTo>
                    <a:pt x="2150" y="76901"/>
                    <a:pt x="2150" y="76901"/>
                    <a:pt x="2150" y="76901"/>
                  </a:cubicBezTo>
                  <a:cubicBezTo>
                    <a:pt x="2150" y="76901"/>
                    <a:pt x="2150" y="76901"/>
                    <a:pt x="2150" y="76901"/>
                  </a:cubicBezTo>
                  <a:close/>
                  <a:moveTo>
                    <a:pt x="430" y="96338"/>
                  </a:move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lose/>
                  <a:moveTo>
                    <a:pt x="430" y="96338"/>
                  </a:move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5492"/>
                    <a:pt x="430" y="95492"/>
                  </a:cubicBezTo>
                  <a:cubicBezTo>
                    <a:pt x="430" y="95492"/>
                    <a:pt x="430" y="95492"/>
                    <a:pt x="430" y="95492"/>
                  </a:cubicBezTo>
                  <a:cubicBezTo>
                    <a:pt x="430" y="95492"/>
                    <a:pt x="860" y="95492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430" y="94647"/>
                    <a:pt x="430" y="94647"/>
                    <a:pt x="430" y="94647"/>
                  </a:cubicBezTo>
                  <a:cubicBezTo>
                    <a:pt x="0" y="96338"/>
                    <a:pt x="0" y="96338"/>
                    <a:pt x="0" y="96338"/>
                  </a:cubicBezTo>
                  <a:lnTo>
                    <a:pt x="430" y="96338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1" name="Shape 2042"/>
            <p:cNvSpPr/>
            <p:nvPr/>
          </p:nvSpPr>
          <p:spPr>
            <a:xfrm>
              <a:off x="2979925" y="1055254"/>
              <a:ext cx="543118" cy="4378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4201" y="44848"/>
                  </a:moveTo>
                  <a:cubicBezTo>
                    <a:pt x="26218" y="46666"/>
                    <a:pt x="26218" y="46666"/>
                    <a:pt x="26218" y="46666"/>
                  </a:cubicBezTo>
                  <a:cubicBezTo>
                    <a:pt x="27731" y="45454"/>
                    <a:pt x="27731" y="45454"/>
                    <a:pt x="27731" y="45454"/>
                  </a:cubicBezTo>
                  <a:cubicBezTo>
                    <a:pt x="28739" y="44242"/>
                    <a:pt x="28739" y="44242"/>
                    <a:pt x="28739" y="44242"/>
                  </a:cubicBezTo>
                  <a:cubicBezTo>
                    <a:pt x="29747" y="45454"/>
                    <a:pt x="29747" y="45454"/>
                    <a:pt x="29747" y="45454"/>
                  </a:cubicBezTo>
                  <a:cubicBezTo>
                    <a:pt x="28235" y="47272"/>
                    <a:pt x="28235" y="47272"/>
                    <a:pt x="28235" y="47272"/>
                  </a:cubicBezTo>
                  <a:cubicBezTo>
                    <a:pt x="27226" y="48484"/>
                    <a:pt x="27226" y="48484"/>
                    <a:pt x="27226" y="48484"/>
                  </a:cubicBezTo>
                  <a:cubicBezTo>
                    <a:pt x="27226" y="50303"/>
                    <a:pt x="27226" y="50303"/>
                    <a:pt x="27226" y="50303"/>
                  </a:cubicBezTo>
                  <a:cubicBezTo>
                    <a:pt x="25210" y="49696"/>
                    <a:pt x="25210" y="49696"/>
                    <a:pt x="25210" y="49696"/>
                  </a:cubicBezTo>
                  <a:cubicBezTo>
                    <a:pt x="23193" y="47272"/>
                    <a:pt x="23193" y="47272"/>
                    <a:pt x="23193" y="47272"/>
                  </a:cubicBezTo>
                  <a:cubicBezTo>
                    <a:pt x="22184" y="46666"/>
                    <a:pt x="22184" y="46666"/>
                    <a:pt x="22184" y="46666"/>
                  </a:cubicBezTo>
                  <a:cubicBezTo>
                    <a:pt x="21176" y="46060"/>
                    <a:pt x="21176" y="46060"/>
                    <a:pt x="21176" y="46060"/>
                  </a:cubicBezTo>
                  <a:cubicBezTo>
                    <a:pt x="20672" y="44242"/>
                    <a:pt x="20672" y="44242"/>
                    <a:pt x="20672" y="44242"/>
                  </a:cubicBezTo>
                  <a:cubicBezTo>
                    <a:pt x="20168" y="44848"/>
                    <a:pt x="20168" y="44848"/>
                    <a:pt x="20168" y="44848"/>
                  </a:cubicBezTo>
                  <a:cubicBezTo>
                    <a:pt x="18151" y="45454"/>
                    <a:pt x="18151" y="45454"/>
                    <a:pt x="18151" y="45454"/>
                  </a:cubicBezTo>
                  <a:cubicBezTo>
                    <a:pt x="17647" y="46060"/>
                    <a:pt x="17647" y="46060"/>
                    <a:pt x="17647" y="46060"/>
                  </a:cubicBezTo>
                  <a:cubicBezTo>
                    <a:pt x="17142" y="44848"/>
                    <a:pt x="17142" y="44848"/>
                    <a:pt x="17142" y="44848"/>
                  </a:cubicBezTo>
                  <a:cubicBezTo>
                    <a:pt x="17647" y="43636"/>
                    <a:pt x="17647" y="43636"/>
                    <a:pt x="17647" y="43636"/>
                  </a:cubicBezTo>
                  <a:cubicBezTo>
                    <a:pt x="16134" y="43636"/>
                    <a:pt x="16134" y="43636"/>
                    <a:pt x="16134" y="43636"/>
                  </a:cubicBezTo>
                  <a:cubicBezTo>
                    <a:pt x="16134" y="43636"/>
                    <a:pt x="15630" y="44242"/>
                    <a:pt x="15126" y="44242"/>
                  </a:cubicBezTo>
                  <a:cubicBezTo>
                    <a:pt x="14621" y="44242"/>
                    <a:pt x="14117" y="44242"/>
                    <a:pt x="14117" y="44242"/>
                  </a:cubicBezTo>
                  <a:cubicBezTo>
                    <a:pt x="13613" y="43636"/>
                    <a:pt x="13109" y="43030"/>
                    <a:pt x="12605" y="43030"/>
                  </a:cubicBezTo>
                  <a:cubicBezTo>
                    <a:pt x="12100" y="42424"/>
                    <a:pt x="11596" y="41818"/>
                    <a:pt x="11596" y="41818"/>
                  </a:cubicBezTo>
                  <a:cubicBezTo>
                    <a:pt x="10588" y="42424"/>
                    <a:pt x="10588" y="42424"/>
                    <a:pt x="10588" y="42424"/>
                  </a:cubicBezTo>
                  <a:cubicBezTo>
                    <a:pt x="9579" y="43636"/>
                    <a:pt x="9579" y="43636"/>
                    <a:pt x="9579" y="43636"/>
                  </a:cubicBezTo>
                  <a:cubicBezTo>
                    <a:pt x="9579" y="43030"/>
                    <a:pt x="9579" y="43030"/>
                    <a:pt x="9579" y="43030"/>
                  </a:cubicBezTo>
                  <a:cubicBezTo>
                    <a:pt x="8571" y="42424"/>
                    <a:pt x="8571" y="42424"/>
                    <a:pt x="8571" y="42424"/>
                  </a:cubicBezTo>
                  <a:cubicBezTo>
                    <a:pt x="6554" y="42424"/>
                    <a:pt x="6554" y="42424"/>
                    <a:pt x="6554" y="42424"/>
                  </a:cubicBezTo>
                  <a:cubicBezTo>
                    <a:pt x="6050" y="42424"/>
                    <a:pt x="6050" y="42424"/>
                    <a:pt x="6050" y="42424"/>
                  </a:cubicBezTo>
                  <a:cubicBezTo>
                    <a:pt x="6050" y="42424"/>
                    <a:pt x="6050" y="42424"/>
                    <a:pt x="5042" y="42424"/>
                  </a:cubicBezTo>
                  <a:cubicBezTo>
                    <a:pt x="4537" y="41818"/>
                    <a:pt x="4537" y="41818"/>
                    <a:pt x="4537" y="41818"/>
                  </a:cubicBezTo>
                  <a:cubicBezTo>
                    <a:pt x="3025" y="41212"/>
                    <a:pt x="3025" y="41212"/>
                    <a:pt x="3025" y="41212"/>
                  </a:cubicBezTo>
                  <a:cubicBezTo>
                    <a:pt x="1512" y="40606"/>
                    <a:pt x="1512" y="40606"/>
                    <a:pt x="1512" y="40606"/>
                  </a:cubicBezTo>
                  <a:cubicBezTo>
                    <a:pt x="1512" y="40606"/>
                    <a:pt x="1008" y="40606"/>
                    <a:pt x="1008" y="41212"/>
                  </a:cubicBezTo>
                  <a:cubicBezTo>
                    <a:pt x="1008" y="42424"/>
                    <a:pt x="0" y="43030"/>
                    <a:pt x="0" y="43636"/>
                  </a:cubicBezTo>
                  <a:cubicBezTo>
                    <a:pt x="504" y="44242"/>
                    <a:pt x="1008" y="44242"/>
                    <a:pt x="1512" y="45454"/>
                  </a:cubicBezTo>
                  <a:cubicBezTo>
                    <a:pt x="2521" y="46060"/>
                    <a:pt x="2521" y="46060"/>
                    <a:pt x="2521" y="46060"/>
                  </a:cubicBezTo>
                  <a:cubicBezTo>
                    <a:pt x="4033" y="46060"/>
                    <a:pt x="4033" y="46060"/>
                    <a:pt x="4033" y="46060"/>
                  </a:cubicBezTo>
                  <a:cubicBezTo>
                    <a:pt x="4537" y="45454"/>
                    <a:pt x="4537" y="45454"/>
                    <a:pt x="4537" y="45454"/>
                  </a:cubicBezTo>
                  <a:cubicBezTo>
                    <a:pt x="6554" y="46060"/>
                    <a:pt x="6554" y="46060"/>
                    <a:pt x="6554" y="46060"/>
                  </a:cubicBezTo>
                  <a:cubicBezTo>
                    <a:pt x="7058" y="47272"/>
                    <a:pt x="7563" y="48484"/>
                    <a:pt x="8067" y="47878"/>
                  </a:cubicBezTo>
                  <a:cubicBezTo>
                    <a:pt x="8571" y="47272"/>
                    <a:pt x="8571" y="47272"/>
                    <a:pt x="8571" y="47272"/>
                  </a:cubicBezTo>
                  <a:cubicBezTo>
                    <a:pt x="9579" y="47878"/>
                    <a:pt x="9579" y="47878"/>
                    <a:pt x="9579" y="47878"/>
                  </a:cubicBezTo>
                  <a:cubicBezTo>
                    <a:pt x="9579" y="47878"/>
                    <a:pt x="10084" y="50303"/>
                    <a:pt x="11092" y="50303"/>
                  </a:cubicBezTo>
                  <a:cubicBezTo>
                    <a:pt x="11596" y="50909"/>
                    <a:pt x="12100" y="50909"/>
                    <a:pt x="12100" y="50909"/>
                  </a:cubicBezTo>
                  <a:cubicBezTo>
                    <a:pt x="14117" y="52121"/>
                    <a:pt x="14117" y="52121"/>
                    <a:pt x="14117" y="52121"/>
                  </a:cubicBezTo>
                  <a:cubicBezTo>
                    <a:pt x="15126" y="52121"/>
                    <a:pt x="15126" y="52121"/>
                    <a:pt x="15126" y="52121"/>
                  </a:cubicBezTo>
                  <a:cubicBezTo>
                    <a:pt x="15126" y="52121"/>
                    <a:pt x="16638" y="51515"/>
                    <a:pt x="16638" y="52121"/>
                  </a:cubicBezTo>
                  <a:cubicBezTo>
                    <a:pt x="16638" y="52727"/>
                    <a:pt x="17647" y="53333"/>
                    <a:pt x="17142" y="53939"/>
                  </a:cubicBezTo>
                  <a:cubicBezTo>
                    <a:pt x="17142" y="53939"/>
                    <a:pt x="17142" y="54545"/>
                    <a:pt x="17142" y="55151"/>
                  </a:cubicBezTo>
                  <a:cubicBezTo>
                    <a:pt x="17142" y="55757"/>
                    <a:pt x="17142" y="56363"/>
                    <a:pt x="17142" y="56363"/>
                  </a:cubicBezTo>
                  <a:cubicBezTo>
                    <a:pt x="15630" y="58181"/>
                    <a:pt x="15630" y="58181"/>
                    <a:pt x="15630" y="58181"/>
                  </a:cubicBezTo>
                  <a:cubicBezTo>
                    <a:pt x="15630" y="59393"/>
                    <a:pt x="15630" y="59393"/>
                    <a:pt x="15630" y="59393"/>
                  </a:cubicBezTo>
                  <a:cubicBezTo>
                    <a:pt x="15630" y="59393"/>
                    <a:pt x="15630" y="60606"/>
                    <a:pt x="15126" y="60606"/>
                  </a:cubicBezTo>
                  <a:cubicBezTo>
                    <a:pt x="15126" y="61212"/>
                    <a:pt x="14621" y="63030"/>
                    <a:pt x="14621" y="63030"/>
                  </a:cubicBezTo>
                  <a:cubicBezTo>
                    <a:pt x="16134" y="61818"/>
                    <a:pt x="16134" y="61818"/>
                    <a:pt x="16134" y="61818"/>
                  </a:cubicBezTo>
                  <a:cubicBezTo>
                    <a:pt x="16134" y="61818"/>
                    <a:pt x="16638" y="61818"/>
                    <a:pt x="16638" y="62424"/>
                  </a:cubicBezTo>
                  <a:cubicBezTo>
                    <a:pt x="16134" y="63636"/>
                    <a:pt x="15630" y="64242"/>
                    <a:pt x="15630" y="64242"/>
                  </a:cubicBezTo>
                  <a:cubicBezTo>
                    <a:pt x="15630" y="64242"/>
                    <a:pt x="16134" y="66060"/>
                    <a:pt x="16638" y="65454"/>
                  </a:cubicBezTo>
                  <a:cubicBezTo>
                    <a:pt x="17647" y="64848"/>
                    <a:pt x="17647" y="64848"/>
                    <a:pt x="17647" y="64848"/>
                  </a:cubicBezTo>
                  <a:cubicBezTo>
                    <a:pt x="18655" y="64242"/>
                    <a:pt x="18655" y="64242"/>
                    <a:pt x="18655" y="64242"/>
                  </a:cubicBezTo>
                  <a:cubicBezTo>
                    <a:pt x="20168" y="63636"/>
                    <a:pt x="20168" y="63636"/>
                    <a:pt x="20168" y="63636"/>
                  </a:cubicBezTo>
                  <a:cubicBezTo>
                    <a:pt x="20168" y="63636"/>
                    <a:pt x="20168" y="63636"/>
                    <a:pt x="20672" y="63030"/>
                  </a:cubicBezTo>
                  <a:cubicBezTo>
                    <a:pt x="21680" y="63030"/>
                    <a:pt x="23193" y="63030"/>
                    <a:pt x="23193" y="63030"/>
                  </a:cubicBezTo>
                  <a:cubicBezTo>
                    <a:pt x="23193" y="63030"/>
                    <a:pt x="23697" y="64848"/>
                    <a:pt x="23193" y="64848"/>
                  </a:cubicBezTo>
                  <a:cubicBezTo>
                    <a:pt x="22689" y="64848"/>
                    <a:pt x="20672" y="64242"/>
                    <a:pt x="20672" y="64242"/>
                  </a:cubicBezTo>
                  <a:cubicBezTo>
                    <a:pt x="19663" y="64848"/>
                    <a:pt x="19663" y="64848"/>
                    <a:pt x="19663" y="64848"/>
                  </a:cubicBezTo>
                  <a:cubicBezTo>
                    <a:pt x="18655" y="65454"/>
                    <a:pt x="18655" y="65454"/>
                    <a:pt x="18655" y="65454"/>
                  </a:cubicBezTo>
                  <a:cubicBezTo>
                    <a:pt x="17647" y="66666"/>
                    <a:pt x="17647" y="66666"/>
                    <a:pt x="17647" y="66666"/>
                  </a:cubicBezTo>
                  <a:cubicBezTo>
                    <a:pt x="17647" y="66666"/>
                    <a:pt x="16638" y="68484"/>
                    <a:pt x="17142" y="68484"/>
                  </a:cubicBezTo>
                  <a:cubicBezTo>
                    <a:pt x="17647" y="69090"/>
                    <a:pt x="16134" y="69696"/>
                    <a:pt x="16134" y="69696"/>
                  </a:cubicBezTo>
                  <a:cubicBezTo>
                    <a:pt x="15630" y="69696"/>
                    <a:pt x="15630" y="69696"/>
                    <a:pt x="15630" y="69696"/>
                  </a:cubicBezTo>
                  <a:cubicBezTo>
                    <a:pt x="15630" y="70303"/>
                    <a:pt x="15630" y="70303"/>
                    <a:pt x="15630" y="70303"/>
                  </a:cubicBezTo>
                  <a:cubicBezTo>
                    <a:pt x="15630" y="70303"/>
                    <a:pt x="15630" y="70303"/>
                    <a:pt x="16134" y="70909"/>
                  </a:cubicBezTo>
                  <a:cubicBezTo>
                    <a:pt x="16638" y="70909"/>
                    <a:pt x="18151" y="70909"/>
                    <a:pt x="18151" y="70909"/>
                  </a:cubicBezTo>
                  <a:cubicBezTo>
                    <a:pt x="18151" y="70909"/>
                    <a:pt x="19159" y="70303"/>
                    <a:pt x="18655" y="70909"/>
                  </a:cubicBezTo>
                  <a:cubicBezTo>
                    <a:pt x="18655" y="71515"/>
                    <a:pt x="18151" y="73333"/>
                    <a:pt x="18151" y="73333"/>
                  </a:cubicBezTo>
                  <a:cubicBezTo>
                    <a:pt x="18151" y="73333"/>
                    <a:pt x="17647" y="73939"/>
                    <a:pt x="16134" y="73939"/>
                  </a:cubicBezTo>
                  <a:cubicBezTo>
                    <a:pt x="15126" y="74545"/>
                    <a:pt x="13613" y="75151"/>
                    <a:pt x="13613" y="75151"/>
                  </a:cubicBezTo>
                  <a:cubicBezTo>
                    <a:pt x="12605" y="76969"/>
                    <a:pt x="12605" y="76969"/>
                    <a:pt x="12605" y="76969"/>
                  </a:cubicBezTo>
                  <a:cubicBezTo>
                    <a:pt x="12605" y="76969"/>
                    <a:pt x="13109" y="77575"/>
                    <a:pt x="11596" y="77575"/>
                  </a:cubicBezTo>
                  <a:cubicBezTo>
                    <a:pt x="10588" y="77575"/>
                    <a:pt x="9579" y="77575"/>
                    <a:pt x="9579" y="77575"/>
                  </a:cubicBezTo>
                  <a:cubicBezTo>
                    <a:pt x="8571" y="77575"/>
                    <a:pt x="8571" y="77575"/>
                    <a:pt x="8571" y="77575"/>
                  </a:cubicBezTo>
                  <a:cubicBezTo>
                    <a:pt x="8571" y="77575"/>
                    <a:pt x="7563" y="78181"/>
                    <a:pt x="7563" y="78181"/>
                  </a:cubicBezTo>
                  <a:cubicBezTo>
                    <a:pt x="7058" y="77575"/>
                    <a:pt x="6554" y="76969"/>
                    <a:pt x="6554" y="76969"/>
                  </a:cubicBezTo>
                  <a:cubicBezTo>
                    <a:pt x="7058" y="74545"/>
                    <a:pt x="7058" y="74545"/>
                    <a:pt x="7058" y="74545"/>
                  </a:cubicBezTo>
                  <a:cubicBezTo>
                    <a:pt x="6554" y="73939"/>
                    <a:pt x="6554" y="73939"/>
                    <a:pt x="6554" y="73939"/>
                  </a:cubicBezTo>
                  <a:cubicBezTo>
                    <a:pt x="6554" y="72121"/>
                    <a:pt x="6554" y="72121"/>
                    <a:pt x="6554" y="72121"/>
                  </a:cubicBezTo>
                  <a:cubicBezTo>
                    <a:pt x="6554" y="72121"/>
                    <a:pt x="5042" y="73333"/>
                    <a:pt x="5042" y="73939"/>
                  </a:cubicBezTo>
                  <a:cubicBezTo>
                    <a:pt x="4537" y="73939"/>
                    <a:pt x="4537" y="75151"/>
                    <a:pt x="4537" y="75151"/>
                  </a:cubicBezTo>
                  <a:cubicBezTo>
                    <a:pt x="3529" y="76969"/>
                    <a:pt x="3529" y="76969"/>
                    <a:pt x="3529" y="76969"/>
                  </a:cubicBezTo>
                  <a:cubicBezTo>
                    <a:pt x="3025" y="76969"/>
                    <a:pt x="3025" y="76969"/>
                    <a:pt x="3025" y="76969"/>
                  </a:cubicBezTo>
                  <a:cubicBezTo>
                    <a:pt x="3025" y="79393"/>
                    <a:pt x="3025" y="79393"/>
                    <a:pt x="3025" y="79393"/>
                  </a:cubicBezTo>
                  <a:cubicBezTo>
                    <a:pt x="2521" y="80606"/>
                    <a:pt x="2521" y="80606"/>
                    <a:pt x="2521" y="80606"/>
                  </a:cubicBezTo>
                  <a:cubicBezTo>
                    <a:pt x="2521" y="80606"/>
                    <a:pt x="2016" y="80606"/>
                    <a:pt x="2521" y="81212"/>
                  </a:cubicBezTo>
                  <a:cubicBezTo>
                    <a:pt x="3025" y="81212"/>
                    <a:pt x="5042" y="82424"/>
                    <a:pt x="5042" y="82424"/>
                  </a:cubicBezTo>
                  <a:cubicBezTo>
                    <a:pt x="5042" y="82424"/>
                    <a:pt x="5546" y="81818"/>
                    <a:pt x="6554" y="83030"/>
                  </a:cubicBezTo>
                  <a:cubicBezTo>
                    <a:pt x="7058" y="83636"/>
                    <a:pt x="8067" y="84242"/>
                    <a:pt x="8067" y="84242"/>
                  </a:cubicBezTo>
                  <a:cubicBezTo>
                    <a:pt x="8571" y="84242"/>
                    <a:pt x="8571" y="84242"/>
                    <a:pt x="8571" y="84242"/>
                  </a:cubicBezTo>
                  <a:cubicBezTo>
                    <a:pt x="10084" y="83636"/>
                    <a:pt x="10084" y="83636"/>
                    <a:pt x="10084" y="83636"/>
                  </a:cubicBezTo>
                  <a:cubicBezTo>
                    <a:pt x="11092" y="84848"/>
                    <a:pt x="11092" y="84848"/>
                    <a:pt x="11092" y="84848"/>
                  </a:cubicBezTo>
                  <a:cubicBezTo>
                    <a:pt x="13613" y="85454"/>
                    <a:pt x="13613" y="85454"/>
                    <a:pt x="13613" y="85454"/>
                  </a:cubicBezTo>
                  <a:cubicBezTo>
                    <a:pt x="13613" y="85454"/>
                    <a:pt x="14117" y="86666"/>
                    <a:pt x="14117" y="87272"/>
                  </a:cubicBezTo>
                  <a:cubicBezTo>
                    <a:pt x="14621" y="87272"/>
                    <a:pt x="15630" y="89090"/>
                    <a:pt x="15630" y="89090"/>
                  </a:cubicBezTo>
                  <a:cubicBezTo>
                    <a:pt x="15630" y="89090"/>
                    <a:pt x="15630" y="87878"/>
                    <a:pt x="16638" y="88484"/>
                  </a:cubicBezTo>
                  <a:cubicBezTo>
                    <a:pt x="18151" y="88484"/>
                    <a:pt x="18655" y="88484"/>
                    <a:pt x="18655" y="88484"/>
                  </a:cubicBezTo>
                  <a:cubicBezTo>
                    <a:pt x="18655" y="88484"/>
                    <a:pt x="19663" y="88484"/>
                    <a:pt x="20168" y="89090"/>
                  </a:cubicBezTo>
                  <a:cubicBezTo>
                    <a:pt x="20672" y="89696"/>
                    <a:pt x="22184" y="92727"/>
                    <a:pt x="22184" y="92727"/>
                  </a:cubicBezTo>
                  <a:cubicBezTo>
                    <a:pt x="23193" y="95757"/>
                    <a:pt x="23193" y="95757"/>
                    <a:pt x="23193" y="95757"/>
                  </a:cubicBezTo>
                  <a:cubicBezTo>
                    <a:pt x="24201" y="98181"/>
                    <a:pt x="24201" y="98181"/>
                    <a:pt x="24201" y="98181"/>
                  </a:cubicBezTo>
                  <a:cubicBezTo>
                    <a:pt x="24201" y="98181"/>
                    <a:pt x="24201" y="98787"/>
                    <a:pt x="25210" y="99393"/>
                  </a:cubicBezTo>
                  <a:cubicBezTo>
                    <a:pt x="26218" y="100606"/>
                    <a:pt x="26722" y="101818"/>
                    <a:pt x="26722" y="101818"/>
                  </a:cubicBezTo>
                  <a:cubicBezTo>
                    <a:pt x="26722" y="101818"/>
                    <a:pt x="26722" y="102424"/>
                    <a:pt x="27226" y="103030"/>
                  </a:cubicBezTo>
                  <a:cubicBezTo>
                    <a:pt x="27731" y="104242"/>
                    <a:pt x="28739" y="105454"/>
                    <a:pt x="28739" y="105454"/>
                  </a:cubicBezTo>
                  <a:cubicBezTo>
                    <a:pt x="28739" y="105454"/>
                    <a:pt x="28739" y="106060"/>
                    <a:pt x="29243" y="106666"/>
                  </a:cubicBezTo>
                  <a:cubicBezTo>
                    <a:pt x="30252" y="107272"/>
                    <a:pt x="31260" y="107272"/>
                    <a:pt x="31764" y="107878"/>
                  </a:cubicBezTo>
                  <a:cubicBezTo>
                    <a:pt x="32773" y="109090"/>
                    <a:pt x="33781" y="110303"/>
                    <a:pt x="33781" y="110303"/>
                  </a:cubicBezTo>
                  <a:cubicBezTo>
                    <a:pt x="33781" y="110303"/>
                    <a:pt x="36302" y="113333"/>
                    <a:pt x="37310" y="114545"/>
                  </a:cubicBezTo>
                  <a:cubicBezTo>
                    <a:pt x="38319" y="115757"/>
                    <a:pt x="39327" y="116969"/>
                    <a:pt x="39831" y="116969"/>
                  </a:cubicBezTo>
                  <a:cubicBezTo>
                    <a:pt x="40336" y="117575"/>
                    <a:pt x="42857" y="118181"/>
                    <a:pt x="42857" y="118181"/>
                  </a:cubicBezTo>
                  <a:cubicBezTo>
                    <a:pt x="42857" y="118181"/>
                    <a:pt x="44369" y="119999"/>
                    <a:pt x="44873" y="119393"/>
                  </a:cubicBezTo>
                  <a:cubicBezTo>
                    <a:pt x="45882" y="119393"/>
                    <a:pt x="43865" y="118787"/>
                    <a:pt x="46890" y="118787"/>
                  </a:cubicBezTo>
                  <a:cubicBezTo>
                    <a:pt x="49915" y="118787"/>
                    <a:pt x="51932" y="119999"/>
                    <a:pt x="51932" y="119999"/>
                  </a:cubicBezTo>
                  <a:cubicBezTo>
                    <a:pt x="53949" y="118181"/>
                    <a:pt x="53949" y="118181"/>
                    <a:pt x="53949" y="118181"/>
                  </a:cubicBezTo>
                  <a:cubicBezTo>
                    <a:pt x="53949" y="118181"/>
                    <a:pt x="53445" y="119393"/>
                    <a:pt x="53949" y="117575"/>
                  </a:cubicBezTo>
                  <a:cubicBezTo>
                    <a:pt x="54453" y="116363"/>
                    <a:pt x="54957" y="115151"/>
                    <a:pt x="54957" y="115151"/>
                  </a:cubicBezTo>
                  <a:cubicBezTo>
                    <a:pt x="54957" y="115151"/>
                    <a:pt x="54453" y="113939"/>
                    <a:pt x="55966" y="113939"/>
                  </a:cubicBezTo>
                  <a:cubicBezTo>
                    <a:pt x="56974" y="113939"/>
                    <a:pt x="60000" y="113333"/>
                    <a:pt x="60504" y="113333"/>
                  </a:cubicBezTo>
                  <a:cubicBezTo>
                    <a:pt x="61008" y="113333"/>
                    <a:pt x="61008" y="113939"/>
                    <a:pt x="61512" y="113333"/>
                  </a:cubicBezTo>
                  <a:cubicBezTo>
                    <a:pt x="61512" y="112727"/>
                    <a:pt x="66050" y="114545"/>
                    <a:pt x="66050" y="114545"/>
                  </a:cubicBezTo>
                  <a:cubicBezTo>
                    <a:pt x="66554" y="113333"/>
                    <a:pt x="66554" y="113333"/>
                    <a:pt x="66554" y="113333"/>
                  </a:cubicBezTo>
                  <a:cubicBezTo>
                    <a:pt x="67563" y="112727"/>
                    <a:pt x="67563" y="112727"/>
                    <a:pt x="67563" y="112727"/>
                  </a:cubicBezTo>
                  <a:cubicBezTo>
                    <a:pt x="68571" y="115151"/>
                    <a:pt x="68571" y="115151"/>
                    <a:pt x="68571" y="115151"/>
                  </a:cubicBezTo>
                  <a:cubicBezTo>
                    <a:pt x="70588" y="115151"/>
                    <a:pt x="70588" y="115151"/>
                    <a:pt x="70588" y="115151"/>
                  </a:cubicBezTo>
                  <a:cubicBezTo>
                    <a:pt x="70588" y="115151"/>
                    <a:pt x="72100" y="114545"/>
                    <a:pt x="73109" y="114545"/>
                  </a:cubicBezTo>
                  <a:cubicBezTo>
                    <a:pt x="73613" y="114545"/>
                    <a:pt x="75630" y="113333"/>
                    <a:pt x="75630" y="113333"/>
                  </a:cubicBezTo>
                  <a:cubicBezTo>
                    <a:pt x="75630" y="113333"/>
                    <a:pt x="76134" y="112121"/>
                    <a:pt x="76638" y="112121"/>
                  </a:cubicBezTo>
                  <a:cubicBezTo>
                    <a:pt x="77142" y="111515"/>
                    <a:pt x="78655" y="111515"/>
                    <a:pt x="79159" y="111515"/>
                  </a:cubicBezTo>
                  <a:cubicBezTo>
                    <a:pt x="80168" y="111515"/>
                    <a:pt x="81680" y="110909"/>
                    <a:pt x="81680" y="110909"/>
                  </a:cubicBezTo>
                  <a:cubicBezTo>
                    <a:pt x="82689" y="109696"/>
                    <a:pt x="82689" y="109696"/>
                    <a:pt x="82689" y="109696"/>
                  </a:cubicBezTo>
                  <a:cubicBezTo>
                    <a:pt x="82689" y="109696"/>
                    <a:pt x="83193" y="109090"/>
                    <a:pt x="84201" y="109090"/>
                  </a:cubicBezTo>
                  <a:cubicBezTo>
                    <a:pt x="84705" y="109696"/>
                    <a:pt x="86722" y="109696"/>
                    <a:pt x="86722" y="109696"/>
                  </a:cubicBezTo>
                  <a:cubicBezTo>
                    <a:pt x="88235" y="108484"/>
                    <a:pt x="88235" y="108484"/>
                    <a:pt x="88235" y="108484"/>
                  </a:cubicBezTo>
                  <a:cubicBezTo>
                    <a:pt x="89747" y="107878"/>
                    <a:pt x="89747" y="107878"/>
                    <a:pt x="89747" y="107878"/>
                  </a:cubicBezTo>
                  <a:cubicBezTo>
                    <a:pt x="89747" y="107878"/>
                    <a:pt x="89747" y="107272"/>
                    <a:pt x="90252" y="107878"/>
                  </a:cubicBezTo>
                  <a:cubicBezTo>
                    <a:pt x="90756" y="108484"/>
                    <a:pt x="91764" y="109696"/>
                    <a:pt x="91764" y="109696"/>
                  </a:cubicBezTo>
                  <a:cubicBezTo>
                    <a:pt x="93781" y="110303"/>
                    <a:pt x="93781" y="110303"/>
                    <a:pt x="93781" y="110303"/>
                  </a:cubicBezTo>
                  <a:cubicBezTo>
                    <a:pt x="95294" y="109696"/>
                    <a:pt x="95294" y="109696"/>
                    <a:pt x="95294" y="109696"/>
                  </a:cubicBezTo>
                  <a:cubicBezTo>
                    <a:pt x="96302" y="108484"/>
                    <a:pt x="96302" y="108484"/>
                    <a:pt x="96302" y="108484"/>
                  </a:cubicBezTo>
                  <a:cubicBezTo>
                    <a:pt x="96302" y="108484"/>
                    <a:pt x="96302" y="107878"/>
                    <a:pt x="97815" y="107878"/>
                  </a:cubicBezTo>
                  <a:cubicBezTo>
                    <a:pt x="99327" y="107878"/>
                    <a:pt x="99831" y="107878"/>
                    <a:pt x="99831" y="107878"/>
                  </a:cubicBezTo>
                  <a:cubicBezTo>
                    <a:pt x="99831" y="107878"/>
                    <a:pt x="101344" y="107878"/>
                    <a:pt x="101344" y="107272"/>
                  </a:cubicBezTo>
                  <a:cubicBezTo>
                    <a:pt x="101344" y="106666"/>
                    <a:pt x="101344" y="105454"/>
                    <a:pt x="101848" y="104848"/>
                  </a:cubicBezTo>
                  <a:cubicBezTo>
                    <a:pt x="101848" y="104242"/>
                    <a:pt x="103865" y="101818"/>
                    <a:pt x="103865" y="101818"/>
                  </a:cubicBezTo>
                  <a:cubicBezTo>
                    <a:pt x="104873" y="101212"/>
                    <a:pt x="104873" y="101212"/>
                    <a:pt x="104873" y="101212"/>
                  </a:cubicBezTo>
                  <a:cubicBezTo>
                    <a:pt x="104369" y="99393"/>
                    <a:pt x="104369" y="99393"/>
                    <a:pt x="104369" y="99393"/>
                  </a:cubicBezTo>
                  <a:cubicBezTo>
                    <a:pt x="104873" y="98181"/>
                    <a:pt x="104873" y="98181"/>
                    <a:pt x="104873" y="98181"/>
                  </a:cubicBezTo>
                  <a:cubicBezTo>
                    <a:pt x="104873" y="98181"/>
                    <a:pt x="106386" y="97575"/>
                    <a:pt x="105882" y="98787"/>
                  </a:cubicBezTo>
                  <a:cubicBezTo>
                    <a:pt x="105378" y="99999"/>
                    <a:pt x="105882" y="100606"/>
                    <a:pt x="105882" y="100606"/>
                  </a:cubicBezTo>
                  <a:cubicBezTo>
                    <a:pt x="105882" y="100606"/>
                    <a:pt x="106386" y="99999"/>
                    <a:pt x="106890" y="99999"/>
                  </a:cubicBezTo>
                  <a:cubicBezTo>
                    <a:pt x="107899" y="99999"/>
                    <a:pt x="107899" y="99393"/>
                    <a:pt x="108403" y="99393"/>
                  </a:cubicBezTo>
                  <a:cubicBezTo>
                    <a:pt x="109411" y="99999"/>
                    <a:pt x="109915" y="99393"/>
                    <a:pt x="109915" y="99393"/>
                  </a:cubicBezTo>
                  <a:cubicBezTo>
                    <a:pt x="109915" y="99393"/>
                    <a:pt x="109411" y="98181"/>
                    <a:pt x="109915" y="98181"/>
                  </a:cubicBezTo>
                  <a:cubicBezTo>
                    <a:pt x="110420" y="98787"/>
                    <a:pt x="111428" y="98787"/>
                    <a:pt x="111428" y="98787"/>
                  </a:cubicBezTo>
                  <a:cubicBezTo>
                    <a:pt x="111428" y="98787"/>
                    <a:pt x="111932" y="98787"/>
                    <a:pt x="111932" y="98181"/>
                  </a:cubicBezTo>
                  <a:cubicBezTo>
                    <a:pt x="111932" y="98181"/>
                    <a:pt x="110420" y="96969"/>
                    <a:pt x="110924" y="96969"/>
                  </a:cubicBezTo>
                  <a:cubicBezTo>
                    <a:pt x="111428" y="97575"/>
                    <a:pt x="112436" y="96969"/>
                    <a:pt x="112436" y="96969"/>
                  </a:cubicBezTo>
                  <a:cubicBezTo>
                    <a:pt x="112436" y="96969"/>
                    <a:pt x="113949" y="97575"/>
                    <a:pt x="112436" y="96363"/>
                  </a:cubicBezTo>
                  <a:cubicBezTo>
                    <a:pt x="111428" y="94545"/>
                    <a:pt x="112941" y="94545"/>
                    <a:pt x="112941" y="94545"/>
                  </a:cubicBezTo>
                  <a:cubicBezTo>
                    <a:pt x="112941" y="94545"/>
                    <a:pt x="114453" y="95151"/>
                    <a:pt x="113949" y="95151"/>
                  </a:cubicBezTo>
                  <a:cubicBezTo>
                    <a:pt x="113445" y="94545"/>
                    <a:pt x="111428" y="91515"/>
                    <a:pt x="111428" y="91515"/>
                  </a:cubicBezTo>
                  <a:cubicBezTo>
                    <a:pt x="111428" y="90909"/>
                    <a:pt x="111428" y="90909"/>
                    <a:pt x="111428" y="90909"/>
                  </a:cubicBezTo>
                  <a:cubicBezTo>
                    <a:pt x="111428" y="89696"/>
                    <a:pt x="111428" y="89696"/>
                    <a:pt x="111428" y="89696"/>
                  </a:cubicBezTo>
                  <a:cubicBezTo>
                    <a:pt x="111428" y="89696"/>
                    <a:pt x="112436" y="90303"/>
                    <a:pt x="112941" y="90909"/>
                  </a:cubicBezTo>
                  <a:cubicBezTo>
                    <a:pt x="112941" y="90909"/>
                    <a:pt x="112941" y="90909"/>
                    <a:pt x="113445" y="91515"/>
                  </a:cubicBezTo>
                  <a:cubicBezTo>
                    <a:pt x="114453" y="92121"/>
                    <a:pt x="113949" y="93333"/>
                    <a:pt x="114453" y="93333"/>
                  </a:cubicBezTo>
                  <a:cubicBezTo>
                    <a:pt x="114957" y="93939"/>
                    <a:pt x="116470" y="93333"/>
                    <a:pt x="116470" y="93333"/>
                  </a:cubicBezTo>
                  <a:cubicBezTo>
                    <a:pt x="117478" y="91515"/>
                    <a:pt x="117478" y="91515"/>
                    <a:pt x="117478" y="91515"/>
                  </a:cubicBezTo>
                  <a:cubicBezTo>
                    <a:pt x="117478" y="91515"/>
                    <a:pt x="119495" y="89090"/>
                    <a:pt x="118991" y="89090"/>
                  </a:cubicBezTo>
                  <a:cubicBezTo>
                    <a:pt x="118487" y="88484"/>
                    <a:pt x="115966" y="89696"/>
                    <a:pt x="115966" y="89696"/>
                  </a:cubicBezTo>
                  <a:cubicBezTo>
                    <a:pt x="116974" y="87272"/>
                    <a:pt x="116974" y="87272"/>
                    <a:pt x="116974" y="87272"/>
                  </a:cubicBezTo>
                  <a:cubicBezTo>
                    <a:pt x="115462" y="86666"/>
                    <a:pt x="115462" y="86666"/>
                    <a:pt x="115462" y="86666"/>
                  </a:cubicBezTo>
                  <a:cubicBezTo>
                    <a:pt x="114957" y="86060"/>
                    <a:pt x="114957" y="86060"/>
                    <a:pt x="114957" y="86060"/>
                  </a:cubicBezTo>
                  <a:cubicBezTo>
                    <a:pt x="114957" y="86060"/>
                    <a:pt x="116470" y="86060"/>
                    <a:pt x="116470" y="86060"/>
                  </a:cubicBezTo>
                  <a:cubicBezTo>
                    <a:pt x="116974" y="86060"/>
                    <a:pt x="117983" y="85454"/>
                    <a:pt x="117983" y="85454"/>
                  </a:cubicBezTo>
                  <a:cubicBezTo>
                    <a:pt x="117983" y="84242"/>
                    <a:pt x="117983" y="84242"/>
                    <a:pt x="117983" y="84242"/>
                  </a:cubicBezTo>
                  <a:cubicBezTo>
                    <a:pt x="116470" y="83030"/>
                    <a:pt x="116470" y="83030"/>
                    <a:pt x="116470" y="83030"/>
                  </a:cubicBezTo>
                  <a:cubicBezTo>
                    <a:pt x="116974" y="82424"/>
                    <a:pt x="116974" y="82424"/>
                    <a:pt x="116974" y="82424"/>
                  </a:cubicBezTo>
                  <a:cubicBezTo>
                    <a:pt x="117478" y="81212"/>
                    <a:pt x="117478" y="81212"/>
                    <a:pt x="117478" y="81212"/>
                  </a:cubicBezTo>
                  <a:cubicBezTo>
                    <a:pt x="118487" y="80606"/>
                    <a:pt x="118487" y="80606"/>
                    <a:pt x="118487" y="80606"/>
                  </a:cubicBezTo>
                  <a:cubicBezTo>
                    <a:pt x="120000" y="76969"/>
                    <a:pt x="120000" y="76969"/>
                    <a:pt x="120000" y="76969"/>
                  </a:cubicBezTo>
                  <a:cubicBezTo>
                    <a:pt x="119495" y="75757"/>
                    <a:pt x="119495" y="75757"/>
                    <a:pt x="119495" y="75757"/>
                  </a:cubicBezTo>
                  <a:cubicBezTo>
                    <a:pt x="118487" y="75757"/>
                    <a:pt x="118487" y="75757"/>
                    <a:pt x="118487" y="75757"/>
                  </a:cubicBezTo>
                  <a:cubicBezTo>
                    <a:pt x="118487" y="73333"/>
                    <a:pt x="118487" y="73333"/>
                    <a:pt x="118487" y="73333"/>
                  </a:cubicBezTo>
                  <a:cubicBezTo>
                    <a:pt x="116470" y="72121"/>
                    <a:pt x="116470" y="72121"/>
                    <a:pt x="116470" y="72121"/>
                  </a:cubicBezTo>
                  <a:cubicBezTo>
                    <a:pt x="116470" y="72121"/>
                    <a:pt x="114957" y="70909"/>
                    <a:pt x="114957" y="70303"/>
                  </a:cubicBezTo>
                  <a:cubicBezTo>
                    <a:pt x="114957" y="70303"/>
                    <a:pt x="114957" y="69090"/>
                    <a:pt x="114453" y="69696"/>
                  </a:cubicBezTo>
                  <a:cubicBezTo>
                    <a:pt x="113949" y="69696"/>
                    <a:pt x="113445" y="69090"/>
                    <a:pt x="113445" y="69090"/>
                  </a:cubicBezTo>
                  <a:cubicBezTo>
                    <a:pt x="113445" y="69090"/>
                    <a:pt x="113445" y="67272"/>
                    <a:pt x="113445" y="67272"/>
                  </a:cubicBezTo>
                  <a:cubicBezTo>
                    <a:pt x="113445" y="67272"/>
                    <a:pt x="114453" y="66666"/>
                    <a:pt x="114453" y="66060"/>
                  </a:cubicBezTo>
                  <a:cubicBezTo>
                    <a:pt x="114957" y="65454"/>
                    <a:pt x="114453" y="64242"/>
                    <a:pt x="114453" y="64242"/>
                  </a:cubicBezTo>
                  <a:cubicBezTo>
                    <a:pt x="113949" y="64242"/>
                    <a:pt x="112941" y="64848"/>
                    <a:pt x="112941" y="64848"/>
                  </a:cubicBezTo>
                  <a:cubicBezTo>
                    <a:pt x="109915" y="65454"/>
                    <a:pt x="109915" y="65454"/>
                    <a:pt x="109915" y="65454"/>
                  </a:cubicBezTo>
                  <a:cubicBezTo>
                    <a:pt x="108907" y="64848"/>
                    <a:pt x="108907" y="64848"/>
                    <a:pt x="108907" y="64848"/>
                  </a:cubicBezTo>
                  <a:cubicBezTo>
                    <a:pt x="108907" y="64848"/>
                    <a:pt x="109411" y="64848"/>
                    <a:pt x="109411" y="64242"/>
                  </a:cubicBezTo>
                  <a:cubicBezTo>
                    <a:pt x="109915" y="63636"/>
                    <a:pt x="109915" y="63030"/>
                    <a:pt x="110420" y="62424"/>
                  </a:cubicBezTo>
                  <a:cubicBezTo>
                    <a:pt x="110924" y="61818"/>
                    <a:pt x="110924" y="62424"/>
                    <a:pt x="111428" y="61212"/>
                  </a:cubicBezTo>
                  <a:cubicBezTo>
                    <a:pt x="112436" y="60606"/>
                    <a:pt x="113445" y="59393"/>
                    <a:pt x="113445" y="59393"/>
                  </a:cubicBezTo>
                  <a:cubicBezTo>
                    <a:pt x="113445" y="57575"/>
                    <a:pt x="113445" y="57575"/>
                    <a:pt x="113445" y="57575"/>
                  </a:cubicBezTo>
                  <a:cubicBezTo>
                    <a:pt x="112941" y="55757"/>
                    <a:pt x="112941" y="55757"/>
                    <a:pt x="112941" y="55757"/>
                  </a:cubicBezTo>
                  <a:cubicBezTo>
                    <a:pt x="112941" y="55757"/>
                    <a:pt x="112436" y="55151"/>
                    <a:pt x="111932" y="55151"/>
                  </a:cubicBezTo>
                  <a:cubicBezTo>
                    <a:pt x="111428" y="55151"/>
                    <a:pt x="111932" y="56363"/>
                    <a:pt x="110924" y="55151"/>
                  </a:cubicBezTo>
                  <a:cubicBezTo>
                    <a:pt x="110420" y="54545"/>
                    <a:pt x="110420" y="54545"/>
                    <a:pt x="109915" y="53333"/>
                  </a:cubicBezTo>
                  <a:cubicBezTo>
                    <a:pt x="109411" y="52727"/>
                    <a:pt x="109411" y="51515"/>
                    <a:pt x="109411" y="51515"/>
                  </a:cubicBezTo>
                  <a:cubicBezTo>
                    <a:pt x="109411" y="51515"/>
                    <a:pt x="108403" y="50909"/>
                    <a:pt x="108907" y="50909"/>
                  </a:cubicBezTo>
                  <a:cubicBezTo>
                    <a:pt x="109915" y="50909"/>
                    <a:pt x="110420" y="51515"/>
                    <a:pt x="110924" y="50909"/>
                  </a:cubicBezTo>
                  <a:cubicBezTo>
                    <a:pt x="111428" y="50303"/>
                    <a:pt x="111428" y="50909"/>
                    <a:pt x="111428" y="50303"/>
                  </a:cubicBezTo>
                  <a:cubicBezTo>
                    <a:pt x="111428" y="49696"/>
                    <a:pt x="111932" y="47878"/>
                    <a:pt x="111932" y="47878"/>
                  </a:cubicBezTo>
                  <a:cubicBezTo>
                    <a:pt x="111932" y="47272"/>
                    <a:pt x="111932" y="47272"/>
                    <a:pt x="112941" y="46666"/>
                  </a:cubicBezTo>
                  <a:cubicBezTo>
                    <a:pt x="114453" y="46060"/>
                    <a:pt x="113949" y="46060"/>
                    <a:pt x="114957" y="46060"/>
                  </a:cubicBezTo>
                  <a:cubicBezTo>
                    <a:pt x="115462" y="45454"/>
                    <a:pt x="115966" y="44848"/>
                    <a:pt x="115462" y="44848"/>
                  </a:cubicBezTo>
                  <a:cubicBezTo>
                    <a:pt x="115462" y="44242"/>
                    <a:pt x="114453" y="44242"/>
                    <a:pt x="114453" y="44242"/>
                  </a:cubicBezTo>
                  <a:cubicBezTo>
                    <a:pt x="113949" y="43636"/>
                    <a:pt x="112941" y="44848"/>
                    <a:pt x="112941" y="44848"/>
                  </a:cubicBezTo>
                  <a:cubicBezTo>
                    <a:pt x="112941" y="44848"/>
                    <a:pt x="111932" y="45454"/>
                    <a:pt x="111428" y="46060"/>
                  </a:cubicBezTo>
                  <a:cubicBezTo>
                    <a:pt x="110924" y="46666"/>
                    <a:pt x="110420" y="46060"/>
                    <a:pt x="109915" y="46060"/>
                  </a:cubicBezTo>
                  <a:cubicBezTo>
                    <a:pt x="109411" y="46060"/>
                    <a:pt x="109411" y="46060"/>
                    <a:pt x="109411" y="46060"/>
                  </a:cubicBezTo>
                  <a:cubicBezTo>
                    <a:pt x="109411" y="46060"/>
                    <a:pt x="108403" y="45454"/>
                    <a:pt x="107899" y="46666"/>
                  </a:cubicBezTo>
                  <a:cubicBezTo>
                    <a:pt x="107899" y="47878"/>
                    <a:pt x="106890" y="49090"/>
                    <a:pt x="106890" y="49090"/>
                  </a:cubicBezTo>
                  <a:cubicBezTo>
                    <a:pt x="106890" y="49090"/>
                    <a:pt x="106386" y="49696"/>
                    <a:pt x="106386" y="48484"/>
                  </a:cubicBezTo>
                  <a:cubicBezTo>
                    <a:pt x="106386" y="47878"/>
                    <a:pt x="105882" y="46060"/>
                    <a:pt x="105882" y="46060"/>
                  </a:cubicBezTo>
                  <a:cubicBezTo>
                    <a:pt x="105882" y="46060"/>
                    <a:pt x="105882" y="46060"/>
                    <a:pt x="105882" y="46060"/>
                  </a:cubicBezTo>
                  <a:cubicBezTo>
                    <a:pt x="105378" y="46060"/>
                    <a:pt x="103865" y="45454"/>
                    <a:pt x="103865" y="45454"/>
                  </a:cubicBezTo>
                  <a:cubicBezTo>
                    <a:pt x="103865" y="45454"/>
                    <a:pt x="104369" y="45454"/>
                    <a:pt x="104369" y="44242"/>
                  </a:cubicBezTo>
                  <a:cubicBezTo>
                    <a:pt x="103865" y="43636"/>
                    <a:pt x="103865" y="43030"/>
                    <a:pt x="103865" y="43030"/>
                  </a:cubicBezTo>
                  <a:cubicBezTo>
                    <a:pt x="104369" y="43030"/>
                    <a:pt x="104873" y="43030"/>
                    <a:pt x="104873" y="43030"/>
                  </a:cubicBezTo>
                  <a:cubicBezTo>
                    <a:pt x="105378" y="43030"/>
                    <a:pt x="105378" y="43030"/>
                    <a:pt x="105378" y="41818"/>
                  </a:cubicBezTo>
                  <a:cubicBezTo>
                    <a:pt x="105378" y="40000"/>
                    <a:pt x="104873" y="39393"/>
                    <a:pt x="104873" y="39393"/>
                  </a:cubicBezTo>
                  <a:cubicBezTo>
                    <a:pt x="104873" y="39393"/>
                    <a:pt x="104369" y="38787"/>
                    <a:pt x="104369" y="38787"/>
                  </a:cubicBezTo>
                  <a:cubicBezTo>
                    <a:pt x="104369" y="36363"/>
                    <a:pt x="104369" y="36363"/>
                    <a:pt x="104369" y="36363"/>
                  </a:cubicBezTo>
                  <a:cubicBezTo>
                    <a:pt x="104369" y="36363"/>
                    <a:pt x="104369" y="35757"/>
                    <a:pt x="103865" y="35151"/>
                  </a:cubicBezTo>
                  <a:cubicBezTo>
                    <a:pt x="103361" y="34545"/>
                    <a:pt x="103361" y="33939"/>
                    <a:pt x="102857" y="34545"/>
                  </a:cubicBezTo>
                  <a:cubicBezTo>
                    <a:pt x="102857" y="34545"/>
                    <a:pt x="102352" y="35151"/>
                    <a:pt x="101848" y="35151"/>
                  </a:cubicBezTo>
                  <a:cubicBezTo>
                    <a:pt x="101344" y="34545"/>
                    <a:pt x="100336" y="33939"/>
                    <a:pt x="100336" y="33939"/>
                  </a:cubicBezTo>
                  <a:cubicBezTo>
                    <a:pt x="98319" y="32727"/>
                    <a:pt x="98319" y="32727"/>
                    <a:pt x="98319" y="32727"/>
                  </a:cubicBezTo>
                  <a:cubicBezTo>
                    <a:pt x="98319" y="32727"/>
                    <a:pt x="98319" y="32727"/>
                    <a:pt x="97815" y="33333"/>
                  </a:cubicBezTo>
                  <a:cubicBezTo>
                    <a:pt x="97815" y="33939"/>
                    <a:pt x="97310" y="33333"/>
                    <a:pt x="97310" y="34545"/>
                  </a:cubicBezTo>
                  <a:cubicBezTo>
                    <a:pt x="97815" y="35151"/>
                    <a:pt x="97815" y="35757"/>
                    <a:pt x="97815" y="36363"/>
                  </a:cubicBezTo>
                  <a:cubicBezTo>
                    <a:pt x="97310" y="36969"/>
                    <a:pt x="97310" y="37575"/>
                    <a:pt x="97310" y="38787"/>
                  </a:cubicBezTo>
                  <a:cubicBezTo>
                    <a:pt x="96806" y="39393"/>
                    <a:pt x="96302" y="39393"/>
                    <a:pt x="96302" y="40000"/>
                  </a:cubicBezTo>
                  <a:cubicBezTo>
                    <a:pt x="96302" y="40606"/>
                    <a:pt x="96806" y="40606"/>
                    <a:pt x="96806" y="41212"/>
                  </a:cubicBezTo>
                  <a:cubicBezTo>
                    <a:pt x="96806" y="41212"/>
                    <a:pt x="96302" y="42424"/>
                    <a:pt x="95798" y="42424"/>
                  </a:cubicBezTo>
                  <a:cubicBezTo>
                    <a:pt x="95798" y="43030"/>
                    <a:pt x="95294" y="43636"/>
                    <a:pt x="94789" y="43636"/>
                  </a:cubicBezTo>
                  <a:cubicBezTo>
                    <a:pt x="94789" y="43030"/>
                    <a:pt x="94285" y="43030"/>
                    <a:pt x="93781" y="43030"/>
                  </a:cubicBezTo>
                  <a:cubicBezTo>
                    <a:pt x="93277" y="43030"/>
                    <a:pt x="92773" y="43636"/>
                    <a:pt x="92773" y="43636"/>
                  </a:cubicBezTo>
                  <a:cubicBezTo>
                    <a:pt x="92773" y="43636"/>
                    <a:pt x="92268" y="44242"/>
                    <a:pt x="91764" y="43636"/>
                  </a:cubicBezTo>
                  <a:cubicBezTo>
                    <a:pt x="90756" y="43030"/>
                    <a:pt x="90252" y="42424"/>
                    <a:pt x="90252" y="42424"/>
                  </a:cubicBezTo>
                  <a:cubicBezTo>
                    <a:pt x="90252" y="41212"/>
                    <a:pt x="90252" y="41212"/>
                    <a:pt x="90252" y="41212"/>
                  </a:cubicBezTo>
                  <a:cubicBezTo>
                    <a:pt x="90252" y="41212"/>
                    <a:pt x="92268" y="41818"/>
                    <a:pt x="89747" y="40000"/>
                  </a:cubicBezTo>
                  <a:cubicBezTo>
                    <a:pt x="87731" y="38787"/>
                    <a:pt x="87731" y="38787"/>
                    <a:pt x="87731" y="38787"/>
                  </a:cubicBezTo>
                  <a:cubicBezTo>
                    <a:pt x="87731" y="38787"/>
                    <a:pt x="87731" y="39393"/>
                    <a:pt x="87226" y="40000"/>
                  </a:cubicBezTo>
                  <a:cubicBezTo>
                    <a:pt x="86722" y="40000"/>
                    <a:pt x="86722" y="40606"/>
                    <a:pt x="86722" y="40606"/>
                  </a:cubicBezTo>
                  <a:cubicBezTo>
                    <a:pt x="86218" y="41818"/>
                    <a:pt x="86218" y="41818"/>
                    <a:pt x="86218" y="41818"/>
                  </a:cubicBezTo>
                  <a:cubicBezTo>
                    <a:pt x="85714" y="41818"/>
                    <a:pt x="85714" y="41818"/>
                    <a:pt x="85714" y="41818"/>
                  </a:cubicBezTo>
                  <a:cubicBezTo>
                    <a:pt x="84705" y="43636"/>
                    <a:pt x="84705" y="43636"/>
                    <a:pt x="84705" y="43636"/>
                  </a:cubicBezTo>
                  <a:cubicBezTo>
                    <a:pt x="84705" y="43636"/>
                    <a:pt x="84201" y="44242"/>
                    <a:pt x="83697" y="44242"/>
                  </a:cubicBezTo>
                  <a:cubicBezTo>
                    <a:pt x="83697" y="44242"/>
                    <a:pt x="83193" y="44242"/>
                    <a:pt x="83193" y="44242"/>
                  </a:cubicBezTo>
                  <a:cubicBezTo>
                    <a:pt x="82689" y="44242"/>
                    <a:pt x="82184" y="44242"/>
                    <a:pt x="82184" y="43636"/>
                  </a:cubicBezTo>
                  <a:cubicBezTo>
                    <a:pt x="81680" y="43636"/>
                    <a:pt x="81680" y="43636"/>
                    <a:pt x="81680" y="43030"/>
                  </a:cubicBezTo>
                  <a:cubicBezTo>
                    <a:pt x="81680" y="42424"/>
                    <a:pt x="81680" y="41212"/>
                    <a:pt x="81176" y="40606"/>
                  </a:cubicBezTo>
                  <a:cubicBezTo>
                    <a:pt x="81176" y="40000"/>
                    <a:pt x="81176" y="40000"/>
                    <a:pt x="80672" y="38787"/>
                  </a:cubicBezTo>
                  <a:cubicBezTo>
                    <a:pt x="80168" y="38181"/>
                    <a:pt x="79663" y="36969"/>
                    <a:pt x="79663" y="36969"/>
                  </a:cubicBezTo>
                  <a:cubicBezTo>
                    <a:pt x="77142" y="35151"/>
                    <a:pt x="77142" y="35151"/>
                    <a:pt x="77142" y="35151"/>
                  </a:cubicBezTo>
                  <a:cubicBezTo>
                    <a:pt x="77142" y="35151"/>
                    <a:pt x="77647" y="34545"/>
                    <a:pt x="76638" y="34545"/>
                  </a:cubicBezTo>
                  <a:cubicBezTo>
                    <a:pt x="76134" y="35151"/>
                    <a:pt x="75126" y="36363"/>
                    <a:pt x="75126" y="36363"/>
                  </a:cubicBezTo>
                  <a:cubicBezTo>
                    <a:pt x="75126" y="36363"/>
                    <a:pt x="75126" y="37575"/>
                    <a:pt x="75126" y="38181"/>
                  </a:cubicBezTo>
                  <a:cubicBezTo>
                    <a:pt x="75126" y="38181"/>
                    <a:pt x="74621" y="38787"/>
                    <a:pt x="74621" y="39393"/>
                  </a:cubicBezTo>
                  <a:cubicBezTo>
                    <a:pt x="75126" y="40606"/>
                    <a:pt x="75630" y="41818"/>
                    <a:pt x="75126" y="42424"/>
                  </a:cubicBezTo>
                  <a:cubicBezTo>
                    <a:pt x="75126" y="42424"/>
                    <a:pt x="74621" y="43636"/>
                    <a:pt x="74621" y="44848"/>
                  </a:cubicBezTo>
                  <a:cubicBezTo>
                    <a:pt x="74621" y="46060"/>
                    <a:pt x="75126" y="47272"/>
                    <a:pt x="74621" y="47272"/>
                  </a:cubicBezTo>
                  <a:cubicBezTo>
                    <a:pt x="74117" y="47878"/>
                    <a:pt x="74117" y="48484"/>
                    <a:pt x="74117" y="48484"/>
                  </a:cubicBezTo>
                  <a:cubicBezTo>
                    <a:pt x="73613" y="48484"/>
                    <a:pt x="73613" y="48484"/>
                    <a:pt x="73613" y="48484"/>
                  </a:cubicBezTo>
                  <a:cubicBezTo>
                    <a:pt x="73613" y="48484"/>
                    <a:pt x="73613" y="47878"/>
                    <a:pt x="74117" y="46060"/>
                  </a:cubicBezTo>
                  <a:cubicBezTo>
                    <a:pt x="74117" y="44242"/>
                    <a:pt x="73613" y="43636"/>
                    <a:pt x="73613" y="43030"/>
                  </a:cubicBezTo>
                  <a:cubicBezTo>
                    <a:pt x="73109" y="43030"/>
                    <a:pt x="73109" y="43030"/>
                    <a:pt x="73109" y="42424"/>
                  </a:cubicBezTo>
                  <a:cubicBezTo>
                    <a:pt x="73109" y="41818"/>
                    <a:pt x="73109" y="41212"/>
                    <a:pt x="73109" y="41212"/>
                  </a:cubicBezTo>
                  <a:cubicBezTo>
                    <a:pt x="73109" y="41212"/>
                    <a:pt x="72100" y="40000"/>
                    <a:pt x="72100" y="39393"/>
                  </a:cubicBezTo>
                  <a:cubicBezTo>
                    <a:pt x="72100" y="38787"/>
                    <a:pt x="72605" y="38181"/>
                    <a:pt x="72605" y="36969"/>
                  </a:cubicBezTo>
                  <a:cubicBezTo>
                    <a:pt x="72605" y="35151"/>
                    <a:pt x="73109" y="35151"/>
                    <a:pt x="72605" y="34545"/>
                  </a:cubicBezTo>
                  <a:cubicBezTo>
                    <a:pt x="72100" y="33939"/>
                    <a:pt x="72605" y="33333"/>
                    <a:pt x="72100" y="32727"/>
                  </a:cubicBezTo>
                  <a:cubicBezTo>
                    <a:pt x="71596" y="32727"/>
                    <a:pt x="71596" y="33333"/>
                    <a:pt x="71092" y="32727"/>
                  </a:cubicBezTo>
                  <a:cubicBezTo>
                    <a:pt x="71092" y="32727"/>
                    <a:pt x="71092" y="33333"/>
                    <a:pt x="71092" y="33333"/>
                  </a:cubicBezTo>
                  <a:cubicBezTo>
                    <a:pt x="71596" y="32121"/>
                    <a:pt x="71596" y="32121"/>
                    <a:pt x="71596" y="32121"/>
                  </a:cubicBezTo>
                  <a:cubicBezTo>
                    <a:pt x="71596" y="32121"/>
                    <a:pt x="72100" y="29696"/>
                    <a:pt x="71596" y="30909"/>
                  </a:cubicBezTo>
                  <a:cubicBezTo>
                    <a:pt x="71092" y="31515"/>
                    <a:pt x="69579" y="32121"/>
                    <a:pt x="69579" y="31515"/>
                  </a:cubicBezTo>
                  <a:cubicBezTo>
                    <a:pt x="70084" y="30909"/>
                    <a:pt x="69579" y="30303"/>
                    <a:pt x="69579" y="30303"/>
                  </a:cubicBezTo>
                  <a:cubicBezTo>
                    <a:pt x="69579" y="30303"/>
                    <a:pt x="67563" y="30303"/>
                    <a:pt x="67563" y="30303"/>
                  </a:cubicBezTo>
                  <a:cubicBezTo>
                    <a:pt x="67563" y="30303"/>
                    <a:pt x="67563" y="29696"/>
                    <a:pt x="67563" y="30909"/>
                  </a:cubicBezTo>
                  <a:cubicBezTo>
                    <a:pt x="67563" y="31515"/>
                    <a:pt x="68067" y="32727"/>
                    <a:pt x="67058" y="32727"/>
                  </a:cubicBezTo>
                  <a:cubicBezTo>
                    <a:pt x="66050" y="33333"/>
                    <a:pt x="65546" y="33333"/>
                    <a:pt x="65546" y="33333"/>
                  </a:cubicBezTo>
                  <a:cubicBezTo>
                    <a:pt x="65546" y="32727"/>
                    <a:pt x="64537" y="32121"/>
                    <a:pt x="64537" y="32121"/>
                  </a:cubicBezTo>
                  <a:cubicBezTo>
                    <a:pt x="64537" y="32121"/>
                    <a:pt x="64033" y="32121"/>
                    <a:pt x="63529" y="32121"/>
                  </a:cubicBezTo>
                  <a:cubicBezTo>
                    <a:pt x="63529" y="32727"/>
                    <a:pt x="62521" y="32727"/>
                    <a:pt x="62521" y="32727"/>
                  </a:cubicBezTo>
                  <a:cubicBezTo>
                    <a:pt x="62521" y="33939"/>
                    <a:pt x="62521" y="33939"/>
                    <a:pt x="62521" y="33939"/>
                  </a:cubicBezTo>
                  <a:cubicBezTo>
                    <a:pt x="62521" y="34545"/>
                    <a:pt x="62521" y="34545"/>
                    <a:pt x="62521" y="34545"/>
                  </a:cubicBezTo>
                  <a:cubicBezTo>
                    <a:pt x="62521" y="34545"/>
                    <a:pt x="62016" y="34545"/>
                    <a:pt x="62016" y="34545"/>
                  </a:cubicBezTo>
                  <a:cubicBezTo>
                    <a:pt x="61512" y="35151"/>
                    <a:pt x="61008" y="35151"/>
                    <a:pt x="61512" y="35757"/>
                  </a:cubicBezTo>
                  <a:cubicBezTo>
                    <a:pt x="61512" y="35757"/>
                    <a:pt x="61512" y="35757"/>
                    <a:pt x="61512" y="36969"/>
                  </a:cubicBezTo>
                  <a:cubicBezTo>
                    <a:pt x="61512" y="37575"/>
                    <a:pt x="61512" y="37575"/>
                    <a:pt x="61512" y="38181"/>
                  </a:cubicBezTo>
                  <a:cubicBezTo>
                    <a:pt x="61008" y="38787"/>
                    <a:pt x="61008" y="39393"/>
                    <a:pt x="60504" y="40000"/>
                  </a:cubicBezTo>
                  <a:cubicBezTo>
                    <a:pt x="60504" y="40000"/>
                    <a:pt x="60000" y="40606"/>
                    <a:pt x="60000" y="40606"/>
                  </a:cubicBezTo>
                  <a:cubicBezTo>
                    <a:pt x="59495" y="41212"/>
                    <a:pt x="59495" y="41212"/>
                    <a:pt x="58991" y="41212"/>
                  </a:cubicBezTo>
                  <a:cubicBezTo>
                    <a:pt x="58487" y="41212"/>
                    <a:pt x="58487" y="41818"/>
                    <a:pt x="58487" y="41212"/>
                  </a:cubicBezTo>
                  <a:cubicBezTo>
                    <a:pt x="58487" y="40000"/>
                    <a:pt x="58487" y="39393"/>
                    <a:pt x="58487" y="38181"/>
                  </a:cubicBezTo>
                  <a:cubicBezTo>
                    <a:pt x="58487" y="37575"/>
                    <a:pt x="58991" y="37575"/>
                    <a:pt x="57983" y="36363"/>
                  </a:cubicBezTo>
                  <a:cubicBezTo>
                    <a:pt x="57478" y="35151"/>
                    <a:pt x="56974" y="35151"/>
                    <a:pt x="56974" y="34545"/>
                  </a:cubicBezTo>
                  <a:cubicBezTo>
                    <a:pt x="56974" y="34545"/>
                    <a:pt x="56974" y="33939"/>
                    <a:pt x="56974" y="33333"/>
                  </a:cubicBezTo>
                  <a:cubicBezTo>
                    <a:pt x="56974" y="32727"/>
                    <a:pt x="56974" y="33939"/>
                    <a:pt x="56974" y="31515"/>
                  </a:cubicBezTo>
                  <a:cubicBezTo>
                    <a:pt x="57478" y="29696"/>
                    <a:pt x="56974" y="29090"/>
                    <a:pt x="56974" y="29090"/>
                  </a:cubicBezTo>
                  <a:cubicBezTo>
                    <a:pt x="56974" y="29090"/>
                    <a:pt x="57478" y="26060"/>
                    <a:pt x="57478" y="26060"/>
                  </a:cubicBezTo>
                  <a:cubicBezTo>
                    <a:pt x="56974" y="26060"/>
                    <a:pt x="55462" y="26060"/>
                    <a:pt x="54957" y="26060"/>
                  </a:cubicBezTo>
                  <a:cubicBezTo>
                    <a:pt x="54453" y="26060"/>
                    <a:pt x="54453" y="26060"/>
                    <a:pt x="53949" y="26060"/>
                  </a:cubicBezTo>
                  <a:cubicBezTo>
                    <a:pt x="53949" y="26666"/>
                    <a:pt x="53445" y="26060"/>
                    <a:pt x="53445" y="27272"/>
                  </a:cubicBezTo>
                  <a:cubicBezTo>
                    <a:pt x="52941" y="28484"/>
                    <a:pt x="52436" y="28484"/>
                    <a:pt x="52436" y="29696"/>
                  </a:cubicBezTo>
                  <a:cubicBezTo>
                    <a:pt x="52436" y="30303"/>
                    <a:pt x="52436" y="31515"/>
                    <a:pt x="52436" y="31515"/>
                  </a:cubicBezTo>
                  <a:cubicBezTo>
                    <a:pt x="52436" y="32121"/>
                    <a:pt x="51932" y="32727"/>
                    <a:pt x="51932" y="32727"/>
                  </a:cubicBezTo>
                  <a:cubicBezTo>
                    <a:pt x="51932" y="32727"/>
                    <a:pt x="51932" y="33333"/>
                    <a:pt x="51932" y="34545"/>
                  </a:cubicBezTo>
                  <a:cubicBezTo>
                    <a:pt x="51428" y="35757"/>
                    <a:pt x="51428" y="36363"/>
                    <a:pt x="51428" y="36969"/>
                  </a:cubicBezTo>
                  <a:cubicBezTo>
                    <a:pt x="51428" y="36969"/>
                    <a:pt x="51428" y="36969"/>
                    <a:pt x="50924" y="37575"/>
                  </a:cubicBezTo>
                  <a:cubicBezTo>
                    <a:pt x="50420" y="38181"/>
                    <a:pt x="49411" y="40000"/>
                    <a:pt x="48907" y="40000"/>
                  </a:cubicBezTo>
                  <a:cubicBezTo>
                    <a:pt x="48907" y="40000"/>
                    <a:pt x="48907" y="40000"/>
                    <a:pt x="48403" y="40606"/>
                  </a:cubicBezTo>
                  <a:cubicBezTo>
                    <a:pt x="48403" y="40606"/>
                    <a:pt x="47394" y="42424"/>
                    <a:pt x="46890" y="42424"/>
                  </a:cubicBezTo>
                  <a:cubicBezTo>
                    <a:pt x="46386" y="43030"/>
                    <a:pt x="46890" y="43030"/>
                    <a:pt x="46386" y="43030"/>
                  </a:cubicBezTo>
                  <a:cubicBezTo>
                    <a:pt x="46386" y="42424"/>
                    <a:pt x="45882" y="42424"/>
                    <a:pt x="45882" y="41818"/>
                  </a:cubicBezTo>
                  <a:cubicBezTo>
                    <a:pt x="45882" y="40606"/>
                    <a:pt x="45882" y="40606"/>
                    <a:pt x="46386" y="39393"/>
                  </a:cubicBezTo>
                  <a:cubicBezTo>
                    <a:pt x="46386" y="38787"/>
                    <a:pt x="46890" y="37575"/>
                    <a:pt x="46890" y="37575"/>
                  </a:cubicBezTo>
                  <a:cubicBezTo>
                    <a:pt x="46890" y="37575"/>
                    <a:pt x="47394" y="36969"/>
                    <a:pt x="46890" y="36969"/>
                  </a:cubicBezTo>
                  <a:cubicBezTo>
                    <a:pt x="46386" y="36969"/>
                    <a:pt x="45882" y="36969"/>
                    <a:pt x="45378" y="36969"/>
                  </a:cubicBezTo>
                  <a:cubicBezTo>
                    <a:pt x="44369" y="36969"/>
                    <a:pt x="43361" y="37575"/>
                    <a:pt x="42857" y="38181"/>
                  </a:cubicBezTo>
                  <a:cubicBezTo>
                    <a:pt x="42352" y="38181"/>
                    <a:pt x="42352" y="38787"/>
                    <a:pt x="41344" y="40000"/>
                  </a:cubicBezTo>
                  <a:cubicBezTo>
                    <a:pt x="40336" y="40606"/>
                    <a:pt x="40336" y="40606"/>
                    <a:pt x="40336" y="40606"/>
                  </a:cubicBezTo>
                  <a:cubicBezTo>
                    <a:pt x="39831" y="41818"/>
                    <a:pt x="39831" y="41818"/>
                    <a:pt x="39831" y="41818"/>
                  </a:cubicBezTo>
                  <a:cubicBezTo>
                    <a:pt x="39831" y="42424"/>
                    <a:pt x="39831" y="42424"/>
                    <a:pt x="39831" y="42424"/>
                  </a:cubicBezTo>
                  <a:cubicBezTo>
                    <a:pt x="39831" y="42424"/>
                    <a:pt x="39831" y="41212"/>
                    <a:pt x="39831" y="41212"/>
                  </a:cubicBezTo>
                  <a:cubicBezTo>
                    <a:pt x="39831" y="41212"/>
                    <a:pt x="39327" y="41212"/>
                    <a:pt x="39327" y="41818"/>
                  </a:cubicBezTo>
                  <a:cubicBezTo>
                    <a:pt x="39327" y="41818"/>
                    <a:pt x="38823" y="42424"/>
                    <a:pt x="38823" y="42424"/>
                  </a:cubicBezTo>
                  <a:cubicBezTo>
                    <a:pt x="38319" y="43030"/>
                    <a:pt x="38319" y="43636"/>
                    <a:pt x="38319" y="44242"/>
                  </a:cubicBezTo>
                  <a:cubicBezTo>
                    <a:pt x="37815" y="44848"/>
                    <a:pt x="37815" y="46060"/>
                    <a:pt x="37310" y="46060"/>
                  </a:cubicBezTo>
                  <a:cubicBezTo>
                    <a:pt x="37310" y="46060"/>
                    <a:pt x="37310" y="46666"/>
                    <a:pt x="37310" y="46666"/>
                  </a:cubicBezTo>
                  <a:cubicBezTo>
                    <a:pt x="36806" y="46666"/>
                    <a:pt x="36302" y="47272"/>
                    <a:pt x="36302" y="47272"/>
                  </a:cubicBezTo>
                  <a:cubicBezTo>
                    <a:pt x="36302" y="47878"/>
                    <a:pt x="35798" y="46666"/>
                    <a:pt x="35798" y="45454"/>
                  </a:cubicBezTo>
                  <a:cubicBezTo>
                    <a:pt x="36302" y="44848"/>
                    <a:pt x="36302" y="44848"/>
                    <a:pt x="36302" y="44242"/>
                  </a:cubicBezTo>
                  <a:cubicBezTo>
                    <a:pt x="36806" y="44242"/>
                    <a:pt x="36806" y="43030"/>
                    <a:pt x="37310" y="43030"/>
                  </a:cubicBezTo>
                  <a:cubicBezTo>
                    <a:pt x="37310" y="43030"/>
                    <a:pt x="37310" y="43636"/>
                    <a:pt x="37310" y="42424"/>
                  </a:cubicBezTo>
                  <a:cubicBezTo>
                    <a:pt x="37815" y="41212"/>
                    <a:pt x="37815" y="40606"/>
                    <a:pt x="37815" y="40606"/>
                  </a:cubicBezTo>
                  <a:cubicBezTo>
                    <a:pt x="37815" y="40606"/>
                    <a:pt x="37815" y="40606"/>
                    <a:pt x="37815" y="40000"/>
                  </a:cubicBezTo>
                  <a:cubicBezTo>
                    <a:pt x="37310" y="39393"/>
                    <a:pt x="37310" y="40000"/>
                    <a:pt x="37310" y="39393"/>
                  </a:cubicBezTo>
                  <a:cubicBezTo>
                    <a:pt x="37815" y="38787"/>
                    <a:pt x="37815" y="38181"/>
                    <a:pt x="37815" y="37575"/>
                  </a:cubicBezTo>
                  <a:cubicBezTo>
                    <a:pt x="38319" y="37575"/>
                    <a:pt x="38319" y="36969"/>
                    <a:pt x="38319" y="36969"/>
                  </a:cubicBezTo>
                  <a:cubicBezTo>
                    <a:pt x="38319" y="36969"/>
                    <a:pt x="38319" y="36969"/>
                    <a:pt x="38319" y="36363"/>
                  </a:cubicBezTo>
                  <a:cubicBezTo>
                    <a:pt x="38319" y="36363"/>
                    <a:pt x="37815" y="35757"/>
                    <a:pt x="37815" y="35757"/>
                  </a:cubicBezTo>
                  <a:cubicBezTo>
                    <a:pt x="37815" y="35757"/>
                    <a:pt x="37815" y="35151"/>
                    <a:pt x="37815" y="35151"/>
                  </a:cubicBezTo>
                  <a:cubicBezTo>
                    <a:pt x="37815" y="35151"/>
                    <a:pt x="38319" y="34545"/>
                    <a:pt x="38319" y="33939"/>
                  </a:cubicBezTo>
                  <a:cubicBezTo>
                    <a:pt x="37815" y="33939"/>
                    <a:pt x="37815" y="33333"/>
                    <a:pt x="37310" y="32727"/>
                  </a:cubicBezTo>
                  <a:cubicBezTo>
                    <a:pt x="36806" y="32727"/>
                    <a:pt x="36806" y="32727"/>
                    <a:pt x="36806" y="32121"/>
                  </a:cubicBezTo>
                  <a:cubicBezTo>
                    <a:pt x="36806" y="32121"/>
                    <a:pt x="35798" y="31515"/>
                    <a:pt x="35798" y="31515"/>
                  </a:cubicBezTo>
                  <a:cubicBezTo>
                    <a:pt x="35798" y="31515"/>
                    <a:pt x="36302" y="30303"/>
                    <a:pt x="36302" y="30303"/>
                  </a:cubicBezTo>
                  <a:cubicBezTo>
                    <a:pt x="36302" y="30303"/>
                    <a:pt x="36302" y="29696"/>
                    <a:pt x="36806" y="29696"/>
                  </a:cubicBezTo>
                  <a:cubicBezTo>
                    <a:pt x="36806" y="30303"/>
                    <a:pt x="36806" y="30909"/>
                    <a:pt x="36806" y="30909"/>
                  </a:cubicBezTo>
                  <a:cubicBezTo>
                    <a:pt x="36806" y="31515"/>
                    <a:pt x="38319" y="32121"/>
                    <a:pt x="38319" y="32121"/>
                  </a:cubicBezTo>
                  <a:cubicBezTo>
                    <a:pt x="38319" y="32121"/>
                    <a:pt x="39327" y="31515"/>
                    <a:pt x="39327" y="31515"/>
                  </a:cubicBezTo>
                  <a:cubicBezTo>
                    <a:pt x="39831" y="31515"/>
                    <a:pt x="39831" y="30303"/>
                    <a:pt x="39831" y="30303"/>
                  </a:cubicBezTo>
                  <a:cubicBezTo>
                    <a:pt x="39831" y="30303"/>
                    <a:pt x="39327" y="30303"/>
                    <a:pt x="39831" y="29696"/>
                  </a:cubicBezTo>
                  <a:cubicBezTo>
                    <a:pt x="40336" y="29696"/>
                    <a:pt x="41344" y="29090"/>
                    <a:pt x="41344" y="29090"/>
                  </a:cubicBezTo>
                  <a:cubicBezTo>
                    <a:pt x="41344" y="28484"/>
                    <a:pt x="41848" y="28484"/>
                    <a:pt x="41848" y="28484"/>
                  </a:cubicBezTo>
                  <a:cubicBezTo>
                    <a:pt x="41848" y="28484"/>
                    <a:pt x="42352" y="27878"/>
                    <a:pt x="42352" y="27878"/>
                  </a:cubicBezTo>
                  <a:cubicBezTo>
                    <a:pt x="42352" y="27272"/>
                    <a:pt x="42857" y="27272"/>
                    <a:pt x="42352" y="26666"/>
                  </a:cubicBezTo>
                  <a:cubicBezTo>
                    <a:pt x="42352" y="26666"/>
                    <a:pt x="42352" y="26060"/>
                    <a:pt x="42352" y="25454"/>
                  </a:cubicBezTo>
                  <a:cubicBezTo>
                    <a:pt x="42352" y="25454"/>
                    <a:pt x="43361" y="26060"/>
                    <a:pt x="42352" y="24848"/>
                  </a:cubicBezTo>
                  <a:cubicBezTo>
                    <a:pt x="41344" y="24242"/>
                    <a:pt x="40336" y="23636"/>
                    <a:pt x="40840" y="23636"/>
                  </a:cubicBezTo>
                  <a:cubicBezTo>
                    <a:pt x="41344" y="23636"/>
                    <a:pt x="41848" y="23636"/>
                    <a:pt x="41848" y="23636"/>
                  </a:cubicBezTo>
                  <a:cubicBezTo>
                    <a:pt x="42352" y="23636"/>
                    <a:pt x="42857" y="24242"/>
                    <a:pt x="42857" y="23636"/>
                  </a:cubicBezTo>
                  <a:cubicBezTo>
                    <a:pt x="43361" y="23636"/>
                    <a:pt x="43361" y="23636"/>
                    <a:pt x="43361" y="23030"/>
                  </a:cubicBezTo>
                  <a:cubicBezTo>
                    <a:pt x="42857" y="22424"/>
                    <a:pt x="42857" y="22424"/>
                    <a:pt x="42857" y="22424"/>
                  </a:cubicBezTo>
                  <a:cubicBezTo>
                    <a:pt x="42352" y="21818"/>
                    <a:pt x="42352" y="21818"/>
                    <a:pt x="41848" y="21818"/>
                  </a:cubicBezTo>
                  <a:cubicBezTo>
                    <a:pt x="41848" y="21818"/>
                    <a:pt x="41344" y="22424"/>
                    <a:pt x="41848" y="21212"/>
                  </a:cubicBezTo>
                  <a:cubicBezTo>
                    <a:pt x="41848" y="20000"/>
                    <a:pt x="41848" y="20000"/>
                    <a:pt x="41848" y="19393"/>
                  </a:cubicBezTo>
                  <a:cubicBezTo>
                    <a:pt x="41848" y="19393"/>
                    <a:pt x="42857" y="19393"/>
                    <a:pt x="41848" y="19393"/>
                  </a:cubicBezTo>
                  <a:cubicBezTo>
                    <a:pt x="41344" y="18787"/>
                    <a:pt x="41344" y="18787"/>
                    <a:pt x="41344" y="18787"/>
                  </a:cubicBezTo>
                  <a:cubicBezTo>
                    <a:pt x="40840" y="18787"/>
                    <a:pt x="41344" y="18787"/>
                    <a:pt x="40336" y="18787"/>
                  </a:cubicBezTo>
                  <a:cubicBezTo>
                    <a:pt x="39831" y="18787"/>
                    <a:pt x="40336" y="17575"/>
                    <a:pt x="40336" y="17575"/>
                  </a:cubicBezTo>
                  <a:cubicBezTo>
                    <a:pt x="40336" y="16969"/>
                    <a:pt x="40840" y="14545"/>
                    <a:pt x="40840" y="14545"/>
                  </a:cubicBezTo>
                  <a:cubicBezTo>
                    <a:pt x="40336" y="13939"/>
                    <a:pt x="40336" y="13939"/>
                    <a:pt x="40336" y="13939"/>
                  </a:cubicBezTo>
                  <a:cubicBezTo>
                    <a:pt x="40336" y="13939"/>
                    <a:pt x="39831" y="12727"/>
                    <a:pt x="39831" y="12727"/>
                  </a:cubicBezTo>
                  <a:cubicBezTo>
                    <a:pt x="39831" y="12121"/>
                    <a:pt x="39831" y="11515"/>
                    <a:pt x="39327" y="11515"/>
                  </a:cubicBezTo>
                  <a:cubicBezTo>
                    <a:pt x="39327" y="11515"/>
                    <a:pt x="38823" y="10909"/>
                    <a:pt x="38823" y="10909"/>
                  </a:cubicBezTo>
                  <a:cubicBezTo>
                    <a:pt x="38823" y="10909"/>
                    <a:pt x="38319" y="10909"/>
                    <a:pt x="38319" y="10303"/>
                  </a:cubicBezTo>
                  <a:cubicBezTo>
                    <a:pt x="38319" y="9696"/>
                    <a:pt x="38319" y="9090"/>
                    <a:pt x="38319" y="9090"/>
                  </a:cubicBezTo>
                  <a:cubicBezTo>
                    <a:pt x="38319" y="8484"/>
                    <a:pt x="38319" y="7878"/>
                    <a:pt x="38319" y="7878"/>
                  </a:cubicBezTo>
                  <a:cubicBezTo>
                    <a:pt x="37310" y="4848"/>
                    <a:pt x="37310" y="4848"/>
                    <a:pt x="37310" y="4848"/>
                  </a:cubicBezTo>
                  <a:cubicBezTo>
                    <a:pt x="37310" y="4242"/>
                    <a:pt x="37310" y="4242"/>
                    <a:pt x="37310" y="4242"/>
                  </a:cubicBezTo>
                  <a:cubicBezTo>
                    <a:pt x="36806" y="3030"/>
                    <a:pt x="36806" y="3030"/>
                    <a:pt x="36806" y="3030"/>
                  </a:cubicBezTo>
                  <a:cubicBezTo>
                    <a:pt x="36302" y="3030"/>
                    <a:pt x="36302" y="3030"/>
                    <a:pt x="36302" y="3030"/>
                  </a:cubicBezTo>
                  <a:cubicBezTo>
                    <a:pt x="36302" y="1818"/>
                    <a:pt x="36302" y="1818"/>
                    <a:pt x="36302" y="1818"/>
                  </a:cubicBezTo>
                  <a:cubicBezTo>
                    <a:pt x="36302" y="1818"/>
                    <a:pt x="35798" y="1818"/>
                    <a:pt x="35798" y="2424"/>
                  </a:cubicBezTo>
                  <a:cubicBezTo>
                    <a:pt x="35798" y="2424"/>
                    <a:pt x="35798" y="3030"/>
                    <a:pt x="35294" y="3030"/>
                  </a:cubicBezTo>
                  <a:cubicBezTo>
                    <a:pt x="34789" y="3030"/>
                    <a:pt x="34285" y="2424"/>
                    <a:pt x="34285" y="2424"/>
                  </a:cubicBezTo>
                  <a:cubicBezTo>
                    <a:pt x="34285" y="2424"/>
                    <a:pt x="34285" y="1818"/>
                    <a:pt x="34285" y="1212"/>
                  </a:cubicBezTo>
                  <a:cubicBezTo>
                    <a:pt x="33781" y="1212"/>
                    <a:pt x="32268" y="0"/>
                    <a:pt x="32268" y="0"/>
                  </a:cubicBezTo>
                  <a:cubicBezTo>
                    <a:pt x="32268" y="0"/>
                    <a:pt x="32268" y="0"/>
                    <a:pt x="32268" y="606"/>
                  </a:cubicBezTo>
                  <a:cubicBezTo>
                    <a:pt x="32268" y="606"/>
                    <a:pt x="31764" y="1212"/>
                    <a:pt x="31764" y="606"/>
                  </a:cubicBezTo>
                  <a:cubicBezTo>
                    <a:pt x="31260" y="606"/>
                    <a:pt x="30252" y="0"/>
                    <a:pt x="30252" y="0"/>
                  </a:cubicBezTo>
                  <a:cubicBezTo>
                    <a:pt x="30252" y="0"/>
                    <a:pt x="30252" y="606"/>
                    <a:pt x="30252" y="606"/>
                  </a:cubicBezTo>
                  <a:cubicBezTo>
                    <a:pt x="30252" y="1212"/>
                    <a:pt x="30756" y="1818"/>
                    <a:pt x="30756" y="1818"/>
                  </a:cubicBezTo>
                  <a:cubicBezTo>
                    <a:pt x="30252" y="1818"/>
                    <a:pt x="29747" y="1818"/>
                    <a:pt x="29747" y="1818"/>
                  </a:cubicBezTo>
                  <a:cubicBezTo>
                    <a:pt x="29747" y="1818"/>
                    <a:pt x="29747" y="1818"/>
                    <a:pt x="29243" y="1818"/>
                  </a:cubicBezTo>
                  <a:cubicBezTo>
                    <a:pt x="29243" y="1212"/>
                    <a:pt x="28739" y="1212"/>
                    <a:pt x="28739" y="1212"/>
                  </a:cubicBezTo>
                  <a:cubicBezTo>
                    <a:pt x="28739" y="1818"/>
                    <a:pt x="28235" y="1818"/>
                    <a:pt x="28235" y="3030"/>
                  </a:cubicBezTo>
                  <a:cubicBezTo>
                    <a:pt x="28739" y="3636"/>
                    <a:pt x="28235" y="3636"/>
                    <a:pt x="28739" y="4242"/>
                  </a:cubicBezTo>
                  <a:cubicBezTo>
                    <a:pt x="29243" y="4242"/>
                    <a:pt x="29243" y="4242"/>
                    <a:pt x="29747" y="4848"/>
                  </a:cubicBezTo>
                  <a:cubicBezTo>
                    <a:pt x="30252" y="4848"/>
                    <a:pt x="30252" y="4848"/>
                    <a:pt x="30756" y="4848"/>
                  </a:cubicBezTo>
                  <a:cubicBezTo>
                    <a:pt x="30756" y="4848"/>
                    <a:pt x="31260" y="4848"/>
                    <a:pt x="31764" y="4848"/>
                  </a:cubicBezTo>
                  <a:cubicBezTo>
                    <a:pt x="31764" y="4848"/>
                    <a:pt x="32268" y="4242"/>
                    <a:pt x="32268" y="4242"/>
                  </a:cubicBezTo>
                  <a:cubicBezTo>
                    <a:pt x="32268" y="4242"/>
                    <a:pt x="32268" y="4848"/>
                    <a:pt x="32268" y="4848"/>
                  </a:cubicBezTo>
                  <a:cubicBezTo>
                    <a:pt x="32268" y="4848"/>
                    <a:pt x="31764" y="4848"/>
                    <a:pt x="32268" y="5454"/>
                  </a:cubicBezTo>
                  <a:cubicBezTo>
                    <a:pt x="32268" y="5454"/>
                    <a:pt x="32268" y="5454"/>
                    <a:pt x="32268" y="5454"/>
                  </a:cubicBezTo>
                  <a:cubicBezTo>
                    <a:pt x="32773" y="6060"/>
                    <a:pt x="32773" y="6060"/>
                    <a:pt x="32773" y="6060"/>
                  </a:cubicBezTo>
                  <a:cubicBezTo>
                    <a:pt x="32773" y="6060"/>
                    <a:pt x="32773" y="6060"/>
                    <a:pt x="32773" y="6060"/>
                  </a:cubicBezTo>
                  <a:cubicBezTo>
                    <a:pt x="32773" y="6060"/>
                    <a:pt x="32773" y="6666"/>
                    <a:pt x="32773" y="6666"/>
                  </a:cubicBezTo>
                  <a:cubicBezTo>
                    <a:pt x="32773" y="7272"/>
                    <a:pt x="32773" y="7272"/>
                    <a:pt x="33277" y="7272"/>
                  </a:cubicBezTo>
                  <a:cubicBezTo>
                    <a:pt x="33781" y="7878"/>
                    <a:pt x="33781" y="7272"/>
                    <a:pt x="33781" y="7272"/>
                  </a:cubicBezTo>
                  <a:cubicBezTo>
                    <a:pt x="33781" y="7272"/>
                    <a:pt x="34789" y="8484"/>
                    <a:pt x="34285" y="8484"/>
                  </a:cubicBezTo>
                  <a:cubicBezTo>
                    <a:pt x="34285" y="8484"/>
                    <a:pt x="33781" y="7878"/>
                    <a:pt x="34285" y="8484"/>
                  </a:cubicBezTo>
                  <a:cubicBezTo>
                    <a:pt x="34789" y="9090"/>
                    <a:pt x="35294" y="9090"/>
                    <a:pt x="35294" y="9090"/>
                  </a:cubicBezTo>
                  <a:cubicBezTo>
                    <a:pt x="35294" y="9090"/>
                    <a:pt x="34789" y="9696"/>
                    <a:pt x="33781" y="9090"/>
                  </a:cubicBezTo>
                  <a:cubicBezTo>
                    <a:pt x="33277" y="9090"/>
                    <a:pt x="33277" y="9090"/>
                    <a:pt x="33277" y="9090"/>
                  </a:cubicBezTo>
                  <a:cubicBezTo>
                    <a:pt x="33277" y="9090"/>
                    <a:pt x="32773" y="8484"/>
                    <a:pt x="32773" y="8484"/>
                  </a:cubicBezTo>
                  <a:cubicBezTo>
                    <a:pt x="32268" y="7878"/>
                    <a:pt x="32268" y="7272"/>
                    <a:pt x="32268" y="7272"/>
                  </a:cubicBezTo>
                  <a:cubicBezTo>
                    <a:pt x="32268" y="7272"/>
                    <a:pt x="31764" y="6666"/>
                    <a:pt x="31260" y="6666"/>
                  </a:cubicBezTo>
                  <a:cubicBezTo>
                    <a:pt x="30756" y="6060"/>
                    <a:pt x="30252" y="6666"/>
                    <a:pt x="29747" y="6666"/>
                  </a:cubicBezTo>
                  <a:cubicBezTo>
                    <a:pt x="29747" y="6666"/>
                    <a:pt x="29243" y="7272"/>
                    <a:pt x="28739" y="7272"/>
                  </a:cubicBezTo>
                  <a:cubicBezTo>
                    <a:pt x="28739" y="7272"/>
                    <a:pt x="28739" y="7878"/>
                    <a:pt x="28739" y="8484"/>
                  </a:cubicBezTo>
                  <a:cubicBezTo>
                    <a:pt x="29243" y="9090"/>
                    <a:pt x="30252" y="11515"/>
                    <a:pt x="30252" y="11515"/>
                  </a:cubicBezTo>
                  <a:cubicBezTo>
                    <a:pt x="30252" y="11515"/>
                    <a:pt x="31260" y="12727"/>
                    <a:pt x="31260" y="12727"/>
                  </a:cubicBezTo>
                  <a:cubicBezTo>
                    <a:pt x="31260" y="12727"/>
                    <a:pt x="31764" y="13939"/>
                    <a:pt x="31764" y="13939"/>
                  </a:cubicBezTo>
                  <a:cubicBezTo>
                    <a:pt x="31764" y="13939"/>
                    <a:pt x="31764" y="13939"/>
                    <a:pt x="32268" y="14545"/>
                  </a:cubicBezTo>
                  <a:cubicBezTo>
                    <a:pt x="32773" y="14545"/>
                    <a:pt x="32268" y="14545"/>
                    <a:pt x="32268" y="14545"/>
                  </a:cubicBezTo>
                  <a:cubicBezTo>
                    <a:pt x="32268" y="15151"/>
                    <a:pt x="31764" y="15757"/>
                    <a:pt x="31764" y="16363"/>
                  </a:cubicBezTo>
                  <a:cubicBezTo>
                    <a:pt x="31764" y="16363"/>
                    <a:pt x="31764" y="15757"/>
                    <a:pt x="31764" y="16363"/>
                  </a:cubicBezTo>
                  <a:cubicBezTo>
                    <a:pt x="31764" y="17575"/>
                    <a:pt x="31764" y="18787"/>
                    <a:pt x="31764" y="18787"/>
                  </a:cubicBezTo>
                  <a:cubicBezTo>
                    <a:pt x="31260" y="20000"/>
                    <a:pt x="31260" y="20000"/>
                    <a:pt x="31260" y="20000"/>
                  </a:cubicBezTo>
                  <a:cubicBezTo>
                    <a:pt x="30756" y="20606"/>
                    <a:pt x="30756" y="20606"/>
                    <a:pt x="30756" y="20606"/>
                  </a:cubicBezTo>
                  <a:cubicBezTo>
                    <a:pt x="30756" y="20606"/>
                    <a:pt x="30756" y="20606"/>
                    <a:pt x="30756" y="20606"/>
                  </a:cubicBezTo>
                  <a:cubicBezTo>
                    <a:pt x="30252" y="20606"/>
                    <a:pt x="30756" y="20000"/>
                    <a:pt x="30756" y="20000"/>
                  </a:cubicBezTo>
                  <a:cubicBezTo>
                    <a:pt x="30756" y="19393"/>
                    <a:pt x="30756" y="19393"/>
                    <a:pt x="30756" y="19393"/>
                  </a:cubicBezTo>
                  <a:cubicBezTo>
                    <a:pt x="31260" y="18181"/>
                    <a:pt x="31260" y="18181"/>
                    <a:pt x="31260" y="18181"/>
                  </a:cubicBezTo>
                  <a:cubicBezTo>
                    <a:pt x="31260" y="18181"/>
                    <a:pt x="30756" y="17575"/>
                    <a:pt x="30252" y="17575"/>
                  </a:cubicBezTo>
                  <a:cubicBezTo>
                    <a:pt x="30252" y="16969"/>
                    <a:pt x="30252" y="17575"/>
                    <a:pt x="29747" y="17575"/>
                  </a:cubicBezTo>
                  <a:cubicBezTo>
                    <a:pt x="29747" y="17575"/>
                    <a:pt x="29243" y="18787"/>
                    <a:pt x="29243" y="18787"/>
                  </a:cubicBezTo>
                  <a:cubicBezTo>
                    <a:pt x="29243" y="18787"/>
                    <a:pt x="28739" y="18787"/>
                    <a:pt x="29243" y="18181"/>
                  </a:cubicBezTo>
                  <a:cubicBezTo>
                    <a:pt x="29243" y="18181"/>
                    <a:pt x="29243" y="16969"/>
                    <a:pt x="29747" y="16969"/>
                  </a:cubicBezTo>
                  <a:cubicBezTo>
                    <a:pt x="29747" y="16969"/>
                    <a:pt x="29747" y="16969"/>
                    <a:pt x="29747" y="16969"/>
                  </a:cubicBezTo>
                  <a:cubicBezTo>
                    <a:pt x="29747" y="16363"/>
                    <a:pt x="30252" y="16363"/>
                    <a:pt x="30252" y="15757"/>
                  </a:cubicBezTo>
                  <a:cubicBezTo>
                    <a:pt x="30252" y="15151"/>
                    <a:pt x="30252" y="15151"/>
                    <a:pt x="30252" y="14545"/>
                  </a:cubicBezTo>
                  <a:cubicBezTo>
                    <a:pt x="29747" y="14545"/>
                    <a:pt x="29747" y="13939"/>
                    <a:pt x="29747" y="13333"/>
                  </a:cubicBezTo>
                  <a:cubicBezTo>
                    <a:pt x="29243" y="13333"/>
                    <a:pt x="28739" y="13939"/>
                    <a:pt x="28739" y="13939"/>
                  </a:cubicBezTo>
                  <a:cubicBezTo>
                    <a:pt x="28739" y="14545"/>
                    <a:pt x="28739" y="14545"/>
                    <a:pt x="28739" y="14545"/>
                  </a:cubicBezTo>
                  <a:cubicBezTo>
                    <a:pt x="28235" y="15151"/>
                    <a:pt x="28235" y="15151"/>
                    <a:pt x="27731" y="15757"/>
                  </a:cubicBezTo>
                  <a:cubicBezTo>
                    <a:pt x="27226" y="16363"/>
                    <a:pt x="27226" y="16363"/>
                    <a:pt x="27226" y="16363"/>
                  </a:cubicBezTo>
                  <a:cubicBezTo>
                    <a:pt x="27226" y="16363"/>
                    <a:pt x="27731" y="15151"/>
                    <a:pt x="27731" y="15151"/>
                  </a:cubicBezTo>
                  <a:cubicBezTo>
                    <a:pt x="27731" y="15151"/>
                    <a:pt x="28235" y="14545"/>
                    <a:pt x="27731" y="14545"/>
                  </a:cubicBezTo>
                  <a:cubicBezTo>
                    <a:pt x="27731" y="14545"/>
                    <a:pt x="27731" y="14545"/>
                    <a:pt x="27731" y="13939"/>
                  </a:cubicBezTo>
                  <a:cubicBezTo>
                    <a:pt x="27731" y="13939"/>
                    <a:pt x="27731" y="13333"/>
                    <a:pt x="27731" y="13333"/>
                  </a:cubicBezTo>
                  <a:cubicBezTo>
                    <a:pt x="27731" y="13333"/>
                    <a:pt x="28235" y="13333"/>
                    <a:pt x="27731" y="13333"/>
                  </a:cubicBezTo>
                  <a:cubicBezTo>
                    <a:pt x="27226" y="13333"/>
                    <a:pt x="27226" y="13333"/>
                    <a:pt x="27226" y="13333"/>
                  </a:cubicBezTo>
                  <a:cubicBezTo>
                    <a:pt x="27226" y="13333"/>
                    <a:pt x="26722" y="13333"/>
                    <a:pt x="26722" y="13333"/>
                  </a:cubicBezTo>
                  <a:cubicBezTo>
                    <a:pt x="26722" y="12727"/>
                    <a:pt x="27226" y="12727"/>
                    <a:pt x="27226" y="12727"/>
                  </a:cubicBezTo>
                  <a:cubicBezTo>
                    <a:pt x="27226" y="12121"/>
                    <a:pt x="27731" y="11515"/>
                    <a:pt x="27731" y="11515"/>
                  </a:cubicBezTo>
                  <a:cubicBezTo>
                    <a:pt x="27731" y="11515"/>
                    <a:pt x="27226" y="10909"/>
                    <a:pt x="27226" y="10909"/>
                  </a:cubicBezTo>
                  <a:cubicBezTo>
                    <a:pt x="26722" y="10303"/>
                    <a:pt x="26722" y="9696"/>
                    <a:pt x="26722" y="9696"/>
                  </a:cubicBezTo>
                  <a:cubicBezTo>
                    <a:pt x="26722" y="9696"/>
                    <a:pt x="26722" y="10909"/>
                    <a:pt x="26722" y="9090"/>
                  </a:cubicBezTo>
                  <a:cubicBezTo>
                    <a:pt x="26218" y="7272"/>
                    <a:pt x="26218" y="7272"/>
                    <a:pt x="26218" y="7272"/>
                  </a:cubicBezTo>
                  <a:cubicBezTo>
                    <a:pt x="25714" y="6666"/>
                    <a:pt x="25714" y="6666"/>
                    <a:pt x="25714" y="6666"/>
                  </a:cubicBezTo>
                  <a:cubicBezTo>
                    <a:pt x="25714" y="6666"/>
                    <a:pt x="25714" y="6060"/>
                    <a:pt x="25210" y="6060"/>
                  </a:cubicBezTo>
                  <a:cubicBezTo>
                    <a:pt x="25210" y="5454"/>
                    <a:pt x="24201" y="4848"/>
                    <a:pt x="24201" y="4848"/>
                  </a:cubicBezTo>
                  <a:cubicBezTo>
                    <a:pt x="24201" y="4242"/>
                    <a:pt x="24201" y="4242"/>
                    <a:pt x="24201" y="4242"/>
                  </a:cubicBezTo>
                  <a:cubicBezTo>
                    <a:pt x="24201" y="4242"/>
                    <a:pt x="24201" y="3636"/>
                    <a:pt x="24201" y="3636"/>
                  </a:cubicBezTo>
                  <a:cubicBezTo>
                    <a:pt x="23697" y="3636"/>
                    <a:pt x="23193" y="3030"/>
                    <a:pt x="23193" y="3636"/>
                  </a:cubicBezTo>
                  <a:cubicBezTo>
                    <a:pt x="23193" y="4242"/>
                    <a:pt x="23193" y="4242"/>
                    <a:pt x="23193" y="4848"/>
                  </a:cubicBezTo>
                  <a:cubicBezTo>
                    <a:pt x="22689" y="4848"/>
                    <a:pt x="21680" y="4848"/>
                    <a:pt x="21680" y="4848"/>
                  </a:cubicBezTo>
                  <a:cubicBezTo>
                    <a:pt x="21680" y="4848"/>
                    <a:pt x="21680" y="5454"/>
                    <a:pt x="21680" y="5454"/>
                  </a:cubicBezTo>
                  <a:cubicBezTo>
                    <a:pt x="20672" y="6060"/>
                    <a:pt x="20672" y="6060"/>
                    <a:pt x="20672" y="6060"/>
                  </a:cubicBezTo>
                  <a:cubicBezTo>
                    <a:pt x="20672" y="6060"/>
                    <a:pt x="20672" y="5454"/>
                    <a:pt x="20672" y="6060"/>
                  </a:cubicBezTo>
                  <a:cubicBezTo>
                    <a:pt x="21176" y="6666"/>
                    <a:pt x="21176" y="7272"/>
                    <a:pt x="21176" y="7878"/>
                  </a:cubicBezTo>
                  <a:cubicBezTo>
                    <a:pt x="21176" y="7878"/>
                    <a:pt x="22184" y="8484"/>
                    <a:pt x="21680" y="8484"/>
                  </a:cubicBezTo>
                  <a:cubicBezTo>
                    <a:pt x="21680" y="8484"/>
                    <a:pt x="20672" y="8484"/>
                    <a:pt x="20672" y="8484"/>
                  </a:cubicBezTo>
                  <a:cubicBezTo>
                    <a:pt x="20672" y="8484"/>
                    <a:pt x="20168" y="7878"/>
                    <a:pt x="20168" y="7272"/>
                  </a:cubicBezTo>
                  <a:cubicBezTo>
                    <a:pt x="20168" y="7272"/>
                    <a:pt x="19663" y="6666"/>
                    <a:pt x="19159" y="6666"/>
                  </a:cubicBezTo>
                  <a:cubicBezTo>
                    <a:pt x="19159" y="6666"/>
                    <a:pt x="18655" y="6666"/>
                    <a:pt x="18151" y="7272"/>
                  </a:cubicBezTo>
                  <a:cubicBezTo>
                    <a:pt x="18151" y="7878"/>
                    <a:pt x="18151" y="7272"/>
                    <a:pt x="18151" y="8484"/>
                  </a:cubicBezTo>
                  <a:cubicBezTo>
                    <a:pt x="18151" y="9696"/>
                    <a:pt x="18151" y="10909"/>
                    <a:pt x="18151" y="10909"/>
                  </a:cubicBezTo>
                  <a:cubicBezTo>
                    <a:pt x="18151" y="10909"/>
                    <a:pt x="18655" y="11515"/>
                    <a:pt x="19159" y="12121"/>
                  </a:cubicBezTo>
                  <a:cubicBezTo>
                    <a:pt x="19159" y="12121"/>
                    <a:pt x="19663" y="13939"/>
                    <a:pt x="19663" y="13939"/>
                  </a:cubicBezTo>
                  <a:cubicBezTo>
                    <a:pt x="19663" y="14545"/>
                    <a:pt x="20168" y="15151"/>
                    <a:pt x="20168" y="15151"/>
                  </a:cubicBezTo>
                  <a:cubicBezTo>
                    <a:pt x="20168" y="15151"/>
                    <a:pt x="17647" y="13939"/>
                    <a:pt x="17647" y="13333"/>
                  </a:cubicBezTo>
                  <a:cubicBezTo>
                    <a:pt x="17647" y="12727"/>
                    <a:pt x="17647" y="11515"/>
                    <a:pt x="17142" y="11515"/>
                  </a:cubicBezTo>
                  <a:cubicBezTo>
                    <a:pt x="17142" y="11515"/>
                    <a:pt x="17142" y="10909"/>
                    <a:pt x="16638" y="11515"/>
                  </a:cubicBezTo>
                  <a:cubicBezTo>
                    <a:pt x="16134" y="11515"/>
                    <a:pt x="16134" y="11515"/>
                    <a:pt x="15630" y="11515"/>
                  </a:cubicBezTo>
                  <a:cubicBezTo>
                    <a:pt x="15630" y="12121"/>
                    <a:pt x="15630" y="12727"/>
                    <a:pt x="15630" y="12727"/>
                  </a:cubicBezTo>
                  <a:cubicBezTo>
                    <a:pt x="15630" y="12727"/>
                    <a:pt x="15630" y="13333"/>
                    <a:pt x="15630" y="13939"/>
                  </a:cubicBezTo>
                  <a:cubicBezTo>
                    <a:pt x="16134" y="15151"/>
                    <a:pt x="16134" y="15151"/>
                    <a:pt x="16134" y="15757"/>
                  </a:cubicBezTo>
                  <a:cubicBezTo>
                    <a:pt x="16638" y="16363"/>
                    <a:pt x="17142" y="16363"/>
                    <a:pt x="17142" y="16969"/>
                  </a:cubicBezTo>
                  <a:cubicBezTo>
                    <a:pt x="17142" y="16969"/>
                    <a:pt x="17647" y="17575"/>
                    <a:pt x="17647" y="17575"/>
                  </a:cubicBezTo>
                  <a:cubicBezTo>
                    <a:pt x="17647" y="17575"/>
                    <a:pt x="17142" y="18787"/>
                    <a:pt x="17142" y="18787"/>
                  </a:cubicBezTo>
                  <a:cubicBezTo>
                    <a:pt x="17142" y="19393"/>
                    <a:pt x="16638" y="20000"/>
                    <a:pt x="16638" y="20000"/>
                  </a:cubicBezTo>
                  <a:cubicBezTo>
                    <a:pt x="16638" y="20000"/>
                    <a:pt x="17647" y="20606"/>
                    <a:pt x="17647" y="20606"/>
                  </a:cubicBezTo>
                  <a:cubicBezTo>
                    <a:pt x="17647" y="20606"/>
                    <a:pt x="18151" y="21212"/>
                    <a:pt x="17647" y="21818"/>
                  </a:cubicBezTo>
                  <a:cubicBezTo>
                    <a:pt x="17142" y="21818"/>
                    <a:pt x="17142" y="21818"/>
                    <a:pt x="16638" y="21818"/>
                  </a:cubicBezTo>
                  <a:cubicBezTo>
                    <a:pt x="16638" y="21212"/>
                    <a:pt x="16134" y="21818"/>
                    <a:pt x="16134" y="20606"/>
                  </a:cubicBezTo>
                  <a:cubicBezTo>
                    <a:pt x="16638" y="20000"/>
                    <a:pt x="16638" y="19393"/>
                    <a:pt x="16638" y="19393"/>
                  </a:cubicBezTo>
                  <a:cubicBezTo>
                    <a:pt x="16134" y="19393"/>
                    <a:pt x="15630" y="18181"/>
                    <a:pt x="15630" y="18181"/>
                  </a:cubicBezTo>
                  <a:cubicBezTo>
                    <a:pt x="15630" y="18181"/>
                    <a:pt x="16638" y="20000"/>
                    <a:pt x="15126" y="16969"/>
                  </a:cubicBezTo>
                  <a:cubicBezTo>
                    <a:pt x="14117" y="14545"/>
                    <a:pt x="14117" y="14545"/>
                    <a:pt x="14117" y="14545"/>
                  </a:cubicBezTo>
                  <a:cubicBezTo>
                    <a:pt x="14117" y="13333"/>
                    <a:pt x="14117" y="13333"/>
                    <a:pt x="14117" y="13333"/>
                  </a:cubicBezTo>
                  <a:cubicBezTo>
                    <a:pt x="14117" y="13333"/>
                    <a:pt x="13613" y="13333"/>
                    <a:pt x="13613" y="13333"/>
                  </a:cubicBezTo>
                  <a:cubicBezTo>
                    <a:pt x="13613" y="13333"/>
                    <a:pt x="13109" y="12727"/>
                    <a:pt x="13109" y="12727"/>
                  </a:cubicBezTo>
                  <a:cubicBezTo>
                    <a:pt x="13109" y="12727"/>
                    <a:pt x="12100" y="12727"/>
                    <a:pt x="12100" y="12727"/>
                  </a:cubicBezTo>
                  <a:cubicBezTo>
                    <a:pt x="12100" y="13333"/>
                    <a:pt x="12100" y="13333"/>
                    <a:pt x="12100" y="13939"/>
                  </a:cubicBezTo>
                  <a:cubicBezTo>
                    <a:pt x="11596" y="13939"/>
                    <a:pt x="11596" y="15151"/>
                    <a:pt x="11596" y="15151"/>
                  </a:cubicBezTo>
                  <a:cubicBezTo>
                    <a:pt x="11092" y="15151"/>
                    <a:pt x="11092" y="16363"/>
                    <a:pt x="11092" y="16363"/>
                  </a:cubicBezTo>
                  <a:cubicBezTo>
                    <a:pt x="11092" y="16363"/>
                    <a:pt x="11596" y="16363"/>
                    <a:pt x="11596" y="16969"/>
                  </a:cubicBezTo>
                  <a:cubicBezTo>
                    <a:pt x="12100" y="17575"/>
                    <a:pt x="12100" y="18181"/>
                    <a:pt x="12100" y="18181"/>
                  </a:cubicBezTo>
                  <a:cubicBezTo>
                    <a:pt x="12100" y="18181"/>
                    <a:pt x="11596" y="17575"/>
                    <a:pt x="11596" y="17575"/>
                  </a:cubicBezTo>
                  <a:cubicBezTo>
                    <a:pt x="11092" y="17575"/>
                    <a:pt x="11092" y="17575"/>
                    <a:pt x="11092" y="17575"/>
                  </a:cubicBezTo>
                  <a:cubicBezTo>
                    <a:pt x="10588" y="18181"/>
                    <a:pt x="10588" y="18181"/>
                    <a:pt x="10588" y="18181"/>
                  </a:cubicBezTo>
                  <a:cubicBezTo>
                    <a:pt x="10588" y="18181"/>
                    <a:pt x="10588" y="18181"/>
                    <a:pt x="10588" y="18181"/>
                  </a:cubicBezTo>
                  <a:cubicBezTo>
                    <a:pt x="10588" y="18181"/>
                    <a:pt x="10588" y="19393"/>
                    <a:pt x="10588" y="19393"/>
                  </a:cubicBezTo>
                  <a:cubicBezTo>
                    <a:pt x="10588" y="19393"/>
                    <a:pt x="11092" y="20000"/>
                    <a:pt x="11092" y="20000"/>
                  </a:cubicBezTo>
                  <a:cubicBezTo>
                    <a:pt x="11092" y="20000"/>
                    <a:pt x="11092" y="20606"/>
                    <a:pt x="11092" y="20606"/>
                  </a:cubicBezTo>
                  <a:cubicBezTo>
                    <a:pt x="11092" y="20606"/>
                    <a:pt x="11596" y="21212"/>
                    <a:pt x="11596" y="21212"/>
                  </a:cubicBezTo>
                  <a:cubicBezTo>
                    <a:pt x="11596" y="21818"/>
                    <a:pt x="11596" y="21818"/>
                    <a:pt x="11596" y="21818"/>
                  </a:cubicBezTo>
                  <a:cubicBezTo>
                    <a:pt x="11596" y="21818"/>
                    <a:pt x="11596" y="21818"/>
                    <a:pt x="11596" y="21818"/>
                  </a:cubicBezTo>
                  <a:cubicBezTo>
                    <a:pt x="11092" y="21818"/>
                    <a:pt x="11596" y="22424"/>
                    <a:pt x="11092" y="21818"/>
                  </a:cubicBezTo>
                  <a:cubicBezTo>
                    <a:pt x="10588" y="21212"/>
                    <a:pt x="10588" y="21818"/>
                    <a:pt x="10084" y="21212"/>
                  </a:cubicBezTo>
                  <a:cubicBezTo>
                    <a:pt x="10084" y="20000"/>
                    <a:pt x="10084" y="20000"/>
                    <a:pt x="10084" y="20000"/>
                  </a:cubicBezTo>
                  <a:cubicBezTo>
                    <a:pt x="10084" y="20000"/>
                    <a:pt x="10588" y="19393"/>
                    <a:pt x="9579" y="18787"/>
                  </a:cubicBezTo>
                  <a:cubicBezTo>
                    <a:pt x="9075" y="17575"/>
                    <a:pt x="9075" y="16969"/>
                    <a:pt x="9075" y="16969"/>
                  </a:cubicBezTo>
                  <a:cubicBezTo>
                    <a:pt x="9075" y="16969"/>
                    <a:pt x="8571" y="16363"/>
                    <a:pt x="8067" y="16363"/>
                  </a:cubicBezTo>
                  <a:cubicBezTo>
                    <a:pt x="8067" y="16969"/>
                    <a:pt x="8067" y="16969"/>
                    <a:pt x="7563" y="16969"/>
                  </a:cubicBezTo>
                  <a:cubicBezTo>
                    <a:pt x="7058" y="17575"/>
                    <a:pt x="7058" y="17575"/>
                    <a:pt x="6554" y="17575"/>
                  </a:cubicBezTo>
                  <a:cubicBezTo>
                    <a:pt x="6554" y="17575"/>
                    <a:pt x="5546" y="17575"/>
                    <a:pt x="5546" y="17575"/>
                  </a:cubicBezTo>
                  <a:cubicBezTo>
                    <a:pt x="5546" y="17575"/>
                    <a:pt x="5546" y="17575"/>
                    <a:pt x="4537" y="18181"/>
                  </a:cubicBezTo>
                  <a:cubicBezTo>
                    <a:pt x="4033" y="19393"/>
                    <a:pt x="3529" y="19393"/>
                    <a:pt x="4033" y="19393"/>
                  </a:cubicBezTo>
                  <a:cubicBezTo>
                    <a:pt x="4537" y="20000"/>
                    <a:pt x="5546" y="20000"/>
                    <a:pt x="5546" y="20000"/>
                  </a:cubicBezTo>
                  <a:cubicBezTo>
                    <a:pt x="5546" y="20000"/>
                    <a:pt x="6050" y="20000"/>
                    <a:pt x="6554" y="20606"/>
                  </a:cubicBezTo>
                  <a:cubicBezTo>
                    <a:pt x="7058" y="20606"/>
                    <a:pt x="8067" y="21818"/>
                    <a:pt x="8067" y="21818"/>
                  </a:cubicBezTo>
                  <a:cubicBezTo>
                    <a:pt x="9075" y="23636"/>
                    <a:pt x="9075" y="23636"/>
                    <a:pt x="9075" y="23636"/>
                  </a:cubicBezTo>
                  <a:cubicBezTo>
                    <a:pt x="9075" y="23636"/>
                    <a:pt x="9075" y="24242"/>
                    <a:pt x="9075" y="24242"/>
                  </a:cubicBezTo>
                  <a:cubicBezTo>
                    <a:pt x="9075" y="24242"/>
                    <a:pt x="9075" y="24242"/>
                    <a:pt x="9075" y="24848"/>
                  </a:cubicBezTo>
                  <a:cubicBezTo>
                    <a:pt x="9075" y="24848"/>
                    <a:pt x="9075" y="25454"/>
                    <a:pt x="9075" y="25454"/>
                  </a:cubicBezTo>
                  <a:cubicBezTo>
                    <a:pt x="9075" y="25454"/>
                    <a:pt x="9579" y="26060"/>
                    <a:pt x="10084" y="26666"/>
                  </a:cubicBezTo>
                  <a:cubicBezTo>
                    <a:pt x="10588" y="26666"/>
                    <a:pt x="10588" y="26666"/>
                    <a:pt x="11092" y="26666"/>
                  </a:cubicBezTo>
                  <a:cubicBezTo>
                    <a:pt x="11596" y="26666"/>
                    <a:pt x="11092" y="26666"/>
                    <a:pt x="11596" y="26666"/>
                  </a:cubicBezTo>
                  <a:cubicBezTo>
                    <a:pt x="12605" y="26060"/>
                    <a:pt x="12605" y="26060"/>
                    <a:pt x="12605" y="26060"/>
                  </a:cubicBezTo>
                  <a:cubicBezTo>
                    <a:pt x="12605" y="26060"/>
                    <a:pt x="12605" y="26060"/>
                    <a:pt x="13109" y="26060"/>
                  </a:cubicBezTo>
                  <a:cubicBezTo>
                    <a:pt x="14117" y="26060"/>
                    <a:pt x="13613" y="26666"/>
                    <a:pt x="14117" y="26666"/>
                  </a:cubicBezTo>
                  <a:cubicBezTo>
                    <a:pt x="14117" y="26060"/>
                    <a:pt x="15126" y="26060"/>
                    <a:pt x="15126" y="26060"/>
                  </a:cubicBezTo>
                  <a:cubicBezTo>
                    <a:pt x="15630" y="26060"/>
                    <a:pt x="15630" y="25454"/>
                    <a:pt x="16134" y="26060"/>
                  </a:cubicBezTo>
                  <a:cubicBezTo>
                    <a:pt x="16134" y="26666"/>
                    <a:pt x="16134" y="26666"/>
                    <a:pt x="16134" y="27272"/>
                  </a:cubicBezTo>
                  <a:cubicBezTo>
                    <a:pt x="16638" y="27272"/>
                    <a:pt x="17142" y="27878"/>
                    <a:pt x="17142" y="27878"/>
                  </a:cubicBezTo>
                  <a:cubicBezTo>
                    <a:pt x="18151" y="27878"/>
                    <a:pt x="18151" y="27878"/>
                    <a:pt x="18151" y="27878"/>
                  </a:cubicBezTo>
                  <a:cubicBezTo>
                    <a:pt x="18151" y="27878"/>
                    <a:pt x="18151" y="27272"/>
                    <a:pt x="18655" y="27272"/>
                  </a:cubicBezTo>
                  <a:cubicBezTo>
                    <a:pt x="18655" y="26666"/>
                    <a:pt x="19159" y="26060"/>
                    <a:pt x="19159" y="26060"/>
                  </a:cubicBezTo>
                  <a:cubicBezTo>
                    <a:pt x="19159" y="26060"/>
                    <a:pt x="18655" y="26060"/>
                    <a:pt x="19159" y="26666"/>
                  </a:cubicBezTo>
                  <a:cubicBezTo>
                    <a:pt x="19663" y="26666"/>
                    <a:pt x="19663" y="26666"/>
                    <a:pt x="20168" y="27272"/>
                  </a:cubicBezTo>
                  <a:cubicBezTo>
                    <a:pt x="20168" y="27272"/>
                    <a:pt x="21176" y="26666"/>
                    <a:pt x="21176" y="26666"/>
                  </a:cubicBezTo>
                  <a:cubicBezTo>
                    <a:pt x="21680" y="26666"/>
                    <a:pt x="21680" y="26666"/>
                    <a:pt x="21680" y="26666"/>
                  </a:cubicBezTo>
                  <a:cubicBezTo>
                    <a:pt x="21680" y="26666"/>
                    <a:pt x="21176" y="27272"/>
                    <a:pt x="21680" y="27272"/>
                  </a:cubicBezTo>
                  <a:cubicBezTo>
                    <a:pt x="21680" y="27272"/>
                    <a:pt x="21176" y="27272"/>
                    <a:pt x="21680" y="27272"/>
                  </a:cubicBezTo>
                  <a:cubicBezTo>
                    <a:pt x="22184" y="27272"/>
                    <a:pt x="22689" y="26666"/>
                    <a:pt x="22689" y="26666"/>
                  </a:cubicBezTo>
                  <a:cubicBezTo>
                    <a:pt x="22689" y="26666"/>
                    <a:pt x="22184" y="27272"/>
                    <a:pt x="22184" y="27878"/>
                  </a:cubicBezTo>
                  <a:cubicBezTo>
                    <a:pt x="22184" y="27878"/>
                    <a:pt x="22184" y="28484"/>
                    <a:pt x="22184" y="28484"/>
                  </a:cubicBezTo>
                  <a:cubicBezTo>
                    <a:pt x="22184" y="28484"/>
                    <a:pt x="22184" y="29090"/>
                    <a:pt x="22689" y="29696"/>
                  </a:cubicBezTo>
                  <a:cubicBezTo>
                    <a:pt x="23193" y="29696"/>
                    <a:pt x="23697" y="29696"/>
                    <a:pt x="23697" y="29696"/>
                  </a:cubicBezTo>
                  <a:cubicBezTo>
                    <a:pt x="23697" y="29696"/>
                    <a:pt x="24705" y="29696"/>
                    <a:pt x="24705" y="29696"/>
                  </a:cubicBezTo>
                  <a:cubicBezTo>
                    <a:pt x="24705" y="30303"/>
                    <a:pt x="24705" y="29696"/>
                    <a:pt x="24705" y="30303"/>
                  </a:cubicBezTo>
                  <a:cubicBezTo>
                    <a:pt x="24705" y="30303"/>
                    <a:pt x="25210" y="29696"/>
                    <a:pt x="25210" y="29696"/>
                  </a:cubicBezTo>
                  <a:cubicBezTo>
                    <a:pt x="25714" y="29696"/>
                    <a:pt x="26218" y="29696"/>
                    <a:pt x="26218" y="29696"/>
                  </a:cubicBezTo>
                  <a:cubicBezTo>
                    <a:pt x="26218" y="30303"/>
                    <a:pt x="25714" y="30909"/>
                    <a:pt x="25714" y="30909"/>
                  </a:cubicBezTo>
                  <a:cubicBezTo>
                    <a:pt x="25714" y="30909"/>
                    <a:pt x="25714" y="30909"/>
                    <a:pt x="25714" y="31515"/>
                  </a:cubicBezTo>
                  <a:cubicBezTo>
                    <a:pt x="25714" y="31515"/>
                    <a:pt x="26722" y="31515"/>
                    <a:pt x="26722" y="31515"/>
                  </a:cubicBezTo>
                  <a:cubicBezTo>
                    <a:pt x="26722" y="31515"/>
                    <a:pt x="26722" y="30909"/>
                    <a:pt x="27226" y="31515"/>
                  </a:cubicBezTo>
                  <a:cubicBezTo>
                    <a:pt x="27226" y="32121"/>
                    <a:pt x="27226" y="32121"/>
                    <a:pt x="27226" y="32121"/>
                  </a:cubicBezTo>
                  <a:cubicBezTo>
                    <a:pt x="26722" y="32121"/>
                    <a:pt x="26722" y="31515"/>
                    <a:pt x="26722" y="32727"/>
                  </a:cubicBezTo>
                  <a:cubicBezTo>
                    <a:pt x="26218" y="33333"/>
                    <a:pt x="26722" y="33939"/>
                    <a:pt x="26722" y="33939"/>
                  </a:cubicBezTo>
                  <a:cubicBezTo>
                    <a:pt x="27226" y="35151"/>
                    <a:pt x="27226" y="35151"/>
                    <a:pt x="27226" y="35151"/>
                  </a:cubicBezTo>
                  <a:cubicBezTo>
                    <a:pt x="27226" y="35151"/>
                    <a:pt x="27731" y="35151"/>
                    <a:pt x="28235" y="35151"/>
                  </a:cubicBezTo>
                  <a:cubicBezTo>
                    <a:pt x="28235" y="35151"/>
                    <a:pt x="28235" y="35151"/>
                    <a:pt x="28235" y="35151"/>
                  </a:cubicBezTo>
                  <a:cubicBezTo>
                    <a:pt x="28739" y="34545"/>
                    <a:pt x="28739" y="34545"/>
                    <a:pt x="29243" y="34545"/>
                  </a:cubicBezTo>
                  <a:cubicBezTo>
                    <a:pt x="29243" y="34545"/>
                    <a:pt x="29747" y="35151"/>
                    <a:pt x="29747" y="35151"/>
                  </a:cubicBezTo>
                  <a:cubicBezTo>
                    <a:pt x="29747" y="35757"/>
                    <a:pt x="29747" y="35757"/>
                    <a:pt x="29747" y="35757"/>
                  </a:cubicBezTo>
                  <a:cubicBezTo>
                    <a:pt x="29747" y="35757"/>
                    <a:pt x="29747" y="36363"/>
                    <a:pt x="29747" y="36363"/>
                  </a:cubicBezTo>
                  <a:cubicBezTo>
                    <a:pt x="30252" y="36969"/>
                    <a:pt x="30756" y="36969"/>
                    <a:pt x="30756" y="36969"/>
                  </a:cubicBezTo>
                  <a:cubicBezTo>
                    <a:pt x="30756" y="36969"/>
                    <a:pt x="30756" y="36969"/>
                    <a:pt x="30756" y="37575"/>
                  </a:cubicBezTo>
                  <a:cubicBezTo>
                    <a:pt x="31260" y="38181"/>
                    <a:pt x="32268" y="38787"/>
                    <a:pt x="32268" y="38787"/>
                  </a:cubicBezTo>
                  <a:cubicBezTo>
                    <a:pt x="32268" y="38787"/>
                    <a:pt x="30756" y="38181"/>
                    <a:pt x="30756" y="38181"/>
                  </a:cubicBezTo>
                  <a:cubicBezTo>
                    <a:pt x="30252" y="38181"/>
                    <a:pt x="29243" y="38181"/>
                    <a:pt x="29243" y="38181"/>
                  </a:cubicBezTo>
                  <a:cubicBezTo>
                    <a:pt x="28739" y="38181"/>
                    <a:pt x="27731" y="38181"/>
                    <a:pt x="27731" y="38181"/>
                  </a:cubicBezTo>
                  <a:cubicBezTo>
                    <a:pt x="26218" y="38787"/>
                    <a:pt x="26218" y="38787"/>
                    <a:pt x="26218" y="38787"/>
                  </a:cubicBezTo>
                  <a:cubicBezTo>
                    <a:pt x="26218" y="38787"/>
                    <a:pt x="25210" y="39393"/>
                    <a:pt x="24705" y="39393"/>
                  </a:cubicBezTo>
                  <a:cubicBezTo>
                    <a:pt x="24705" y="39393"/>
                    <a:pt x="24201" y="39393"/>
                    <a:pt x="23697" y="39393"/>
                  </a:cubicBezTo>
                  <a:cubicBezTo>
                    <a:pt x="23697" y="40000"/>
                    <a:pt x="23193" y="40000"/>
                    <a:pt x="22689" y="40000"/>
                  </a:cubicBezTo>
                  <a:cubicBezTo>
                    <a:pt x="22689" y="40000"/>
                    <a:pt x="21680" y="40000"/>
                    <a:pt x="21176" y="40000"/>
                  </a:cubicBezTo>
                  <a:cubicBezTo>
                    <a:pt x="21176" y="40000"/>
                    <a:pt x="20672" y="40000"/>
                    <a:pt x="20672" y="40000"/>
                  </a:cubicBezTo>
                  <a:cubicBezTo>
                    <a:pt x="19159" y="40606"/>
                    <a:pt x="19159" y="40606"/>
                    <a:pt x="19159" y="40606"/>
                  </a:cubicBezTo>
                  <a:cubicBezTo>
                    <a:pt x="19663" y="41212"/>
                    <a:pt x="19663" y="41212"/>
                    <a:pt x="19663" y="41212"/>
                  </a:cubicBezTo>
                  <a:cubicBezTo>
                    <a:pt x="20672" y="41818"/>
                    <a:pt x="20672" y="41818"/>
                    <a:pt x="20672" y="41818"/>
                  </a:cubicBezTo>
                  <a:cubicBezTo>
                    <a:pt x="20672" y="41818"/>
                    <a:pt x="20672" y="41818"/>
                    <a:pt x="20672" y="41818"/>
                  </a:cubicBezTo>
                  <a:cubicBezTo>
                    <a:pt x="21176" y="41818"/>
                    <a:pt x="21680" y="42424"/>
                    <a:pt x="21680" y="42424"/>
                  </a:cubicBezTo>
                  <a:cubicBezTo>
                    <a:pt x="21680" y="42424"/>
                    <a:pt x="22184" y="43030"/>
                    <a:pt x="22689" y="43636"/>
                  </a:cubicBezTo>
                  <a:cubicBezTo>
                    <a:pt x="22689" y="43636"/>
                    <a:pt x="23193" y="44242"/>
                    <a:pt x="23193" y="44242"/>
                  </a:cubicBezTo>
                  <a:lnTo>
                    <a:pt x="24201" y="44848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2" name="Shape 2043"/>
            <p:cNvSpPr/>
            <p:nvPr/>
          </p:nvSpPr>
          <p:spPr>
            <a:xfrm>
              <a:off x="5322812" y="2251718"/>
              <a:ext cx="802583" cy="6531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2840" y="9355"/>
                  </a:moveTo>
                  <a:cubicBezTo>
                    <a:pt x="53522" y="9355"/>
                    <a:pt x="56590" y="6508"/>
                    <a:pt x="56590" y="6508"/>
                  </a:cubicBezTo>
                  <a:cubicBezTo>
                    <a:pt x="56590" y="6508"/>
                    <a:pt x="58295" y="7322"/>
                    <a:pt x="59318" y="6915"/>
                  </a:cubicBezTo>
                  <a:cubicBezTo>
                    <a:pt x="60340" y="6915"/>
                    <a:pt x="63750" y="6508"/>
                    <a:pt x="63750" y="6508"/>
                  </a:cubicBezTo>
                  <a:cubicBezTo>
                    <a:pt x="63750" y="6508"/>
                    <a:pt x="65454" y="6508"/>
                    <a:pt x="66136" y="6508"/>
                  </a:cubicBezTo>
                  <a:cubicBezTo>
                    <a:pt x="66818" y="6508"/>
                    <a:pt x="69886" y="6101"/>
                    <a:pt x="70568" y="6101"/>
                  </a:cubicBezTo>
                  <a:cubicBezTo>
                    <a:pt x="71250" y="6101"/>
                    <a:pt x="73295" y="5694"/>
                    <a:pt x="73636" y="5288"/>
                  </a:cubicBezTo>
                  <a:cubicBezTo>
                    <a:pt x="74318" y="5288"/>
                    <a:pt x="78409" y="4881"/>
                    <a:pt x="78750" y="4881"/>
                  </a:cubicBezTo>
                  <a:cubicBezTo>
                    <a:pt x="79431" y="4881"/>
                    <a:pt x="85909" y="4067"/>
                    <a:pt x="85909" y="4067"/>
                  </a:cubicBezTo>
                  <a:cubicBezTo>
                    <a:pt x="88636" y="2033"/>
                    <a:pt x="88636" y="2033"/>
                    <a:pt x="88636" y="2033"/>
                  </a:cubicBezTo>
                  <a:cubicBezTo>
                    <a:pt x="91704" y="1220"/>
                    <a:pt x="91704" y="1220"/>
                    <a:pt x="91704" y="1220"/>
                  </a:cubicBezTo>
                  <a:cubicBezTo>
                    <a:pt x="91704" y="1220"/>
                    <a:pt x="92727" y="0"/>
                    <a:pt x="92727" y="406"/>
                  </a:cubicBezTo>
                  <a:cubicBezTo>
                    <a:pt x="93068" y="1220"/>
                    <a:pt x="93750" y="2440"/>
                    <a:pt x="93750" y="2440"/>
                  </a:cubicBezTo>
                  <a:cubicBezTo>
                    <a:pt x="93750" y="2440"/>
                    <a:pt x="97500" y="2440"/>
                    <a:pt x="97500" y="2440"/>
                  </a:cubicBezTo>
                  <a:cubicBezTo>
                    <a:pt x="97500" y="2847"/>
                    <a:pt x="98522" y="5288"/>
                    <a:pt x="98522" y="5288"/>
                  </a:cubicBezTo>
                  <a:cubicBezTo>
                    <a:pt x="99545" y="6508"/>
                    <a:pt x="99545" y="6508"/>
                    <a:pt x="99545" y="6508"/>
                  </a:cubicBezTo>
                  <a:cubicBezTo>
                    <a:pt x="99545" y="6508"/>
                    <a:pt x="99886" y="8542"/>
                    <a:pt x="99886" y="9762"/>
                  </a:cubicBezTo>
                  <a:cubicBezTo>
                    <a:pt x="100227" y="10576"/>
                    <a:pt x="102613" y="15457"/>
                    <a:pt x="102613" y="15457"/>
                  </a:cubicBezTo>
                  <a:cubicBezTo>
                    <a:pt x="104318" y="19932"/>
                    <a:pt x="104318" y="19932"/>
                    <a:pt x="104318" y="19932"/>
                  </a:cubicBezTo>
                  <a:cubicBezTo>
                    <a:pt x="107045" y="24406"/>
                    <a:pt x="107045" y="24406"/>
                    <a:pt x="107045" y="24406"/>
                  </a:cubicBezTo>
                  <a:cubicBezTo>
                    <a:pt x="107386" y="27661"/>
                    <a:pt x="107386" y="27661"/>
                    <a:pt x="107386" y="27661"/>
                  </a:cubicBezTo>
                  <a:cubicBezTo>
                    <a:pt x="107386" y="27661"/>
                    <a:pt x="108409" y="28881"/>
                    <a:pt x="108409" y="29694"/>
                  </a:cubicBezTo>
                  <a:cubicBezTo>
                    <a:pt x="108409" y="30101"/>
                    <a:pt x="108409" y="31322"/>
                    <a:pt x="108409" y="31728"/>
                  </a:cubicBezTo>
                  <a:cubicBezTo>
                    <a:pt x="108750" y="31728"/>
                    <a:pt x="109090" y="33762"/>
                    <a:pt x="108750" y="33762"/>
                  </a:cubicBezTo>
                  <a:cubicBezTo>
                    <a:pt x="108409" y="34169"/>
                    <a:pt x="107045" y="36610"/>
                    <a:pt x="107045" y="36610"/>
                  </a:cubicBezTo>
                  <a:cubicBezTo>
                    <a:pt x="105681" y="37423"/>
                    <a:pt x="105681" y="37423"/>
                    <a:pt x="105681" y="37423"/>
                  </a:cubicBezTo>
                  <a:cubicBezTo>
                    <a:pt x="103977" y="40271"/>
                    <a:pt x="103977" y="40271"/>
                    <a:pt x="103977" y="40271"/>
                  </a:cubicBezTo>
                  <a:cubicBezTo>
                    <a:pt x="102954" y="43932"/>
                    <a:pt x="102954" y="43932"/>
                    <a:pt x="102954" y="43932"/>
                  </a:cubicBezTo>
                  <a:cubicBezTo>
                    <a:pt x="102613" y="45152"/>
                    <a:pt x="102613" y="45152"/>
                    <a:pt x="102613" y="45152"/>
                  </a:cubicBezTo>
                  <a:cubicBezTo>
                    <a:pt x="102613" y="45152"/>
                    <a:pt x="102954" y="46372"/>
                    <a:pt x="103295" y="46372"/>
                  </a:cubicBezTo>
                  <a:cubicBezTo>
                    <a:pt x="103977" y="46372"/>
                    <a:pt x="106363" y="46779"/>
                    <a:pt x="106363" y="46779"/>
                  </a:cubicBezTo>
                  <a:cubicBezTo>
                    <a:pt x="108409" y="48406"/>
                    <a:pt x="108409" y="48406"/>
                    <a:pt x="108409" y="48406"/>
                  </a:cubicBezTo>
                  <a:cubicBezTo>
                    <a:pt x="108409" y="50033"/>
                    <a:pt x="108409" y="50033"/>
                    <a:pt x="108409" y="50033"/>
                  </a:cubicBezTo>
                  <a:cubicBezTo>
                    <a:pt x="108409" y="50033"/>
                    <a:pt x="108750" y="53288"/>
                    <a:pt x="108750" y="53694"/>
                  </a:cubicBezTo>
                  <a:cubicBezTo>
                    <a:pt x="108750" y="53694"/>
                    <a:pt x="108409" y="56542"/>
                    <a:pt x="108409" y="56542"/>
                  </a:cubicBezTo>
                  <a:cubicBezTo>
                    <a:pt x="108409" y="56542"/>
                    <a:pt x="109090" y="58169"/>
                    <a:pt x="109090" y="58576"/>
                  </a:cubicBezTo>
                  <a:cubicBezTo>
                    <a:pt x="109431" y="58983"/>
                    <a:pt x="110113" y="59796"/>
                    <a:pt x="110113" y="60203"/>
                  </a:cubicBezTo>
                  <a:cubicBezTo>
                    <a:pt x="110454" y="60203"/>
                    <a:pt x="110454" y="60610"/>
                    <a:pt x="110454" y="60610"/>
                  </a:cubicBezTo>
                  <a:cubicBezTo>
                    <a:pt x="111136" y="62644"/>
                    <a:pt x="111136" y="62644"/>
                    <a:pt x="111136" y="62644"/>
                  </a:cubicBezTo>
                  <a:cubicBezTo>
                    <a:pt x="111136" y="64271"/>
                    <a:pt x="111136" y="64271"/>
                    <a:pt x="111136" y="64271"/>
                  </a:cubicBezTo>
                  <a:cubicBezTo>
                    <a:pt x="111136" y="64271"/>
                    <a:pt x="111136" y="65491"/>
                    <a:pt x="111818" y="65491"/>
                  </a:cubicBezTo>
                  <a:cubicBezTo>
                    <a:pt x="112500" y="65491"/>
                    <a:pt x="112840" y="65898"/>
                    <a:pt x="112840" y="66711"/>
                  </a:cubicBezTo>
                  <a:cubicBezTo>
                    <a:pt x="112840" y="67525"/>
                    <a:pt x="114545" y="68338"/>
                    <a:pt x="114545" y="68338"/>
                  </a:cubicBezTo>
                  <a:cubicBezTo>
                    <a:pt x="114545" y="68338"/>
                    <a:pt x="114545" y="69966"/>
                    <a:pt x="114886" y="70372"/>
                  </a:cubicBezTo>
                  <a:cubicBezTo>
                    <a:pt x="115568" y="70779"/>
                    <a:pt x="116250" y="71186"/>
                    <a:pt x="117272" y="71186"/>
                  </a:cubicBezTo>
                  <a:cubicBezTo>
                    <a:pt x="118295" y="71593"/>
                    <a:pt x="117954" y="73220"/>
                    <a:pt x="118636" y="73627"/>
                  </a:cubicBezTo>
                  <a:cubicBezTo>
                    <a:pt x="119318" y="74033"/>
                    <a:pt x="120000" y="74847"/>
                    <a:pt x="119318" y="74847"/>
                  </a:cubicBezTo>
                  <a:cubicBezTo>
                    <a:pt x="118977" y="75254"/>
                    <a:pt x="117954" y="75254"/>
                    <a:pt x="117954" y="75254"/>
                  </a:cubicBezTo>
                  <a:cubicBezTo>
                    <a:pt x="117954" y="75254"/>
                    <a:pt x="117613" y="75661"/>
                    <a:pt x="117613" y="76474"/>
                  </a:cubicBezTo>
                  <a:cubicBezTo>
                    <a:pt x="117954" y="76881"/>
                    <a:pt x="117954" y="76881"/>
                    <a:pt x="117954" y="76881"/>
                  </a:cubicBezTo>
                  <a:cubicBezTo>
                    <a:pt x="119318" y="78915"/>
                    <a:pt x="119318" y="78915"/>
                    <a:pt x="119318" y="78915"/>
                  </a:cubicBezTo>
                  <a:cubicBezTo>
                    <a:pt x="119318" y="81355"/>
                    <a:pt x="119318" y="81355"/>
                    <a:pt x="119318" y="81355"/>
                  </a:cubicBezTo>
                  <a:cubicBezTo>
                    <a:pt x="119318" y="81355"/>
                    <a:pt x="119318" y="82169"/>
                    <a:pt x="119318" y="82983"/>
                  </a:cubicBezTo>
                  <a:cubicBezTo>
                    <a:pt x="119318" y="83389"/>
                    <a:pt x="118977" y="84203"/>
                    <a:pt x="118295" y="84203"/>
                  </a:cubicBezTo>
                  <a:cubicBezTo>
                    <a:pt x="117613" y="84203"/>
                    <a:pt x="117613" y="85423"/>
                    <a:pt x="117272" y="85423"/>
                  </a:cubicBezTo>
                  <a:cubicBezTo>
                    <a:pt x="116931" y="85830"/>
                    <a:pt x="116250" y="84610"/>
                    <a:pt x="115909" y="85830"/>
                  </a:cubicBezTo>
                  <a:cubicBezTo>
                    <a:pt x="115568" y="87457"/>
                    <a:pt x="114886" y="88677"/>
                    <a:pt x="114886" y="89084"/>
                  </a:cubicBezTo>
                  <a:cubicBezTo>
                    <a:pt x="114545" y="89491"/>
                    <a:pt x="113522" y="89898"/>
                    <a:pt x="113522" y="90711"/>
                  </a:cubicBezTo>
                  <a:cubicBezTo>
                    <a:pt x="113181" y="91525"/>
                    <a:pt x="113181" y="90711"/>
                    <a:pt x="112500" y="92745"/>
                  </a:cubicBezTo>
                  <a:cubicBezTo>
                    <a:pt x="111818" y="94779"/>
                    <a:pt x="111477" y="95593"/>
                    <a:pt x="111477" y="95593"/>
                  </a:cubicBezTo>
                  <a:cubicBezTo>
                    <a:pt x="108409" y="100474"/>
                    <a:pt x="108409" y="100474"/>
                    <a:pt x="108409" y="100474"/>
                  </a:cubicBezTo>
                  <a:cubicBezTo>
                    <a:pt x="108409" y="100474"/>
                    <a:pt x="106704" y="103728"/>
                    <a:pt x="106704" y="104135"/>
                  </a:cubicBezTo>
                  <a:cubicBezTo>
                    <a:pt x="106704" y="104542"/>
                    <a:pt x="106704" y="106169"/>
                    <a:pt x="106704" y="106169"/>
                  </a:cubicBezTo>
                  <a:cubicBezTo>
                    <a:pt x="108068" y="107796"/>
                    <a:pt x="108068" y="107796"/>
                    <a:pt x="108068" y="107796"/>
                  </a:cubicBezTo>
                  <a:cubicBezTo>
                    <a:pt x="108068" y="109423"/>
                    <a:pt x="108068" y="109423"/>
                    <a:pt x="108068" y="109423"/>
                  </a:cubicBezTo>
                  <a:cubicBezTo>
                    <a:pt x="108068" y="109423"/>
                    <a:pt x="108068" y="110644"/>
                    <a:pt x="108409" y="111050"/>
                  </a:cubicBezTo>
                  <a:cubicBezTo>
                    <a:pt x="108750" y="111050"/>
                    <a:pt x="108750" y="111050"/>
                    <a:pt x="108750" y="111050"/>
                  </a:cubicBezTo>
                  <a:cubicBezTo>
                    <a:pt x="108409" y="112271"/>
                    <a:pt x="108409" y="112271"/>
                    <a:pt x="108409" y="112271"/>
                  </a:cubicBezTo>
                  <a:cubicBezTo>
                    <a:pt x="108409" y="112271"/>
                    <a:pt x="108750" y="113491"/>
                    <a:pt x="109090" y="113491"/>
                  </a:cubicBezTo>
                  <a:cubicBezTo>
                    <a:pt x="109090" y="113491"/>
                    <a:pt x="109772" y="113898"/>
                    <a:pt x="109772" y="113898"/>
                  </a:cubicBezTo>
                  <a:cubicBezTo>
                    <a:pt x="109772" y="113898"/>
                    <a:pt x="110454" y="114711"/>
                    <a:pt x="110454" y="114711"/>
                  </a:cubicBezTo>
                  <a:cubicBezTo>
                    <a:pt x="110795" y="115118"/>
                    <a:pt x="110454" y="115932"/>
                    <a:pt x="110454" y="115932"/>
                  </a:cubicBezTo>
                  <a:cubicBezTo>
                    <a:pt x="110454" y="115932"/>
                    <a:pt x="110454" y="116338"/>
                    <a:pt x="110113" y="116338"/>
                  </a:cubicBezTo>
                  <a:cubicBezTo>
                    <a:pt x="109772" y="116338"/>
                    <a:pt x="109772" y="116338"/>
                    <a:pt x="109090" y="116338"/>
                  </a:cubicBezTo>
                  <a:cubicBezTo>
                    <a:pt x="108750" y="115932"/>
                    <a:pt x="107727" y="115932"/>
                    <a:pt x="107386" y="115932"/>
                  </a:cubicBezTo>
                  <a:cubicBezTo>
                    <a:pt x="107045" y="115932"/>
                    <a:pt x="107045" y="115932"/>
                    <a:pt x="107045" y="115932"/>
                  </a:cubicBezTo>
                  <a:cubicBezTo>
                    <a:pt x="106704" y="115932"/>
                    <a:pt x="106704" y="115932"/>
                    <a:pt x="106363" y="116338"/>
                  </a:cubicBezTo>
                  <a:cubicBezTo>
                    <a:pt x="106363" y="115932"/>
                    <a:pt x="106363" y="115932"/>
                    <a:pt x="106363" y="115932"/>
                  </a:cubicBezTo>
                  <a:cubicBezTo>
                    <a:pt x="106363" y="115525"/>
                    <a:pt x="106363" y="115118"/>
                    <a:pt x="106363" y="115118"/>
                  </a:cubicBezTo>
                  <a:cubicBezTo>
                    <a:pt x="106363" y="115118"/>
                    <a:pt x="105340" y="115118"/>
                    <a:pt x="105340" y="115118"/>
                  </a:cubicBezTo>
                  <a:cubicBezTo>
                    <a:pt x="105000" y="115118"/>
                    <a:pt x="104659" y="115118"/>
                    <a:pt x="104659" y="115118"/>
                  </a:cubicBezTo>
                  <a:cubicBezTo>
                    <a:pt x="104659" y="115118"/>
                    <a:pt x="103977" y="114711"/>
                    <a:pt x="103977" y="114711"/>
                  </a:cubicBezTo>
                  <a:cubicBezTo>
                    <a:pt x="103977" y="114711"/>
                    <a:pt x="103636" y="114711"/>
                    <a:pt x="103636" y="114711"/>
                  </a:cubicBezTo>
                  <a:cubicBezTo>
                    <a:pt x="103636" y="114305"/>
                    <a:pt x="103295" y="114711"/>
                    <a:pt x="103295" y="114711"/>
                  </a:cubicBezTo>
                  <a:cubicBezTo>
                    <a:pt x="102954" y="114711"/>
                    <a:pt x="102954" y="114711"/>
                    <a:pt x="102954" y="114711"/>
                  </a:cubicBezTo>
                  <a:cubicBezTo>
                    <a:pt x="102272" y="114711"/>
                    <a:pt x="102272" y="114711"/>
                    <a:pt x="102272" y="114711"/>
                  </a:cubicBezTo>
                  <a:cubicBezTo>
                    <a:pt x="102272" y="114711"/>
                    <a:pt x="102272" y="114305"/>
                    <a:pt x="102272" y="114305"/>
                  </a:cubicBezTo>
                  <a:cubicBezTo>
                    <a:pt x="102272" y="113898"/>
                    <a:pt x="101931" y="114305"/>
                    <a:pt x="101931" y="114305"/>
                  </a:cubicBezTo>
                  <a:cubicBezTo>
                    <a:pt x="101931" y="114305"/>
                    <a:pt x="101250" y="114305"/>
                    <a:pt x="101250" y="114305"/>
                  </a:cubicBezTo>
                  <a:cubicBezTo>
                    <a:pt x="101250" y="113898"/>
                    <a:pt x="100909" y="113898"/>
                    <a:pt x="100909" y="113898"/>
                  </a:cubicBezTo>
                  <a:cubicBezTo>
                    <a:pt x="100909" y="113898"/>
                    <a:pt x="99886" y="113898"/>
                    <a:pt x="99545" y="113898"/>
                  </a:cubicBezTo>
                  <a:cubicBezTo>
                    <a:pt x="99545" y="113491"/>
                    <a:pt x="99545" y="113491"/>
                    <a:pt x="99545" y="113491"/>
                  </a:cubicBezTo>
                  <a:cubicBezTo>
                    <a:pt x="99545" y="113491"/>
                    <a:pt x="99545" y="113084"/>
                    <a:pt x="99545" y="112677"/>
                  </a:cubicBezTo>
                  <a:cubicBezTo>
                    <a:pt x="99545" y="112677"/>
                    <a:pt x="99204" y="112677"/>
                    <a:pt x="99204" y="112271"/>
                  </a:cubicBezTo>
                  <a:cubicBezTo>
                    <a:pt x="99204" y="112271"/>
                    <a:pt x="98863" y="111864"/>
                    <a:pt x="98863" y="111864"/>
                  </a:cubicBezTo>
                  <a:cubicBezTo>
                    <a:pt x="98863" y="111457"/>
                    <a:pt x="98522" y="111457"/>
                    <a:pt x="98522" y="111050"/>
                  </a:cubicBezTo>
                  <a:cubicBezTo>
                    <a:pt x="98522" y="111050"/>
                    <a:pt x="98181" y="111457"/>
                    <a:pt x="98181" y="111457"/>
                  </a:cubicBezTo>
                  <a:cubicBezTo>
                    <a:pt x="97840" y="111457"/>
                    <a:pt x="97500" y="111050"/>
                    <a:pt x="97500" y="111050"/>
                  </a:cubicBezTo>
                  <a:cubicBezTo>
                    <a:pt x="97159" y="110644"/>
                    <a:pt x="97159" y="110644"/>
                    <a:pt x="97159" y="110644"/>
                  </a:cubicBezTo>
                  <a:cubicBezTo>
                    <a:pt x="97159" y="110644"/>
                    <a:pt x="96818" y="110644"/>
                    <a:pt x="96477" y="110644"/>
                  </a:cubicBezTo>
                  <a:cubicBezTo>
                    <a:pt x="96477" y="110644"/>
                    <a:pt x="96477" y="111457"/>
                    <a:pt x="96477" y="111457"/>
                  </a:cubicBezTo>
                  <a:cubicBezTo>
                    <a:pt x="96477" y="111457"/>
                    <a:pt x="96136" y="111457"/>
                    <a:pt x="95795" y="111050"/>
                  </a:cubicBezTo>
                  <a:cubicBezTo>
                    <a:pt x="95795" y="111050"/>
                    <a:pt x="95454" y="110644"/>
                    <a:pt x="95113" y="110644"/>
                  </a:cubicBezTo>
                  <a:cubicBezTo>
                    <a:pt x="95113" y="110644"/>
                    <a:pt x="94772" y="110644"/>
                    <a:pt x="94431" y="110237"/>
                  </a:cubicBezTo>
                  <a:cubicBezTo>
                    <a:pt x="94431" y="110237"/>
                    <a:pt x="94090" y="110237"/>
                    <a:pt x="94090" y="110237"/>
                  </a:cubicBezTo>
                  <a:cubicBezTo>
                    <a:pt x="94090" y="110237"/>
                    <a:pt x="92727" y="110644"/>
                    <a:pt x="92727" y="110644"/>
                  </a:cubicBezTo>
                  <a:cubicBezTo>
                    <a:pt x="92727" y="110644"/>
                    <a:pt x="92727" y="111050"/>
                    <a:pt x="92386" y="111050"/>
                  </a:cubicBezTo>
                  <a:cubicBezTo>
                    <a:pt x="92386" y="111457"/>
                    <a:pt x="92045" y="111050"/>
                    <a:pt x="92045" y="111050"/>
                  </a:cubicBezTo>
                  <a:cubicBezTo>
                    <a:pt x="92045" y="111050"/>
                    <a:pt x="91704" y="111050"/>
                    <a:pt x="91363" y="111050"/>
                  </a:cubicBezTo>
                  <a:cubicBezTo>
                    <a:pt x="91363" y="111050"/>
                    <a:pt x="91022" y="111050"/>
                    <a:pt x="91022" y="111050"/>
                  </a:cubicBezTo>
                  <a:cubicBezTo>
                    <a:pt x="91022" y="111050"/>
                    <a:pt x="90681" y="110644"/>
                    <a:pt x="90340" y="110644"/>
                  </a:cubicBezTo>
                  <a:cubicBezTo>
                    <a:pt x="90340" y="110644"/>
                    <a:pt x="90000" y="110644"/>
                    <a:pt x="90000" y="110644"/>
                  </a:cubicBezTo>
                  <a:cubicBezTo>
                    <a:pt x="90000" y="110644"/>
                    <a:pt x="89659" y="111050"/>
                    <a:pt x="89659" y="111050"/>
                  </a:cubicBezTo>
                  <a:cubicBezTo>
                    <a:pt x="89318" y="111457"/>
                    <a:pt x="89318" y="111457"/>
                    <a:pt x="89318" y="111457"/>
                  </a:cubicBezTo>
                  <a:cubicBezTo>
                    <a:pt x="89318" y="111864"/>
                    <a:pt x="89318" y="111864"/>
                    <a:pt x="89318" y="111864"/>
                  </a:cubicBezTo>
                  <a:cubicBezTo>
                    <a:pt x="88636" y="111457"/>
                    <a:pt x="88636" y="111457"/>
                    <a:pt x="88636" y="111457"/>
                  </a:cubicBezTo>
                  <a:cubicBezTo>
                    <a:pt x="88636" y="111457"/>
                    <a:pt x="88295" y="111457"/>
                    <a:pt x="87954" y="111457"/>
                  </a:cubicBezTo>
                  <a:cubicBezTo>
                    <a:pt x="87272" y="111864"/>
                    <a:pt x="87613" y="112271"/>
                    <a:pt x="87613" y="112271"/>
                  </a:cubicBezTo>
                  <a:cubicBezTo>
                    <a:pt x="87954" y="112271"/>
                    <a:pt x="88295" y="113084"/>
                    <a:pt x="88295" y="113084"/>
                  </a:cubicBezTo>
                  <a:cubicBezTo>
                    <a:pt x="88295" y="113084"/>
                    <a:pt x="87272" y="113491"/>
                    <a:pt x="87272" y="113491"/>
                  </a:cubicBezTo>
                  <a:cubicBezTo>
                    <a:pt x="86931" y="113898"/>
                    <a:pt x="86931" y="113898"/>
                    <a:pt x="86931" y="114305"/>
                  </a:cubicBezTo>
                  <a:cubicBezTo>
                    <a:pt x="86931" y="114305"/>
                    <a:pt x="86590" y="114711"/>
                    <a:pt x="86590" y="115118"/>
                  </a:cubicBezTo>
                  <a:cubicBezTo>
                    <a:pt x="86590" y="115118"/>
                    <a:pt x="86250" y="114711"/>
                    <a:pt x="85909" y="114711"/>
                  </a:cubicBezTo>
                  <a:cubicBezTo>
                    <a:pt x="85568" y="114711"/>
                    <a:pt x="85568" y="114305"/>
                    <a:pt x="85568" y="114305"/>
                  </a:cubicBezTo>
                  <a:cubicBezTo>
                    <a:pt x="85227" y="114711"/>
                    <a:pt x="85227" y="114711"/>
                    <a:pt x="85227" y="114711"/>
                  </a:cubicBezTo>
                  <a:cubicBezTo>
                    <a:pt x="84886" y="114711"/>
                    <a:pt x="84886" y="114711"/>
                    <a:pt x="84886" y="114711"/>
                  </a:cubicBezTo>
                  <a:cubicBezTo>
                    <a:pt x="84886" y="114711"/>
                    <a:pt x="84545" y="114305"/>
                    <a:pt x="84545" y="113898"/>
                  </a:cubicBezTo>
                  <a:cubicBezTo>
                    <a:pt x="84545" y="113898"/>
                    <a:pt x="84545" y="113898"/>
                    <a:pt x="84545" y="113898"/>
                  </a:cubicBezTo>
                  <a:cubicBezTo>
                    <a:pt x="84204" y="113898"/>
                    <a:pt x="83863" y="113898"/>
                    <a:pt x="83863" y="113491"/>
                  </a:cubicBezTo>
                  <a:cubicBezTo>
                    <a:pt x="83522" y="112677"/>
                    <a:pt x="83522" y="112677"/>
                    <a:pt x="83522" y="112677"/>
                  </a:cubicBezTo>
                  <a:cubicBezTo>
                    <a:pt x="83522" y="112677"/>
                    <a:pt x="82840" y="113084"/>
                    <a:pt x="82840" y="113491"/>
                  </a:cubicBezTo>
                  <a:cubicBezTo>
                    <a:pt x="82500" y="113491"/>
                    <a:pt x="82840" y="113491"/>
                    <a:pt x="82500" y="113084"/>
                  </a:cubicBezTo>
                  <a:cubicBezTo>
                    <a:pt x="82159" y="113084"/>
                    <a:pt x="82159" y="113491"/>
                    <a:pt x="82159" y="113491"/>
                  </a:cubicBezTo>
                  <a:cubicBezTo>
                    <a:pt x="82159" y="113491"/>
                    <a:pt x="82159" y="113491"/>
                    <a:pt x="82159" y="113491"/>
                  </a:cubicBezTo>
                  <a:cubicBezTo>
                    <a:pt x="82159" y="113898"/>
                    <a:pt x="81818" y="113898"/>
                    <a:pt x="81818" y="113898"/>
                  </a:cubicBezTo>
                  <a:cubicBezTo>
                    <a:pt x="81818" y="114305"/>
                    <a:pt x="81477" y="113898"/>
                    <a:pt x="81477" y="113898"/>
                  </a:cubicBezTo>
                  <a:cubicBezTo>
                    <a:pt x="81136" y="113898"/>
                    <a:pt x="80795" y="113898"/>
                    <a:pt x="80795" y="113898"/>
                  </a:cubicBezTo>
                  <a:cubicBezTo>
                    <a:pt x="80795" y="113898"/>
                    <a:pt x="80795" y="113491"/>
                    <a:pt x="80795" y="113491"/>
                  </a:cubicBezTo>
                  <a:cubicBezTo>
                    <a:pt x="80113" y="113898"/>
                    <a:pt x="80113" y="113898"/>
                    <a:pt x="80113" y="113898"/>
                  </a:cubicBezTo>
                  <a:cubicBezTo>
                    <a:pt x="80113" y="113898"/>
                    <a:pt x="80113" y="114305"/>
                    <a:pt x="80113" y="114305"/>
                  </a:cubicBezTo>
                  <a:cubicBezTo>
                    <a:pt x="80113" y="114305"/>
                    <a:pt x="79772" y="114305"/>
                    <a:pt x="79431" y="114711"/>
                  </a:cubicBezTo>
                  <a:cubicBezTo>
                    <a:pt x="78750" y="114711"/>
                    <a:pt x="79090" y="114305"/>
                    <a:pt x="78750" y="114711"/>
                  </a:cubicBezTo>
                  <a:cubicBezTo>
                    <a:pt x="78750" y="114711"/>
                    <a:pt x="78750" y="114711"/>
                    <a:pt x="78750" y="115118"/>
                  </a:cubicBezTo>
                  <a:cubicBezTo>
                    <a:pt x="78750" y="115118"/>
                    <a:pt x="79090" y="115118"/>
                    <a:pt x="78750" y="115525"/>
                  </a:cubicBezTo>
                  <a:cubicBezTo>
                    <a:pt x="78409" y="115932"/>
                    <a:pt x="78409" y="115525"/>
                    <a:pt x="78409" y="115525"/>
                  </a:cubicBezTo>
                  <a:cubicBezTo>
                    <a:pt x="78068" y="115525"/>
                    <a:pt x="77727" y="115932"/>
                    <a:pt x="77727" y="115932"/>
                  </a:cubicBezTo>
                  <a:cubicBezTo>
                    <a:pt x="77727" y="115932"/>
                    <a:pt x="77727" y="116338"/>
                    <a:pt x="77727" y="116338"/>
                  </a:cubicBezTo>
                  <a:cubicBezTo>
                    <a:pt x="77727" y="116338"/>
                    <a:pt x="77386" y="116338"/>
                    <a:pt x="77045" y="116338"/>
                  </a:cubicBezTo>
                  <a:cubicBezTo>
                    <a:pt x="76704" y="116338"/>
                    <a:pt x="77045" y="116745"/>
                    <a:pt x="77045" y="116745"/>
                  </a:cubicBezTo>
                  <a:cubicBezTo>
                    <a:pt x="77045" y="116745"/>
                    <a:pt x="77045" y="117152"/>
                    <a:pt x="76704" y="117559"/>
                  </a:cubicBezTo>
                  <a:cubicBezTo>
                    <a:pt x="76704" y="117559"/>
                    <a:pt x="76704" y="117966"/>
                    <a:pt x="76704" y="118372"/>
                  </a:cubicBezTo>
                  <a:cubicBezTo>
                    <a:pt x="76704" y="118372"/>
                    <a:pt x="76704" y="118372"/>
                    <a:pt x="76704" y="119186"/>
                  </a:cubicBezTo>
                  <a:cubicBezTo>
                    <a:pt x="76704" y="119593"/>
                    <a:pt x="76704" y="119593"/>
                    <a:pt x="76704" y="119593"/>
                  </a:cubicBezTo>
                  <a:cubicBezTo>
                    <a:pt x="76704" y="119593"/>
                    <a:pt x="76363" y="119593"/>
                    <a:pt x="76363" y="119593"/>
                  </a:cubicBezTo>
                  <a:cubicBezTo>
                    <a:pt x="76363" y="119186"/>
                    <a:pt x="76022" y="119593"/>
                    <a:pt x="76022" y="119593"/>
                  </a:cubicBezTo>
                  <a:cubicBezTo>
                    <a:pt x="76022" y="119593"/>
                    <a:pt x="75681" y="119186"/>
                    <a:pt x="75681" y="118779"/>
                  </a:cubicBezTo>
                  <a:cubicBezTo>
                    <a:pt x="75681" y="118779"/>
                    <a:pt x="75340" y="118779"/>
                    <a:pt x="75340" y="118779"/>
                  </a:cubicBezTo>
                  <a:cubicBezTo>
                    <a:pt x="75340" y="118779"/>
                    <a:pt x="74659" y="119186"/>
                    <a:pt x="74659" y="119186"/>
                  </a:cubicBezTo>
                  <a:cubicBezTo>
                    <a:pt x="74659" y="119186"/>
                    <a:pt x="74659" y="119593"/>
                    <a:pt x="74659" y="119593"/>
                  </a:cubicBezTo>
                  <a:cubicBezTo>
                    <a:pt x="74318" y="119593"/>
                    <a:pt x="73636" y="120000"/>
                    <a:pt x="73636" y="120000"/>
                  </a:cubicBezTo>
                  <a:cubicBezTo>
                    <a:pt x="73636" y="120000"/>
                    <a:pt x="73295" y="120000"/>
                    <a:pt x="73295" y="120000"/>
                  </a:cubicBezTo>
                  <a:cubicBezTo>
                    <a:pt x="72954" y="119593"/>
                    <a:pt x="72954" y="119593"/>
                    <a:pt x="72954" y="119593"/>
                  </a:cubicBezTo>
                  <a:cubicBezTo>
                    <a:pt x="72954" y="119186"/>
                    <a:pt x="72954" y="119186"/>
                    <a:pt x="72954" y="119186"/>
                  </a:cubicBezTo>
                  <a:cubicBezTo>
                    <a:pt x="73636" y="118372"/>
                    <a:pt x="73636" y="118372"/>
                    <a:pt x="73636" y="118372"/>
                  </a:cubicBezTo>
                  <a:cubicBezTo>
                    <a:pt x="73295" y="117152"/>
                    <a:pt x="73295" y="117152"/>
                    <a:pt x="73295" y="117152"/>
                  </a:cubicBezTo>
                  <a:cubicBezTo>
                    <a:pt x="72613" y="116338"/>
                    <a:pt x="72613" y="116338"/>
                    <a:pt x="72613" y="116338"/>
                  </a:cubicBezTo>
                  <a:cubicBezTo>
                    <a:pt x="72613" y="115932"/>
                    <a:pt x="72613" y="115932"/>
                    <a:pt x="72613" y="115932"/>
                  </a:cubicBezTo>
                  <a:cubicBezTo>
                    <a:pt x="71590" y="115932"/>
                    <a:pt x="71590" y="115932"/>
                    <a:pt x="71590" y="115932"/>
                  </a:cubicBezTo>
                  <a:cubicBezTo>
                    <a:pt x="70909" y="115525"/>
                    <a:pt x="70909" y="115525"/>
                    <a:pt x="70909" y="115525"/>
                  </a:cubicBezTo>
                  <a:cubicBezTo>
                    <a:pt x="70568" y="115118"/>
                    <a:pt x="70568" y="115118"/>
                    <a:pt x="70568" y="115118"/>
                  </a:cubicBezTo>
                  <a:cubicBezTo>
                    <a:pt x="69545" y="114305"/>
                    <a:pt x="69545" y="114305"/>
                    <a:pt x="69545" y="114305"/>
                  </a:cubicBezTo>
                  <a:cubicBezTo>
                    <a:pt x="68863" y="111864"/>
                    <a:pt x="68863" y="111864"/>
                    <a:pt x="68863" y="111864"/>
                  </a:cubicBezTo>
                  <a:cubicBezTo>
                    <a:pt x="67840" y="111864"/>
                    <a:pt x="67840" y="111864"/>
                    <a:pt x="67840" y="111864"/>
                  </a:cubicBezTo>
                  <a:cubicBezTo>
                    <a:pt x="67840" y="111864"/>
                    <a:pt x="67159" y="112677"/>
                    <a:pt x="67159" y="113084"/>
                  </a:cubicBezTo>
                  <a:cubicBezTo>
                    <a:pt x="67159" y="113491"/>
                    <a:pt x="66477" y="113491"/>
                    <a:pt x="66477" y="113491"/>
                  </a:cubicBezTo>
                  <a:cubicBezTo>
                    <a:pt x="65795" y="114711"/>
                    <a:pt x="65795" y="114711"/>
                    <a:pt x="65795" y="114711"/>
                  </a:cubicBezTo>
                  <a:cubicBezTo>
                    <a:pt x="65795" y="114711"/>
                    <a:pt x="65795" y="116338"/>
                    <a:pt x="65795" y="116745"/>
                  </a:cubicBezTo>
                  <a:cubicBezTo>
                    <a:pt x="65795" y="117152"/>
                    <a:pt x="65113" y="116338"/>
                    <a:pt x="65113" y="116338"/>
                  </a:cubicBezTo>
                  <a:cubicBezTo>
                    <a:pt x="65113" y="116338"/>
                    <a:pt x="64431" y="116745"/>
                    <a:pt x="64090" y="117152"/>
                  </a:cubicBezTo>
                  <a:cubicBezTo>
                    <a:pt x="63750" y="117559"/>
                    <a:pt x="63068" y="117559"/>
                    <a:pt x="63068" y="117559"/>
                  </a:cubicBezTo>
                  <a:cubicBezTo>
                    <a:pt x="63068" y="117559"/>
                    <a:pt x="62727" y="116745"/>
                    <a:pt x="62386" y="116338"/>
                  </a:cubicBezTo>
                  <a:cubicBezTo>
                    <a:pt x="62386" y="116338"/>
                    <a:pt x="62386" y="115932"/>
                    <a:pt x="62386" y="115118"/>
                  </a:cubicBezTo>
                  <a:cubicBezTo>
                    <a:pt x="62386" y="114711"/>
                    <a:pt x="61704" y="115525"/>
                    <a:pt x="61704" y="115525"/>
                  </a:cubicBezTo>
                  <a:cubicBezTo>
                    <a:pt x="61704" y="115525"/>
                    <a:pt x="61704" y="115525"/>
                    <a:pt x="61704" y="115525"/>
                  </a:cubicBezTo>
                  <a:cubicBezTo>
                    <a:pt x="61704" y="115118"/>
                    <a:pt x="61704" y="115118"/>
                    <a:pt x="61704" y="115118"/>
                  </a:cubicBezTo>
                  <a:cubicBezTo>
                    <a:pt x="61363" y="114305"/>
                    <a:pt x="61022" y="113898"/>
                    <a:pt x="61022" y="113898"/>
                  </a:cubicBezTo>
                  <a:cubicBezTo>
                    <a:pt x="61022" y="113898"/>
                    <a:pt x="60681" y="113084"/>
                    <a:pt x="60681" y="112271"/>
                  </a:cubicBezTo>
                  <a:cubicBezTo>
                    <a:pt x="60681" y="111864"/>
                    <a:pt x="59318" y="111050"/>
                    <a:pt x="59318" y="111050"/>
                  </a:cubicBezTo>
                  <a:cubicBezTo>
                    <a:pt x="59318" y="111050"/>
                    <a:pt x="59659" y="111864"/>
                    <a:pt x="58977" y="111050"/>
                  </a:cubicBezTo>
                  <a:cubicBezTo>
                    <a:pt x="58295" y="109830"/>
                    <a:pt x="57613" y="109830"/>
                    <a:pt x="57613" y="109830"/>
                  </a:cubicBezTo>
                  <a:cubicBezTo>
                    <a:pt x="57272" y="106576"/>
                    <a:pt x="57272" y="106576"/>
                    <a:pt x="57272" y="106576"/>
                  </a:cubicBezTo>
                  <a:cubicBezTo>
                    <a:pt x="54545" y="107389"/>
                    <a:pt x="54545" y="107389"/>
                    <a:pt x="54545" y="107389"/>
                  </a:cubicBezTo>
                  <a:cubicBezTo>
                    <a:pt x="54545" y="107389"/>
                    <a:pt x="52840" y="106576"/>
                    <a:pt x="52500" y="106169"/>
                  </a:cubicBezTo>
                  <a:cubicBezTo>
                    <a:pt x="52159" y="105762"/>
                    <a:pt x="51136" y="105355"/>
                    <a:pt x="51136" y="105355"/>
                  </a:cubicBezTo>
                  <a:cubicBezTo>
                    <a:pt x="50113" y="106576"/>
                    <a:pt x="50113" y="106576"/>
                    <a:pt x="50113" y="106576"/>
                  </a:cubicBezTo>
                  <a:cubicBezTo>
                    <a:pt x="49090" y="106576"/>
                    <a:pt x="49090" y="106576"/>
                    <a:pt x="49090" y="106576"/>
                  </a:cubicBezTo>
                  <a:cubicBezTo>
                    <a:pt x="49090" y="106576"/>
                    <a:pt x="47727" y="106169"/>
                    <a:pt x="47386" y="105762"/>
                  </a:cubicBezTo>
                  <a:cubicBezTo>
                    <a:pt x="46704" y="104949"/>
                    <a:pt x="47045" y="104542"/>
                    <a:pt x="46704" y="104542"/>
                  </a:cubicBezTo>
                  <a:cubicBezTo>
                    <a:pt x="46022" y="104542"/>
                    <a:pt x="45681" y="103728"/>
                    <a:pt x="45681" y="103728"/>
                  </a:cubicBezTo>
                  <a:cubicBezTo>
                    <a:pt x="45681" y="103728"/>
                    <a:pt x="46363" y="102508"/>
                    <a:pt x="46704" y="102101"/>
                  </a:cubicBezTo>
                  <a:cubicBezTo>
                    <a:pt x="46704" y="101694"/>
                    <a:pt x="47386" y="102101"/>
                    <a:pt x="47045" y="100881"/>
                  </a:cubicBezTo>
                  <a:cubicBezTo>
                    <a:pt x="46363" y="100067"/>
                    <a:pt x="46022" y="99661"/>
                    <a:pt x="46022" y="99661"/>
                  </a:cubicBezTo>
                  <a:cubicBezTo>
                    <a:pt x="46022" y="99661"/>
                    <a:pt x="46022" y="100474"/>
                    <a:pt x="45340" y="100881"/>
                  </a:cubicBezTo>
                  <a:cubicBezTo>
                    <a:pt x="44659" y="100881"/>
                    <a:pt x="43636" y="101288"/>
                    <a:pt x="43636" y="101288"/>
                  </a:cubicBezTo>
                  <a:cubicBezTo>
                    <a:pt x="39886" y="99254"/>
                    <a:pt x="39886" y="99254"/>
                    <a:pt x="39886" y="99254"/>
                  </a:cubicBezTo>
                  <a:cubicBezTo>
                    <a:pt x="39886" y="99254"/>
                    <a:pt x="38863" y="98847"/>
                    <a:pt x="38522" y="98847"/>
                  </a:cubicBezTo>
                  <a:cubicBezTo>
                    <a:pt x="38181" y="99254"/>
                    <a:pt x="36818" y="98847"/>
                    <a:pt x="36818" y="98847"/>
                  </a:cubicBezTo>
                  <a:cubicBezTo>
                    <a:pt x="37500" y="100474"/>
                    <a:pt x="37500" y="100474"/>
                    <a:pt x="37500" y="100474"/>
                  </a:cubicBezTo>
                  <a:cubicBezTo>
                    <a:pt x="38181" y="102915"/>
                    <a:pt x="38181" y="102915"/>
                    <a:pt x="38181" y="102915"/>
                  </a:cubicBezTo>
                  <a:cubicBezTo>
                    <a:pt x="36136" y="103728"/>
                    <a:pt x="36136" y="103728"/>
                    <a:pt x="36136" y="103728"/>
                  </a:cubicBezTo>
                  <a:cubicBezTo>
                    <a:pt x="35795" y="105762"/>
                    <a:pt x="35795" y="105762"/>
                    <a:pt x="35795" y="105762"/>
                  </a:cubicBezTo>
                  <a:cubicBezTo>
                    <a:pt x="35795" y="105762"/>
                    <a:pt x="33750" y="107389"/>
                    <a:pt x="33750" y="106576"/>
                  </a:cubicBezTo>
                  <a:cubicBezTo>
                    <a:pt x="33409" y="106169"/>
                    <a:pt x="33068" y="104542"/>
                    <a:pt x="33068" y="104542"/>
                  </a:cubicBezTo>
                  <a:cubicBezTo>
                    <a:pt x="33068" y="104542"/>
                    <a:pt x="32727" y="103728"/>
                    <a:pt x="32386" y="103322"/>
                  </a:cubicBezTo>
                  <a:cubicBezTo>
                    <a:pt x="31704" y="102915"/>
                    <a:pt x="31363" y="102508"/>
                    <a:pt x="31363" y="102508"/>
                  </a:cubicBezTo>
                  <a:cubicBezTo>
                    <a:pt x="30340" y="102101"/>
                    <a:pt x="30340" y="102101"/>
                    <a:pt x="30340" y="102101"/>
                  </a:cubicBezTo>
                  <a:cubicBezTo>
                    <a:pt x="30340" y="102101"/>
                    <a:pt x="30000" y="100474"/>
                    <a:pt x="29659" y="100474"/>
                  </a:cubicBezTo>
                  <a:cubicBezTo>
                    <a:pt x="29318" y="100474"/>
                    <a:pt x="28977" y="100474"/>
                    <a:pt x="28977" y="100474"/>
                  </a:cubicBezTo>
                  <a:cubicBezTo>
                    <a:pt x="28977" y="99254"/>
                    <a:pt x="28977" y="99254"/>
                    <a:pt x="28977" y="99254"/>
                  </a:cubicBezTo>
                  <a:cubicBezTo>
                    <a:pt x="29659" y="98033"/>
                    <a:pt x="29659" y="98033"/>
                    <a:pt x="29659" y="98033"/>
                  </a:cubicBezTo>
                  <a:cubicBezTo>
                    <a:pt x="29659" y="98033"/>
                    <a:pt x="30000" y="98440"/>
                    <a:pt x="30000" y="96813"/>
                  </a:cubicBezTo>
                  <a:cubicBezTo>
                    <a:pt x="30340" y="94779"/>
                    <a:pt x="29318" y="94779"/>
                    <a:pt x="29318" y="94779"/>
                  </a:cubicBezTo>
                  <a:cubicBezTo>
                    <a:pt x="28295" y="95186"/>
                    <a:pt x="28295" y="95186"/>
                    <a:pt x="28295" y="95186"/>
                  </a:cubicBezTo>
                  <a:cubicBezTo>
                    <a:pt x="26931" y="96000"/>
                    <a:pt x="26931" y="96000"/>
                    <a:pt x="26931" y="96000"/>
                  </a:cubicBezTo>
                  <a:cubicBezTo>
                    <a:pt x="26250" y="96000"/>
                    <a:pt x="26250" y="96000"/>
                    <a:pt x="26250" y="96000"/>
                  </a:cubicBezTo>
                  <a:cubicBezTo>
                    <a:pt x="25909" y="96000"/>
                    <a:pt x="25227" y="94779"/>
                    <a:pt x="25227" y="94779"/>
                  </a:cubicBezTo>
                  <a:cubicBezTo>
                    <a:pt x="25227" y="94779"/>
                    <a:pt x="25909" y="93559"/>
                    <a:pt x="24886" y="94779"/>
                  </a:cubicBezTo>
                  <a:cubicBezTo>
                    <a:pt x="23863" y="96000"/>
                    <a:pt x="23181" y="94372"/>
                    <a:pt x="23181" y="94372"/>
                  </a:cubicBezTo>
                  <a:cubicBezTo>
                    <a:pt x="22840" y="93966"/>
                    <a:pt x="22840" y="93966"/>
                    <a:pt x="22840" y="93966"/>
                  </a:cubicBezTo>
                  <a:cubicBezTo>
                    <a:pt x="22840" y="93966"/>
                    <a:pt x="22840" y="93966"/>
                    <a:pt x="22500" y="93966"/>
                  </a:cubicBezTo>
                  <a:cubicBezTo>
                    <a:pt x="22159" y="94372"/>
                    <a:pt x="21136" y="94372"/>
                    <a:pt x="21136" y="93966"/>
                  </a:cubicBezTo>
                  <a:cubicBezTo>
                    <a:pt x="20795" y="93152"/>
                    <a:pt x="20113" y="92745"/>
                    <a:pt x="20113" y="92745"/>
                  </a:cubicBezTo>
                  <a:cubicBezTo>
                    <a:pt x="19090" y="93152"/>
                    <a:pt x="19090" y="93152"/>
                    <a:pt x="19090" y="93152"/>
                  </a:cubicBezTo>
                  <a:cubicBezTo>
                    <a:pt x="19090" y="93152"/>
                    <a:pt x="18409" y="93152"/>
                    <a:pt x="18068" y="93152"/>
                  </a:cubicBezTo>
                  <a:cubicBezTo>
                    <a:pt x="18068" y="92745"/>
                    <a:pt x="18068" y="92338"/>
                    <a:pt x="17386" y="91932"/>
                  </a:cubicBezTo>
                  <a:cubicBezTo>
                    <a:pt x="16704" y="91525"/>
                    <a:pt x="16363" y="90305"/>
                    <a:pt x="16363" y="90305"/>
                  </a:cubicBezTo>
                  <a:cubicBezTo>
                    <a:pt x="16363" y="90305"/>
                    <a:pt x="16704" y="89491"/>
                    <a:pt x="16022" y="89491"/>
                  </a:cubicBezTo>
                  <a:cubicBezTo>
                    <a:pt x="15681" y="89491"/>
                    <a:pt x="15000" y="89084"/>
                    <a:pt x="15000" y="89084"/>
                  </a:cubicBezTo>
                  <a:cubicBezTo>
                    <a:pt x="15000" y="89084"/>
                    <a:pt x="13977" y="88271"/>
                    <a:pt x="13977" y="88677"/>
                  </a:cubicBezTo>
                  <a:cubicBezTo>
                    <a:pt x="13636" y="89084"/>
                    <a:pt x="13636" y="89898"/>
                    <a:pt x="13636" y="90305"/>
                  </a:cubicBezTo>
                  <a:cubicBezTo>
                    <a:pt x="13636" y="90305"/>
                    <a:pt x="13977" y="91525"/>
                    <a:pt x="13977" y="91525"/>
                  </a:cubicBezTo>
                  <a:cubicBezTo>
                    <a:pt x="13977" y="91525"/>
                    <a:pt x="12613" y="92338"/>
                    <a:pt x="12272" y="92338"/>
                  </a:cubicBezTo>
                  <a:cubicBezTo>
                    <a:pt x="11931" y="92338"/>
                    <a:pt x="11590" y="92745"/>
                    <a:pt x="11590" y="91932"/>
                  </a:cubicBezTo>
                  <a:cubicBezTo>
                    <a:pt x="11590" y="91525"/>
                    <a:pt x="12272" y="89491"/>
                    <a:pt x="12272" y="89491"/>
                  </a:cubicBezTo>
                  <a:cubicBezTo>
                    <a:pt x="12613" y="89084"/>
                    <a:pt x="12954" y="88677"/>
                    <a:pt x="12954" y="88677"/>
                  </a:cubicBezTo>
                  <a:cubicBezTo>
                    <a:pt x="12954" y="88677"/>
                    <a:pt x="12613" y="87864"/>
                    <a:pt x="12613" y="87457"/>
                  </a:cubicBezTo>
                  <a:cubicBezTo>
                    <a:pt x="12613" y="87050"/>
                    <a:pt x="12272" y="87050"/>
                    <a:pt x="12954" y="85830"/>
                  </a:cubicBezTo>
                  <a:cubicBezTo>
                    <a:pt x="13977" y="84610"/>
                    <a:pt x="13977" y="83796"/>
                    <a:pt x="13977" y="83796"/>
                  </a:cubicBezTo>
                  <a:cubicBezTo>
                    <a:pt x="13977" y="83796"/>
                    <a:pt x="13295" y="82576"/>
                    <a:pt x="12954" y="82169"/>
                  </a:cubicBezTo>
                  <a:cubicBezTo>
                    <a:pt x="12954" y="82169"/>
                    <a:pt x="11931" y="80542"/>
                    <a:pt x="11931" y="80542"/>
                  </a:cubicBezTo>
                  <a:cubicBezTo>
                    <a:pt x="11931" y="80135"/>
                    <a:pt x="11931" y="79322"/>
                    <a:pt x="11931" y="79322"/>
                  </a:cubicBezTo>
                  <a:cubicBezTo>
                    <a:pt x="11931" y="79322"/>
                    <a:pt x="11250" y="78508"/>
                    <a:pt x="10909" y="78508"/>
                  </a:cubicBezTo>
                  <a:cubicBezTo>
                    <a:pt x="10568" y="78508"/>
                    <a:pt x="9545" y="78101"/>
                    <a:pt x="9545" y="78101"/>
                  </a:cubicBezTo>
                  <a:cubicBezTo>
                    <a:pt x="9545" y="76881"/>
                    <a:pt x="9545" y="76881"/>
                    <a:pt x="9545" y="76881"/>
                  </a:cubicBezTo>
                  <a:cubicBezTo>
                    <a:pt x="9545" y="74847"/>
                    <a:pt x="9545" y="74847"/>
                    <a:pt x="9545" y="74847"/>
                  </a:cubicBezTo>
                  <a:cubicBezTo>
                    <a:pt x="8181" y="72813"/>
                    <a:pt x="8181" y="72813"/>
                    <a:pt x="8181" y="72813"/>
                  </a:cubicBezTo>
                  <a:cubicBezTo>
                    <a:pt x="7840" y="71593"/>
                    <a:pt x="7840" y="71593"/>
                    <a:pt x="7840" y="71593"/>
                  </a:cubicBezTo>
                  <a:cubicBezTo>
                    <a:pt x="7840" y="71593"/>
                    <a:pt x="8181" y="70779"/>
                    <a:pt x="8181" y="69966"/>
                  </a:cubicBezTo>
                  <a:cubicBezTo>
                    <a:pt x="8522" y="69559"/>
                    <a:pt x="8863" y="68338"/>
                    <a:pt x="8863" y="68338"/>
                  </a:cubicBezTo>
                  <a:cubicBezTo>
                    <a:pt x="8181" y="66711"/>
                    <a:pt x="8181" y="66711"/>
                    <a:pt x="8181" y="66711"/>
                  </a:cubicBezTo>
                  <a:cubicBezTo>
                    <a:pt x="8181" y="66711"/>
                    <a:pt x="7840" y="66305"/>
                    <a:pt x="8181" y="65898"/>
                  </a:cubicBezTo>
                  <a:cubicBezTo>
                    <a:pt x="8181" y="65491"/>
                    <a:pt x="7840" y="63050"/>
                    <a:pt x="7840" y="63050"/>
                  </a:cubicBezTo>
                  <a:cubicBezTo>
                    <a:pt x="7840" y="63050"/>
                    <a:pt x="7500" y="60610"/>
                    <a:pt x="7159" y="61016"/>
                  </a:cubicBezTo>
                  <a:cubicBezTo>
                    <a:pt x="6477" y="61016"/>
                    <a:pt x="6136" y="59389"/>
                    <a:pt x="6136" y="59389"/>
                  </a:cubicBezTo>
                  <a:cubicBezTo>
                    <a:pt x="6818" y="56542"/>
                    <a:pt x="6818" y="56542"/>
                    <a:pt x="6818" y="56542"/>
                  </a:cubicBezTo>
                  <a:cubicBezTo>
                    <a:pt x="6818" y="56542"/>
                    <a:pt x="7159" y="54508"/>
                    <a:pt x="6136" y="53694"/>
                  </a:cubicBezTo>
                  <a:cubicBezTo>
                    <a:pt x="5113" y="53288"/>
                    <a:pt x="3068" y="52067"/>
                    <a:pt x="2727" y="51661"/>
                  </a:cubicBezTo>
                  <a:cubicBezTo>
                    <a:pt x="2727" y="51661"/>
                    <a:pt x="1704" y="50440"/>
                    <a:pt x="1363" y="50033"/>
                  </a:cubicBezTo>
                  <a:cubicBezTo>
                    <a:pt x="1022" y="50033"/>
                    <a:pt x="681" y="49627"/>
                    <a:pt x="681" y="49627"/>
                  </a:cubicBezTo>
                  <a:cubicBezTo>
                    <a:pt x="1363" y="45966"/>
                    <a:pt x="1363" y="45966"/>
                    <a:pt x="1363" y="45966"/>
                  </a:cubicBezTo>
                  <a:cubicBezTo>
                    <a:pt x="3068" y="44338"/>
                    <a:pt x="3068" y="44338"/>
                    <a:pt x="3068" y="44338"/>
                  </a:cubicBezTo>
                  <a:cubicBezTo>
                    <a:pt x="3068" y="41084"/>
                    <a:pt x="3068" y="41084"/>
                    <a:pt x="3068" y="41084"/>
                  </a:cubicBezTo>
                  <a:cubicBezTo>
                    <a:pt x="3068" y="37423"/>
                    <a:pt x="3068" y="37423"/>
                    <a:pt x="3068" y="37423"/>
                  </a:cubicBezTo>
                  <a:cubicBezTo>
                    <a:pt x="3068" y="37423"/>
                    <a:pt x="3409" y="37016"/>
                    <a:pt x="2386" y="35389"/>
                  </a:cubicBezTo>
                  <a:cubicBezTo>
                    <a:pt x="1704" y="34169"/>
                    <a:pt x="1363" y="32542"/>
                    <a:pt x="1363" y="32542"/>
                  </a:cubicBezTo>
                  <a:cubicBezTo>
                    <a:pt x="1363" y="32135"/>
                    <a:pt x="1022" y="30508"/>
                    <a:pt x="681" y="30101"/>
                  </a:cubicBezTo>
                  <a:cubicBezTo>
                    <a:pt x="681" y="29694"/>
                    <a:pt x="681" y="29288"/>
                    <a:pt x="681" y="28474"/>
                  </a:cubicBezTo>
                  <a:cubicBezTo>
                    <a:pt x="1022" y="28067"/>
                    <a:pt x="0" y="26847"/>
                    <a:pt x="0" y="26847"/>
                  </a:cubicBezTo>
                  <a:cubicBezTo>
                    <a:pt x="0" y="26847"/>
                    <a:pt x="340" y="26033"/>
                    <a:pt x="681" y="26033"/>
                  </a:cubicBezTo>
                  <a:cubicBezTo>
                    <a:pt x="1022" y="26033"/>
                    <a:pt x="1363" y="25627"/>
                    <a:pt x="2045" y="25627"/>
                  </a:cubicBezTo>
                  <a:cubicBezTo>
                    <a:pt x="2727" y="25627"/>
                    <a:pt x="3068" y="24813"/>
                    <a:pt x="3750" y="24813"/>
                  </a:cubicBezTo>
                  <a:cubicBezTo>
                    <a:pt x="4090" y="24406"/>
                    <a:pt x="4090" y="23593"/>
                    <a:pt x="4431" y="23593"/>
                  </a:cubicBezTo>
                  <a:cubicBezTo>
                    <a:pt x="5113" y="23186"/>
                    <a:pt x="5795" y="23593"/>
                    <a:pt x="6818" y="22779"/>
                  </a:cubicBezTo>
                  <a:cubicBezTo>
                    <a:pt x="7840" y="22372"/>
                    <a:pt x="7840" y="21966"/>
                    <a:pt x="8522" y="21152"/>
                  </a:cubicBezTo>
                  <a:cubicBezTo>
                    <a:pt x="8863" y="20745"/>
                    <a:pt x="15340" y="18305"/>
                    <a:pt x="15340" y="18305"/>
                  </a:cubicBezTo>
                  <a:cubicBezTo>
                    <a:pt x="15340" y="18305"/>
                    <a:pt x="17045" y="17084"/>
                    <a:pt x="17727" y="17084"/>
                  </a:cubicBezTo>
                  <a:cubicBezTo>
                    <a:pt x="18068" y="16677"/>
                    <a:pt x="18068" y="16271"/>
                    <a:pt x="18750" y="16271"/>
                  </a:cubicBezTo>
                  <a:cubicBezTo>
                    <a:pt x="19090" y="16677"/>
                    <a:pt x="20454" y="16677"/>
                    <a:pt x="20454" y="16677"/>
                  </a:cubicBezTo>
                  <a:cubicBezTo>
                    <a:pt x="20454" y="16677"/>
                    <a:pt x="20795" y="15457"/>
                    <a:pt x="21136" y="15050"/>
                  </a:cubicBezTo>
                  <a:cubicBezTo>
                    <a:pt x="21477" y="14237"/>
                    <a:pt x="21818" y="13423"/>
                    <a:pt x="21818" y="13016"/>
                  </a:cubicBezTo>
                  <a:cubicBezTo>
                    <a:pt x="22159" y="12203"/>
                    <a:pt x="22500" y="11796"/>
                    <a:pt x="22840" y="11389"/>
                  </a:cubicBezTo>
                  <a:cubicBezTo>
                    <a:pt x="23181" y="10576"/>
                    <a:pt x="23522" y="10169"/>
                    <a:pt x="23522" y="10169"/>
                  </a:cubicBezTo>
                  <a:cubicBezTo>
                    <a:pt x="23863" y="10169"/>
                    <a:pt x="25909" y="8949"/>
                    <a:pt x="26250" y="8949"/>
                  </a:cubicBezTo>
                  <a:cubicBezTo>
                    <a:pt x="26590" y="8542"/>
                    <a:pt x="29318" y="7322"/>
                    <a:pt x="29318" y="6915"/>
                  </a:cubicBezTo>
                  <a:cubicBezTo>
                    <a:pt x="29318" y="6915"/>
                    <a:pt x="30340" y="5288"/>
                    <a:pt x="30340" y="4881"/>
                  </a:cubicBezTo>
                  <a:cubicBezTo>
                    <a:pt x="30340" y="4474"/>
                    <a:pt x="31704" y="4067"/>
                    <a:pt x="31704" y="4067"/>
                  </a:cubicBezTo>
                  <a:cubicBezTo>
                    <a:pt x="32045" y="4067"/>
                    <a:pt x="32045" y="4067"/>
                    <a:pt x="32386" y="3661"/>
                  </a:cubicBezTo>
                  <a:cubicBezTo>
                    <a:pt x="33068" y="3661"/>
                    <a:pt x="36136" y="2033"/>
                    <a:pt x="36136" y="2033"/>
                  </a:cubicBezTo>
                  <a:cubicBezTo>
                    <a:pt x="36136" y="2033"/>
                    <a:pt x="38863" y="813"/>
                    <a:pt x="38863" y="813"/>
                  </a:cubicBezTo>
                  <a:cubicBezTo>
                    <a:pt x="39204" y="1220"/>
                    <a:pt x="40909" y="813"/>
                    <a:pt x="41250" y="813"/>
                  </a:cubicBezTo>
                  <a:cubicBezTo>
                    <a:pt x="41250" y="1220"/>
                    <a:pt x="43295" y="813"/>
                    <a:pt x="43295" y="813"/>
                  </a:cubicBezTo>
                  <a:cubicBezTo>
                    <a:pt x="43295" y="813"/>
                    <a:pt x="43977" y="1220"/>
                    <a:pt x="43977" y="1627"/>
                  </a:cubicBezTo>
                  <a:cubicBezTo>
                    <a:pt x="43977" y="2033"/>
                    <a:pt x="43295" y="2440"/>
                    <a:pt x="43636" y="2847"/>
                  </a:cubicBezTo>
                  <a:cubicBezTo>
                    <a:pt x="43977" y="3254"/>
                    <a:pt x="45340" y="4474"/>
                    <a:pt x="45340" y="4474"/>
                  </a:cubicBezTo>
                  <a:cubicBezTo>
                    <a:pt x="45340" y="4474"/>
                    <a:pt x="45000" y="5694"/>
                    <a:pt x="45000" y="5694"/>
                  </a:cubicBezTo>
                  <a:cubicBezTo>
                    <a:pt x="45000" y="6101"/>
                    <a:pt x="45340" y="6508"/>
                    <a:pt x="45681" y="7322"/>
                  </a:cubicBezTo>
                  <a:cubicBezTo>
                    <a:pt x="46022" y="7728"/>
                    <a:pt x="46704" y="8542"/>
                    <a:pt x="46704" y="8542"/>
                  </a:cubicBezTo>
                  <a:cubicBezTo>
                    <a:pt x="46704" y="8542"/>
                    <a:pt x="46363" y="8949"/>
                    <a:pt x="47727" y="9762"/>
                  </a:cubicBezTo>
                  <a:cubicBezTo>
                    <a:pt x="49090" y="10576"/>
                    <a:pt x="50113" y="9762"/>
                    <a:pt x="50113" y="9762"/>
                  </a:cubicBezTo>
                  <a:cubicBezTo>
                    <a:pt x="50113" y="9762"/>
                    <a:pt x="51136" y="9762"/>
                    <a:pt x="51477" y="9762"/>
                  </a:cubicBezTo>
                  <a:cubicBezTo>
                    <a:pt x="51818" y="9762"/>
                    <a:pt x="52840" y="9355"/>
                    <a:pt x="52840" y="935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3" name="Shape 2044"/>
            <p:cNvSpPr/>
            <p:nvPr/>
          </p:nvSpPr>
          <p:spPr>
            <a:xfrm>
              <a:off x="3482366" y="2092972"/>
              <a:ext cx="378203" cy="41551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5421" y="111063"/>
                  </a:moveTo>
                  <a:cubicBezTo>
                    <a:pt x="92530" y="111063"/>
                    <a:pt x="92530" y="111063"/>
                    <a:pt x="92530" y="111063"/>
                  </a:cubicBezTo>
                  <a:cubicBezTo>
                    <a:pt x="92530" y="111063"/>
                    <a:pt x="91084" y="109148"/>
                    <a:pt x="90361" y="109148"/>
                  </a:cubicBezTo>
                  <a:cubicBezTo>
                    <a:pt x="89638" y="109148"/>
                    <a:pt x="88192" y="108510"/>
                    <a:pt x="88192" y="108510"/>
                  </a:cubicBezTo>
                  <a:cubicBezTo>
                    <a:pt x="87469" y="109787"/>
                    <a:pt x="87469" y="109787"/>
                    <a:pt x="87469" y="109787"/>
                  </a:cubicBezTo>
                  <a:cubicBezTo>
                    <a:pt x="87469" y="109787"/>
                    <a:pt x="86746" y="110425"/>
                    <a:pt x="86024" y="110425"/>
                  </a:cubicBezTo>
                  <a:cubicBezTo>
                    <a:pt x="86024" y="110425"/>
                    <a:pt x="85301" y="109787"/>
                    <a:pt x="85301" y="109787"/>
                  </a:cubicBezTo>
                  <a:cubicBezTo>
                    <a:pt x="85301" y="108510"/>
                    <a:pt x="85301" y="108510"/>
                    <a:pt x="85301" y="108510"/>
                  </a:cubicBezTo>
                  <a:cubicBezTo>
                    <a:pt x="83132" y="108510"/>
                    <a:pt x="83132" y="108510"/>
                    <a:pt x="83132" y="108510"/>
                  </a:cubicBezTo>
                  <a:cubicBezTo>
                    <a:pt x="83132" y="108510"/>
                    <a:pt x="83132" y="110425"/>
                    <a:pt x="82409" y="110425"/>
                  </a:cubicBezTo>
                  <a:cubicBezTo>
                    <a:pt x="81686" y="109787"/>
                    <a:pt x="80963" y="109787"/>
                    <a:pt x="79518" y="109787"/>
                  </a:cubicBezTo>
                  <a:cubicBezTo>
                    <a:pt x="78072" y="109148"/>
                    <a:pt x="75180" y="109787"/>
                    <a:pt x="75180" y="109787"/>
                  </a:cubicBezTo>
                  <a:cubicBezTo>
                    <a:pt x="73734" y="109148"/>
                    <a:pt x="73734" y="109148"/>
                    <a:pt x="73734" y="109148"/>
                  </a:cubicBezTo>
                  <a:cubicBezTo>
                    <a:pt x="71566" y="109148"/>
                    <a:pt x="71566" y="109148"/>
                    <a:pt x="71566" y="109148"/>
                  </a:cubicBezTo>
                  <a:cubicBezTo>
                    <a:pt x="68674" y="109148"/>
                    <a:pt x="68674" y="109148"/>
                    <a:pt x="68674" y="109148"/>
                  </a:cubicBezTo>
                  <a:cubicBezTo>
                    <a:pt x="67951" y="110425"/>
                    <a:pt x="67951" y="110425"/>
                    <a:pt x="67951" y="110425"/>
                  </a:cubicBezTo>
                  <a:cubicBezTo>
                    <a:pt x="68674" y="111063"/>
                    <a:pt x="68674" y="111063"/>
                    <a:pt x="68674" y="111063"/>
                  </a:cubicBezTo>
                  <a:cubicBezTo>
                    <a:pt x="66506" y="112340"/>
                    <a:pt x="66506" y="112340"/>
                    <a:pt x="66506" y="112340"/>
                  </a:cubicBezTo>
                  <a:cubicBezTo>
                    <a:pt x="63614" y="111702"/>
                    <a:pt x="63614" y="111702"/>
                    <a:pt x="63614" y="111702"/>
                  </a:cubicBezTo>
                  <a:cubicBezTo>
                    <a:pt x="62168" y="112978"/>
                    <a:pt x="62168" y="112978"/>
                    <a:pt x="62168" y="112978"/>
                  </a:cubicBezTo>
                  <a:cubicBezTo>
                    <a:pt x="61445" y="111702"/>
                    <a:pt x="61445" y="111702"/>
                    <a:pt x="61445" y="111702"/>
                  </a:cubicBezTo>
                  <a:cubicBezTo>
                    <a:pt x="57108" y="114255"/>
                    <a:pt x="57108" y="114255"/>
                    <a:pt x="57108" y="114255"/>
                  </a:cubicBezTo>
                  <a:cubicBezTo>
                    <a:pt x="57831" y="115531"/>
                    <a:pt x="57831" y="115531"/>
                    <a:pt x="57831" y="115531"/>
                  </a:cubicBezTo>
                  <a:cubicBezTo>
                    <a:pt x="54216" y="116170"/>
                    <a:pt x="54216" y="116170"/>
                    <a:pt x="54216" y="116170"/>
                  </a:cubicBezTo>
                  <a:cubicBezTo>
                    <a:pt x="52048" y="115531"/>
                    <a:pt x="52048" y="115531"/>
                    <a:pt x="52048" y="115531"/>
                  </a:cubicBezTo>
                  <a:cubicBezTo>
                    <a:pt x="52048" y="115531"/>
                    <a:pt x="50602" y="114893"/>
                    <a:pt x="50602" y="114255"/>
                  </a:cubicBezTo>
                  <a:cubicBezTo>
                    <a:pt x="51325" y="113617"/>
                    <a:pt x="51325" y="112978"/>
                    <a:pt x="51325" y="112978"/>
                  </a:cubicBezTo>
                  <a:cubicBezTo>
                    <a:pt x="51325" y="112978"/>
                    <a:pt x="49879" y="112340"/>
                    <a:pt x="49879" y="112978"/>
                  </a:cubicBezTo>
                  <a:cubicBezTo>
                    <a:pt x="49879" y="114255"/>
                    <a:pt x="49156" y="115531"/>
                    <a:pt x="49156" y="115531"/>
                  </a:cubicBezTo>
                  <a:cubicBezTo>
                    <a:pt x="46987" y="116808"/>
                    <a:pt x="46987" y="116808"/>
                    <a:pt x="46987" y="116808"/>
                  </a:cubicBezTo>
                  <a:cubicBezTo>
                    <a:pt x="44096" y="117446"/>
                    <a:pt x="44096" y="117446"/>
                    <a:pt x="44096" y="117446"/>
                  </a:cubicBezTo>
                  <a:cubicBezTo>
                    <a:pt x="43373" y="116808"/>
                    <a:pt x="43373" y="116808"/>
                    <a:pt x="43373" y="116808"/>
                  </a:cubicBezTo>
                  <a:cubicBezTo>
                    <a:pt x="43373" y="118723"/>
                    <a:pt x="43373" y="118723"/>
                    <a:pt x="43373" y="118723"/>
                  </a:cubicBezTo>
                  <a:cubicBezTo>
                    <a:pt x="39759" y="118723"/>
                    <a:pt x="39759" y="118723"/>
                    <a:pt x="39759" y="118723"/>
                  </a:cubicBezTo>
                  <a:cubicBezTo>
                    <a:pt x="37590" y="118723"/>
                    <a:pt x="37590" y="118723"/>
                    <a:pt x="37590" y="118723"/>
                  </a:cubicBezTo>
                  <a:cubicBezTo>
                    <a:pt x="36144" y="120000"/>
                    <a:pt x="36144" y="120000"/>
                    <a:pt x="36144" y="120000"/>
                  </a:cubicBezTo>
                  <a:cubicBezTo>
                    <a:pt x="33975" y="119361"/>
                    <a:pt x="33975" y="119361"/>
                    <a:pt x="33975" y="119361"/>
                  </a:cubicBezTo>
                  <a:cubicBezTo>
                    <a:pt x="30361" y="120000"/>
                    <a:pt x="30361" y="120000"/>
                    <a:pt x="30361" y="120000"/>
                  </a:cubicBezTo>
                  <a:cubicBezTo>
                    <a:pt x="29638" y="118723"/>
                    <a:pt x="29638" y="118723"/>
                    <a:pt x="29638" y="118723"/>
                  </a:cubicBezTo>
                  <a:cubicBezTo>
                    <a:pt x="24578" y="118723"/>
                    <a:pt x="24578" y="118723"/>
                    <a:pt x="24578" y="118723"/>
                  </a:cubicBezTo>
                  <a:cubicBezTo>
                    <a:pt x="22409" y="119361"/>
                    <a:pt x="22409" y="119361"/>
                    <a:pt x="22409" y="119361"/>
                  </a:cubicBezTo>
                  <a:cubicBezTo>
                    <a:pt x="21686" y="118085"/>
                    <a:pt x="21686" y="118085"/>
                    <a:pt x="21686" y="118085"/>
                  </a:cubicBezTo>
                  <a:cubicBezTo>
                    <a:pt x="20963" y="118085"/>
                    <a:pt x="20963" y="118085"/>
                    <a:pt x="20963" y="118085"/>
                  </a:cubicBezTo>
                  <a:cubicBezTo>
                    <a:pt x="20963" y="118085"/>
                    <a:pt x="19518" y="118085"/>
                    <a:pt x="18795" y="118085"/>
                  </a:cubicBezTo>
                  <a:cubicBezTo>
                    <a:pt x="18072" y="118085"/>
                    <a:pt x="13734" y="116808"/>
                    <a:pt x="13734" y="116808"/>
                  </a:cubicBezTo>
                  <a:cubicBezTo>
                    <a:pt x="12289" y="118085"/>
                    <a:pt x="12289" y="118085"/>
                    <a:pt x="12289" y="118085"/>
                  </a:cubicBezTo>
                  <a:cubicBezTo>
                    <a:pt x="12289" y="118085"/>
                    <a:pt x="10120" y="118085"/>
                    <a:pt x="10120" y="117446"/>
                  </a:cubicBezTo>
                  <a:cubicBezTo>
                    <a:pt x="10120" y="117446"/>
                    <a:pt x="10120" y="116808"/>
                    <a:pt x="10843" y="116170"/>
                  </a:cubicBezTo>
                  <a:cubicBezTo>
                    <a:pt x="11566" y="116170"/>
                    <a:pt x="12289" y="116170"/>
                    <a:pt x="13734" y="115531"/>
                  </a:cubicBezTo>
                  <a:cubicBezTo>
                    <a:pt x="15180" y="115531"/>
                    <a:pt x="15903" y="115531"/>
                    <a:pt x="15903" y="115531"/>
                  </a:cubicBezTo>
                  <a:cubicBezTo>
                    <a:pt x="16626" y="114893"/>
                    <a:pt x="16626" y="114893"/>
                    <a:pt x="16626" y="114893"/>
                  </a:cubicBezTo>
                  <a:cubicBezTo>
                    <a:pt x="16626" y="114255"/>
                    <a:pt x="17349" y="113617"/>
                    <a:pt x="15903" y="114255"/>
                  </a:cubicBezTo>
                  <a:cubicBezTo>
                    <a:pt x="15180" y="114255"/>
                    <a:pt x="15180" y="114255"/>
                    <a:pt x="15180" y="114255"/>
                  </a:cubicBezTo>
                  <a:cubicBezTo>
                    <a:pt x="14457" y="114893"/>
                    <a:pt x="13734" y="114893"/>
                    <a:pt x="13012" y="114893"/>
                  </a:cubicBezTo>
                  <a:cubicBezTo>
                    <a:pt x="13012" y="114893"/>
                    <a:pt x="11566" y="114893"/>
                    <a:pt x="11566" y="114893"/>
                  </a:cubicBezTo>
                  <a:cubicBezTo>
                    <a:pt x="11566" y="114893"/>
                    <a:pt x="10843" y="114255"/>
                    <a:pt x="11566" y="114255"/>
                  </a:cubicBezTo>
                  <a:cubicBezTo>
                    <a:pt x="12289" y="113617"/>
                    <a:pt x="12289" y="113617"/>
                    <a:pt x="13012" y="113617"/>
                  </a:cubicBezTo>
                  <a:cubicBezTo>
                    <a:pt x="14457" y="113617"/>
                    <a:pt x="15180" y="112978"/>
                    <a:pt x="16626" y="112978"/>
                  </a:cubicBezTo>
                  <a:cubicBezTo>
                    <a:pt x="18072" y="112978"/>
                    <a:pt x="18795" y="112978"/>
                    <a:pt x="18795" y="112978"/>
                  </a:cubicBezTo>
                  <a:cubicBezTo>
                    <a:pt x="19518" y="112340"/>
                    <a:pt x="20240" y="112340"/>
                    <a:pt x="20240" y="111702"/>
                  </a:cubicBezTo>
                  <a:cubicBezTo>
                    <a:pt x="20240" y="111063"/>
                    <a:pt x="19518" y="110425"/>
                    <a:pt x="19518" y="110425"/>
                  </a:cubicBezTo>
                  <a:cubicBezTo>
                    <a:pt x="19518" y="110425"/>
                    <a:pt x="18795" y="110425"/>
                    <a:pt x="18072" y="111063"/>
                  </a:cubicBezTo>
                  <a:cubicBezTo>
                    <a:pt x="17349" y="111063"/>
                    <a:pt x="16626" y="111702"/>
                    <a:pt x="15903" y="111702"/>
                  </a:cubicBezTo>
                  <a:cubicBezTo>
                    <a:pt x="15903" y="111702"/>
                    <a:pt x="15903" y="111702"/>
                    <a:pt x="15180" y="111702"/>
                  </a:cubicBezTo>
                  <a:cubicBezTo>
                    <a:pt x="14457" y="111702"/>
                    <a:pt x="13012" y="111063"/>
                    <a:pt x="13012" y="111063"/>
                  </a:cubicBezTo>
                  <a:cubicBezTo>
                    <a:pt x="12289" y="111063"/>
                    <a:pt x="11566" y="111063"/>
                    <a:pt x="10843" y="111063"/>
                  </a:cubicBezTo>
                  <a:cubicBezTo>
                    <a:pt x="10120" y="111063"/>
                    <a:pt x="10843" y="111063"/>
                    <a:pt x="9397" y="111063"/>
                  </a:cubicBezTo>
                  <a:cubicBezTo>
                    <a:pt x="7951" y="111702"/>
                    <a:pt x="8674" y="111702"/>
                    <a:pt x="6506" y="111702"/>
                  </a:cubicBezTo>
                  <a:cubicBezTo>
                    <a:pt x="5060" y="111702"/>
                    <a:pt x="2891" y="111063"/>
                    <a:pt x="2891" y="111063"/>
                  </a:cubicBezTo>
                  <a:cubicBezTo>
                    <a:pt x="2891" y="111063"/>
                    <a:pt x="1445" y="111702"/>
                    <a:pt x="2168" y="111063"/>
                  </a:cubicBezTo>
                  <a:cubicBezTo>
                    <a:pt x="3614" y="110425"/>
                    <a:pt x="5060" y="110425"/>
                    <a:pt x="5783" y="109787"/>
                  </a:cubicBezTo>
                  <a:cubicBezTo>
                    <a:pt x="6506" y="109787"/>
                    <a:pt x="7228" y="109787"/>
                    <a:pt x="6506" y="109148"/>
                  </a:cubicBezTo>
                  <a:cubicBezTo>
                    <a:pt x="6506" y="109148"/>
                    <a:pt x="6506" y="109148"/>
                    <a:pt x="6506" y="109148"/>
                  </a:cubicBezTo>
                  <a:cubicBezTo>
                    <a:pt x="7228" y="109148"/>
                    <a:pt x="8674" y="108510"/>
                    <a:pt x="8674" y="108510"/>
                  </a:cubicBezTo>
                  <a:cubicBezTo>
                    <a:pt x="10120" y="107872"/>
                    <a:pt x="10120" y="107872"/>
                    <a:pt x="10120" y="107872"/>
                  </a:cubicBezTo>
                  <a:cubicBezTo>
                    <a:pt x="10120" y="107872"/>
                    <a:pt x="10120" y="107234"/>
                    <a:pt x="11566" y="107234"/>
                  </a:cubicBezTo>
                  <a:cubicBezTo>
                    <a:pt x="13012" y="107234"/>
                    <a:pt x="13012" y="107234"/>
                    <a:pt x="13012" y="106595"/>
                  </a:cubicBezTo>
                  <a:cubicBezTo>
                    <a:pt x="13734" y="106595"/>
                    <a:pt x="13012" y="106595"/>
                    <a:pt x="13734" y="106595"/>
                  </a:cubicBezTo>
                  <a:cubicBezTo>
                    <a:pt x="15180" y="106595"/>
                    <a:pt x="15180" y="105957"/>
                    <a:pt x="15903" y="105957"/>
                  </a:cubicBezTo>
                  <a:cubicBezTo>
                    <a:pt x="17349" y="105957"/>
                    <a:pt x="18072" y="105319"/>
                    <a:pt x="17349" y="105319"/>
                  </a:cubicBezTo>
                  <a:cubicBezTo>
                    <a:pt x="16626" y="105319"/>
                    <a:pt x="16626" y="105319"/>
                    <a:pt x="15180" y="105319"/>
                  </a:cubicBezTo>
                  <a:cubicBezTo>
                    <a:pt x="14457" y="105957"/>
                    <a:pt x="13734" y="105319"/>
                    <a:pt x="13734" y="105957"/>
                  </a:cubicBezTo>
                  <a:cubicBezTo>
                    <a:pt x="13012" y="105957"/>
                    <a:pt x="11566" y="105957"/>
                    <a:pt x="11566" y="105957"/>
                  </a:cubicBezTo>
                  <a:cubicBezTo>
                    <a:pt x="10843" y="105319"/>
                    <a:pt x="10843" y="105319"/>
                    <a:pt x="10120" y="105957"/>
                  </a:cubicBezTo>
                  <a:cubicBezTo>
                    <a:pt x="9397" y="105957"/>
                    <a:pt x="10120" y="106595"/>
                    <a:pt x="8674" y="106595"/>
                  </a:cubicBezTo>
                  <a:cubicBezTo>
                    <a:pt x="7951" y="106595"/>
                    <a:pt x="7228" y="105957"/>
                    <a:pt x="7228" y="105957"/>
                  </a:cubicBezTo>
                  <a:cubicBezTo>
                    <a:pt x="7228" y="105957"/>
                    <a:pt x="5060" y="105957"/>
                    <a:pt x="5060" y="105319"/>
                  </a:cubicBezTo>
                  <a:cubicBezTo>
                    <a:pt x="5060" y="105319"/>
                    <a:pt x="5060" y="104042"/>
                    <a:pt x="5060" y="104042"/>
                  </a:cubicBezTo>
                  <a:cubicBezTo>
                    <a:pt x="5060" y="103404"/>
                    <a:pt x="5783" y="103404"/>
                    <a:pt x="5783" y="103404"/>
                  </a:cubicBezTo>
                  <a:cubicBezTo>
                    <a:pt x="5060" y="102765"/>
                    <a:pt x="5060" y="102765"/>
                    <a:pt x="5060" y="102765"/>
                  </a:cubicBezTo>
                  <a:cubicBezTo>
                    <a:pt x="5060" y="102765"/>
                    <a:pt x="5060" y="102765"/>
                    <a:pt x="4337" y="102765"/>
                  </a:cubicBezTo>
                  <a:cubicBezTo>
                    <a:pt x="4337" y="102765"/>
                    <a:pt x="2891" y="103404"/>
                    <a:pt x="2891" y="103404"/>
                  </a:cubicBezTo>
                  <a:cubicBezTo>
                    <a:pt x="2891" y="103404"/>
                    <a:pt x="2891" y="103404"/>
                    <a:pt x="2168" y="103404"/>
                  </a:cubicBezTo>
                  <a:cubicBezTo>
                    <a:pt x="2168" y="103404"/>
                    <a:pt x="1445" y="103404"/>
                    <a:pt x="1445" y="103404"/>
                  </a:cubicBezTo>
                  <a:cubicBezTo>
                    <a:pt x="1445" y="103404"/>
                    <a:pt x="1445" y="102765"/>
                    <a:pt x="1445" y="102127"/>
                  </a:cubicBezTo>
                  <a:cubicBezTo>
                    <a:pt x="1445" y="102127"/>
                    <a:pt x="1445" y="101489"/>
                    <a:pt x="1445" y="101489"/>
                  </a:cubicBezTo>
                  <a:cubicBezTo>
                    <a:pt x="1445" y="101489"/>
                    <a:pt x="1445" y="101489"/>
                    <a:pt x="1445" y="101489"/>
                  </a:cubicBezTo>
                  <a:cubicBezTo>
                    <a:pt x="1445" y="100851"/>
                    <a:pt x="0" y="100851"/>
                    <a:pt x="1445" y="100212"/>
                  </a:cubicBezTo>
                  <a:cubicBezTo>
                    <a:pt x="2891" y="100212"/>
                    <a:pt x="2891" y="100212"/>
                    <a:pt x="3614" y="100212"/>
                  </a:cubicBezTo>
                  <a:cubicBezTo>
                    <a:pt x="3614" y="100212"/>
                    <a:pt x="4337" y="100212"/>
                    <a:pt x="4337" y="100212"/>
                  </a:cubicBezTo>
                  <a:cubicBezTo>
                    <a:pt x="4337" y="100212"/>
                    <a:pt x="5060" y="99574"/>
                    <a:pt x="5060" y="99574"/>
                  </a:cubicBezTo>
                  <a:cubicBezTo>
                    <a:pt x="4337" y="98936"/>
                    <a:pt x="4337" y="98936"/>
                    <a:pt x="4337" y="98936"/>
                  </a:cubicBezTo>
                  <a:cubicBezTo>
                    <a:pt x="4337" y="98297"/>
                    <a:pt x="4337" y="98297"/>
                    <a:pt x="5060" y="98297"/>
                  </a:cubicBezTo>
                  <a:cubicBezTo>
                    <a:pt x="5783" y="98297"/>
                    <a:pt x="5783" y="97659"/>
                    <a:pt x="6506" y="97659"/>
                  </a:cubicBezTo>
                  <a:cubicBezTo>
                    <a:pt x="6506" y="97659"/>
                    <a:pt x="7228" y="97659"/>
                    <a:pt x="7951" y="97659"/>
                  </a:cubicBezTo>
                  <a:cubicBezTo>
                    <a:pt x="7951" y="97659"/>
                    <a:pt x="7951" y="97021"/>
                    <a:pt x="9397" y="97021"/>
                  </a:cubicBezTo>
                  <a:cubicBezTo>
                    <a:pt x="10120" y="97021"/>
                    <a:pt x="10843" y="97021"/>
                    <a:pt x="11566" y="97021"/>
                  </a:cubicBezTo>
                  <a:cubicBezTo>
                    <a:pt x="11566" y="97021"/>
                    <a:pt x="13012" y="97021"/>
                    <a:pt x="13012" y="97021"/>
                  </a:cubicBezTo>
                  <a:cubicBezTo>
                    <a:pt x="13012" y="97021"/>
                    <a:pt x="14457" y="96382"/>
                    <a:pt x="14457" y="96382"/>
                  </a:cubicBezTo>
                  <a:cubicBezTo>
                    <a:pt x="15180" y="95744"/>
                    <a:pt x="15180" y="95744"/>
                    <a:pt x="15180" y="95744"/>
                  </a:cubicBezTo>
                  <a:cubicBezTo>
                    <a:pt x="15180" y="95744"/>
                    <a:pt x="15180" y="95744"/>
                    <a:pt x="15903" y="95744"/>
                  </a:cubicBezTo>
                  <a:cubicBezTo>
                    <a:pt x="16626" y="95744"/>
                    <a:pt x="16626" y="95744"/>
                    <a:pt x="17349" y="95744"/>
                  </a:cubicBezTo>
                  <a:cubicBezTo>
                    <a:pt x="17349" y="95744"/>
                    <a:pt x="18072" y="95744"/>
                    <a:pt x="18072" y="95744"/>
                  </a:cubicBezTo>
                  <a:cubicBezTo>
                    <a:pt x="18072" y="95106"/>
                    <a:pt x="18072" y="95106"/>
                    <a:pt x="18072" y="94468"/>
                  </a:cubicBezTo>
                  <a:cubicBezTo>
                    <a:pt x="17349" y="94468"/>
                    <a:pt x="17349" y="94468"/>
                    <a:pt x="16626" y="94468"/>
                  </a:cubicBezTo>
                  <a:cubicBezTo>
                    <a:pt x="15903" y="95106"/>
                    <a:pt x="15180" y="95106"/>
                    <a:pt x="15180" y="94468"/>
                  </a:cubicBezTo>
                  <a:cubicBezTo>
                    <a:pt x="15180" y="94468"/>
                    <a:pt x="15180" y="94468"/>
                    <a:pt x="14457" y="94468"/>
                  </a:cubicBezTo>
                  <a:cubicBezTo>
                    <a:pt x="13734" y="94468"/>
                    <a:pt x="13012" y="94468"/>
                    <a:pt x="13012" y="94468"/>
                  </a:cubicBezTo>
                  <a:cubicBezTo>
                    <a:pt x="13012" y="94468"/>
                    <a:pt x="12289" y="94468"/>
                    <a:pt x="11566" y="94468"/>
                  </a:cubicBezTo>
                  <a:cubicBezTo>
                    <a:pt x="10120" y="93829"/>
                    <a:pt x="10120" y="93829"/>
                    <a:pt x="9397" y="93829"/>
                  </a:cubicBezTo>
                  <a:cubicBezTo>
                    <a:pt x="8674" y="93829"/>
                    <a:pt x="7951" y="93829"/>
                    <a:pt x="7951" y="93829"/>
                  </a:cubicBezTo>
                  <a:cubicBezTo>
                    <a:pt x="7951" y="93829"/>
                    <a:pt x="9397" y="93829"/>
                    <a:pt x="7228" y="93191"/>
                  </a:cubicBezTo>
                  <a:cubicBezTo>
                    <a:pt x="5060" y="92553"/>
                    <a:pt x="5060" y="92553"/>
                    <a:pt x="5060" y="92553"/>
                  </a:cubicBezTo>
                  <a:cubicBezTo>
                    <a:pt x="4337" y="92553"/>
                    <a:pt x="4337" y="92553"/>
                    <a:pt x="4337" y="92553"/>
                  </a:cubicBezTo>
                  <a:cubicBezTo>
                    <a:pt x="3614" y="92553"/>
                    <a:pt x="3614" y="93191"/>
                    <a:pt x="2891" y="92553"/>
                  </a:cubicBezTo>
                  <a:cubicBezTo>
                    <a:pt x="2891" y="92553"/>
                    <a:pt x="2168" y="91914"/>
                    <a:pt x="2168" y="91914"/>
                  </a:cubicBezTo>
                  <a:cubicBezTo>
                    <a:pt x="2168" y="91276"/>
                    <a:pt x="2168" y="91276"/>
                    <a:pt x="2891" y="90638"/>
                  </a:cubicBezTo>
                  <a:cubicBezTo>
                    <a:pt x="2891" y="90638"/>
                    <a:pt x="4337" y="90000"/>
                    <a:pt x="4337" y="90000"/>
                  </a:cubicBezTo>
                  <a:cubicBezTo>
                    <a:pt x="4337" y="90638"/>
                    <a:pt x="4337" y="90638"/>
                    <a:pt x="4337" y="90638"/>
                  </a:cubicBezTo>
                  <a:cubicBezTo>
                    <a:pt x="4337" y="90638"/>
                    <a:pt x="4337" y="91276"/>
                    <a:pt x="5060" y="90638"/>
                  </a:cubicBezTo>
                  <a:cubicBezTo>
                    <a:pt x="5060" y="90638"/>
                    <a:pt x="5783" y="89361"/>
                    <a:pt x="5783" y="89361"/>
                  </a:cubicBezTo>
                  <a:cubicBezTo>
                    <a:pt x="5783" y="89361"/>
                    <a:pt x="5060" y="89361"/>
                    <a:pt x="5783" y="88723"/>
                  </a:cubicBezTo>
                  <a:cubicBezTo>
                    <a:pt x="6506" y="88723"/>
                    <a:pt x="6506" y="88723"/>
                    <a:pt x="7228" y="88723"/>
                  </a:cubicBezTo>
                  <a:cubicBezTo>
                    <a:pt x="7228" y="88723"/>
                    <a:pt x="8674" y="88723"/>
                    <a:pt x="9397" y="88723"/>
                  </a:cubicBezTo>
                  <a:cubicBezTo>
                    <a:pt x="9397" y="88085"/>
                    <a:pt x="10843" y="88085"/>
                    <a:pt x="10843" y="88085"/>
                  </a:cubicBezTo>
                  <a:cubicBezTo>
                    <a:pt x="10843" y="88085"/>
                    <a:pt x="11566" y="88723"/>
                    <a:pt x="10843" y="89361"/>
                  </a:cubicBezTo>
                  <a:cubicBezTo>
                    <a:pt x="10843" y="89361"/>
                    <a:pt x="10120" y="89361"/>
                    <a:pt x="10843" y="90000"/>
                  </a:cubicBezTo>
                  <a:cubicBezTo>
                    <a:pt x="11566" y="90000"/>
                    <a:pt x="12289" y="90000"/>
                    <a:pt x="12289" y="90000"/>
                  </a:cubicBezTo>
                  <a:cubicBezTo>
                    <a:pt x="12289" y="90000"/>
                    <a:pt x="13012" y="89361"/>
                    <a:pt x="13012" y="89361"/>
                  </a:cubicBezTo>
                  <a:cubicBezTo>
                    <a:pt x="13734" y="89361"/>
                    <a:pt x="13012" y="88723"/>
                    <a:pt x="13734" y="88723"/>
                  </a:cubicBezTo>
                  <a:cubicBezTo>
                    <a:pt x="14457" y="89361"/>
                    <a:pt x="14457" y="90000"/>
                    <a:pt x="14457" y="90000"/>
                  </a:cubicBezTo>
                  <a:cubicBezTo>
                    <a:pt x="14457" y="90000"/>
                    <a:pt x="14457" y="90000"/>
                    <a:pt x="14457" y="90638"/>
                  </a:cubicBezTo>
                  <a:cubicBezTo>
                    <a:pt x="15180" y="90638"/>
                    <a:pt x="15903" y="90638"/>
                    <a:pt x="15903" y="91276"/>
                  </a:cubicBezTo>
                  <a:cubicBezTo>
                    <a:pt x="15903" y="91276"/>
                    <a:pt x="15180" y="91276"/>
                    <a:pt x="16626" y="91914"/>
                  </a:cubicBezTo>
                  <a:cubicBezTo>
                    <a:pt x="17349" y="91914"/>
                    <a:pt x="18072" y="91914"/>
                    <a:pt x="18072" y="91914"/>
                  </a:cubicBezTo>
                  <a:cubicBezTo>
                    <a:pt x="18072" y="91914"/>
                    <a:pt x="18795" y="91914"/>
                    <a:pt x="18795" y="91276"/>
                  </a:cubicBezTo>
                  <a:cubicBezTo>
                    <a:pt x="18072" y="90638"/>
                    <a:pt x="18072" y="90000"/>
                    <a:pt x="18072" y="90000"/>
                  </a:cubicBezTo>
                  <a:cubicBezTo>
                    <a:pt x="18072" y="90000"/>
                    <a:pt x="18795" y="89361"/>
                    <a:pt x="18795" y="89361"/>
                  </a:cubicBezTo>
                  <a:cubicBezTo>
                    <a:pt x="18795" y="88723"/>
                    <a:pt x="18795" y="87446"/>
                    <a:pt x="18795" y="87446"/>
                  </a:cubicBezTo>
                  <a:cubicBezTo>
                    <a:pt x="18795" y="87446"/>
                    <a:pt x="19518" y="86808"/>
                    <a:pt x="18795" y="86808"/>
                  </a:cubicBezTo>
                  <a:cubicBezTo>
                    <a:pt x="18072" y="86808"/>
                    <a:pt x="18072" y="86170"/>
                    <a:pt x="18072" y="86170"/>
                  </a:cubicBezTo>
                  <a:cubicBezTo>
                    <a:pt x="17349" y="86170"/>
                    <a:pt x="17349" y="85531"/>
                    <a:pt x="17349" y="85531"/>
                  </a:cubicBezTo>
                  <a:cubicBezTo>
                    <a:pt x="19518" y="85531"/>
                    <a:pt x="19518" y="85531"/>
                    <a:pt x="19518" y="85531"/>
                  </a:cubicBezTo>
                  <a:cubicBezTo>
                    <a:pt x="20963" y="85531"/>
                    <a:pt x="20963" y="85531"/>
                    <a:pt x="20963" y="85531"/>
                  </a:cubicBezTo>
                  <a:cubicBezTo>
                    <a:pt x="22409" y="84893"/>
                    <a:pt x="22409" y="84893"/>
                    <a:pt x="22409" y="84893"/>
                  </a:cubicBezTo>
                  <a:cubicBezTo>
                    <a:pt x="22409" y="84893"/>
                    <a:pt x="23132" y="85531"/>
                    <a:pt x="23132" y="84893"/>
                  </a:cubicBezTo>
                  <a:cubicBezTo>
                    <a:pt x="23132" y="84893"/>
                    <a:pt x="23855" y="84255"/>
                    <a:pt x="23855" y="84255"/>
                  </a:cubicBezTo>
                  <a:cubicBezTo>
                    <a:pt x="25301" y="84255"/>
                    <a:pt x="25301" y="84255"/>
                    <a:pt x="25301" y="84255"/>
                  </a:cubicBezTo>
                  <a:cubicBezTo>
                    <a:pt x="25301" y="84255"/>
                    <a:pt x="24578" y="83617"/>
                    <a:pt x="24578" y="83617"/>
                  </a:cubicBezTo>
                  <a:cubicBezTo>
                    <a:pt x="25301" y="83617"/>
                    <a:pt x="25301" y="82340"/>
                    <a:pt x="25301" y="82340"/>
                  </a:cubicBezTo>
                  <a:cubicBezTo>
                    <a:pt x="25301" y="82340"/>
                    <a:pt x="26024" y="81702"/>
                    <a:pt x="26746" y="82340"/>
                  </a:cubicBezTo>
                  <a:cubicBezTo>
                    <a:pt x="26746" y="82340"/>
                    <a:pt x="28192" y="82340"/>
                    <a:pt x="28915" y="82978"/>
                  </a:cubicBezTo>
                  <a:cubicBezTo>
                    <a:pt x="28915" y="82978"/>
                    <a:pt x="29638" y="82978"/>
                    <a:pt x="29638" y="82978"/>
                  </a:cubicBezTo>
                  <a:cubicBezTo>
                    <a:pt x="31084" y="82978"/>
                    <a:pt x="31084" y="82978"/>
                    <a:pt x="31084" y="82978"/>
                  </a:cubicBezTo>
                  <a:cubicBezTo>
                    <a:pt x="31084" y="82978"/>
                    <a:pt x="32530" y="83617"/>
                    <a:pt x="32530" y="83617"/>
                  </a:cubicBezTo>
                  <a:cubicBezTo>
                    <a:pt x="32530" y="83617"/>
                    <a:pt x="33975" y="84255"/>
                    <a:pt x="34698" y="84255"/>
                  </a:cubicBezTo>
                  <a:cubicBezTo>
                    <a:pt x="34698" y="84255"/>
                    <a:pt x="35421" y="83617"/>
                    <a:pt x="35421" y="83617"/>
                  </a:cubicBezTo>
                  <a:cubicBezTo>
                    <a:pt x="35421" y="83617"/>
                    <a:pt x="35421" y="82978"/>
                    <a:pt x="36144" y="83617"/>
                  </a:cubicBezTo>
                  <a:cubicBezTo>
                    <a:pt x="36867" y="83617"/>
                    <a:pt x="37590" y="83617"/>
                    <a:pt x="38313" y="83617"/>
                  </a:cubicBezTo>
                  <a:cubicBezTo>
                    <a:pt x="38313" y="82978"/>
                    <a:pt x="38313" y="82978"/>
                    <a:pt x="39036" y="82978"/>
                  </a:cubicBezTo>
                  <a:cubicBezTo>
                    <a:pt x="39759" y="83617"/>
                    <a:pt x="40481" y="83617"/>
                    <a:pt x="40481" y="83617"/>
                  </a:cubicBezTo>
                  <a:cubicBezTo>
                    <a:pt x="41204" y="83617"/>
                    <a:pt x="42650" y="82978"/>
                    <a:pt x="42650" y="82978"/>
                  </a:cubicBezTo>
                  <a:cubicBezTo>
                    <a:pt x="42650" y="82978"/>
                    <a:pt x="41927" y="82340"/>
                    <a:pt x="42650" y="82978"/>
                  </a:cubicBezTo>
                  <a:cubicBezTo>
                    <a:pt x="43373" y="82978"/>
                    <a:pt x="44096" y="82340"/>
                    <a:pt x="44096" y="82340"/>
                  </a:cubicBezTo>
                  <a:cubicBezTo>
                    <a:pt x="42650" y="81702"/>
                    <a:pt x="42650" y="81702"/>
                    <a:pt x="42650" y="81702"/>
                  </a:cubicBezTo>
                  <a:cubicBezTo>
                    <a:pt x="42650" y="81702"/>
                    <a:pt x="43373" y="80425"/>
                    <a:pt x="43373" y="80425"/>
                  </a:cubicBezTo>
                  <a:cubicBezTo>
                    <a:pt x="43373" y="80425"/>
                    <a:pt x="42650" y="79787"/>
                    <a:pt x="42650" y="79787"/>
                  </a:cubicBezTo>
                  <a:cubicBezTo>
                    <a:pt x="42650" y="79787"/>
                    <a:pt x="41927" y="79787"/>
                    <a:pt x="41927" y="80425"/>
                  </a:cubicBezTo>
                  <a:cubicBezTo>
                    <a:pt x="41927" y="81063"/>
                    <a:pt x="41204" y="81702"/>
                    <a:pt x="40481" y="81702"/>
                  </a:cubicBezTo>
                  <a:cubicBezTo>
                    <a:pt x="40481" y="81702"/>
                    <a:pt x="39759" y="82340"/>
                    <a:pt x="39036" y="82340"/>
                  </a:cubicBezTo>
                  <a:cubicBezTo>
                    <a:pt x="39036" y="82340"/>
                    <a:pt x="38313" y="82978"/>
                    <a:pt x="38313" y="82978"/>
                  </a:cubicBezTo>
                  <a:cubicBezTo>
                    <a:pt x="38313" y="82978"/>
                    <a:pt x="38313" y="83617"/>
                    <a:pt x="36867" y="82978"/>
                  </a:cubicBezTo>
                  <a:cubicBezTo>
                    <a:pt x="36144" y="82340"/>
                    <a:pt x="35421" y="82340"/>
                    <a:pt x="35421" y="82340"/>
                  </a:cubicBezTo>
                  <a:cubicBezTo>
                    <a:pt x="35421" y="82340"/>
                    <a:pt x="35421" y="81702"/>
                    <a:pt x="34698" y="82340"/>
                  </a:cubicBezTo>
                  <a:cubicBezTo>
                    <a:pt x="33253" y="82340"/>
                    <a:pt x="33975" y="82978"/>
                    <a:pt x="33253" y="82340"/>
                  </a:cubicBezTo>
                  <a:cubicBezTo>
                    <a:pt x="32530" y="82340"/>
                    <a:pt x="30361" y="82340"/>
                    <a:pt x="30361" y="81702"/>
                  </a:cubicBezTo>
                  <a:cubicBezTo>
                    <a:pt x="30361" y="81702"/>
                    <a:pt x="29638" y="81063"/>
                    <a:pt x="29638" y="81063"/>
                  </a:cubicBezTo>
                  <a:cubicBezTo>
                    <a:pt x="29638" y="81063"/>
                    <a:pt x="29638" y="79787"/>
                    <a:pt x="29638" y="79787"/>
                  </a:cubicBezTo>
                  <a:cubicBezTo>
                    <a:pt x="28915" y="80425"/>
                    <a:pt x="28192" y="81063"/>
                    <a:pt x="27469" y="81063"/>
                  </a:cubicBezTo>
                  <a:cubicBezTo>
                    <a:pt x="27469" y="81063"/>
                    <a:pt x="26024" y="81063"/>
                    <a:pt x="25301" y="81063"/>
                  </a:cubicBezTo>
                  <a:cubicBezTo>
                    <a:pt x="25301" y="81063"/>
                    <a:pt x="25301" y="81063"/>
                    <a:pt x="24578" y="81063"/>
                  </a:cubicBezTo>
                  <a:cubicBezTo>
                    <a:pt x="23855" y="81063"/>
                    <a:pt x="23132" y="81702"/>
                    <a:pt x="22409" y="81702"/>
                  </a:cubicBezTo>
                  <a:cubicBezTo>
                    <a:pt x="21686" y="81702"/>
                    <a:pt x="21686" y="81063"/>
                    <a:pt x="20963" y="81063"/>
                  </a:cubicBezTo>
                  <a:cubicBezTo>
                    <a:pt x="20240" y="81063"/>
                    <a:pt x="20240" y="81063"/>
                    <a:pt x="20240" y="81063"/>
                  </a:cubicBezTo>
                  <a:cubicBezTo>
                    <a:pt x="20240" y="81063"/>
                    <a:pt x="20240" y="81063"/>
                    <a:pt x="20240" y="81063"/>
                  </a:cubicBezTo>
                  <a:cubicBezTo>
                    <a:pt x="20240" y="81063"/>
                    <a:pt x="20240" y="79787"/>
                    <a:pt x="21686" y="79787"/>
                  </a:cubicBezTo>
                  <a:cubicBezTo>
                    <a:pt x="22409" y="79148"/>
                    <a:pt x="21686" y="79148"/>
                    <a:pt x="23132" y="79148"/>
                  </a:cubicBezTo>
                  <a:cubicBezTo>
                    <a:pt x="24578" y="79148"/>
                    <a:pt x="25301" y="79148"/>
                    <a:pt x="26024" y="78510"/>
                  </a:cubicBezTo>
                  <a:cubicBezTo>
                    <a:pt x="26746" y="77872"/>
                    <a:pt x="26746" y="77234"/>
                    <a:pt x="27469" y="77234"/>
                  </a:cubicBezTo>
                  <a:cubicBezTo>
                    <a:pt x="28192" y="76595"/>
                    <a:pt x="28192" y="75957"/>
                    <a:pt x="28915" y="76595"/>
                  </a:cubicBezTo>
                  <a:cubicBezTo>
                    <a:pt x="30361" y="76595"/>
                    <a:pt x="31807" y="76595"/>
                    <a:pt x="31807" y="76595"/>
                  </a:cubicBezTo>
                  <a:cubicBezTo>
                    <a:pt x="31807" y="76595"/>
                    <a:pt x="31807" y="75957"/>
                    <a:pt x="31807" y="75319"/>
                  </a:cubicBezTo>
                  <a:cubicBezTo>
                    <a:pt x="31807" y="75319"/>
                    <a:pt x="31807" y="75319"/>
                    <a:pt x="31807" y="74680"/>
                  </a:cubicBezTo>
                  <a:cubicBezTo>
                    <a:pt x="32530" y="74680"/>
                    <a:pt x="32530" y="74042"/>
                    <a:pt x="32530" y="74042"/>
                  </a:cubicBezTo>
                  <a:cubicBezTo>
                    <a:pt x="33253" y="74042"/>
                    <a:pt x="33253" y="73404"/>
                    <a:pt x="33975" y="73404"/>
                  </a:cubicBezTo>
                  <a:cubicBezTo>
                    <a:pt x="33975" y="72765"/>
                    <a:pt x="34698" y="72765"/>
                    <a:pt x="34698" y="72127"/>
                  </a:cubicBezTo>
                  <a:cubicBezTo>
                    <a:pt x="35421" y="72127"/>
                    <a:pt x="35421" y="71489"/>
                    <a:pt x="35421" y="71489"/>
                  </a:cubicBezTo>
                  <a:cubicBezTo>
                    <a:pt x="35421" y="71489"/>
                    <a:pt x="33253" y="70851"/>
                    <a:pt x="33253" y="70851"/>
                  </a:cubicBezTo>
                  <a:cubicBezTo>
                    <a:pt x="33975" y="70212"/>
                    <a:pt x="33975" y="70212"/>
                    <a:pt x="33975" y="70212"/>
                  </a:cubicBezTo>
                  <a:cubicBezTo>
                    <a:pt x="36867" y="68297"/>
                    <a:pt x="36867" y="68297"/>
                    <a:pt x="36867" y="68297"/>
                  </a:cubicBezTo>
                  <a:cubicBezTo>
                    <a:pt x="36867" y="68297"/>
                    <a:pt x="37590" y="67021"/>
                    <a:pt x="37590" y="67021"/>
                  </a:cubicBezTo>
                  <a:cubicBezTo>
                    <a:pt x="38313" y="67021"/>
                    <a:pt x="39036" y="66382"/>
                    <a:pt x="39036" y="66382"/>
                  </a:cubicBezTo>
                  <a:cubicBezTo>
                    <a:pt x="39759" y="65106"/>
                    <a:pt x="39759" y="65106"/>
                    <a:pt x="39759" y="65106"/>
                  </a:cubicBezTo>
                  <a:cubicBezTo>
                    <a:pt x="39759" y="65106"/>
                    <a:pt x="39759" y="64468"/>
                    <a:pt x="40481" y="65106"/>
                  </a:cubicBezTo>
                  <a:cubicBezTo>
                    <a:pt x="41204" y="65106"/>
                    <a:pt x="41204" y="65744"/>
                    <a:pt x="41927" y="65744"/>
                  </a:cubicBezTo>
                  <a:cubicBezTo>
                    <a:pt x="42650" y="66382"/>
                    <a:pt x="44819" y="66382"/>
                    <a:pt x="44819" y="66382"/>
                  </a:cubicBezTo>
                  <a:cubicBezTo>
                    <a:pt x="44096" y="65106"/>
                    <a:pt x="44096" y="65106"/>
                    <a:pt x="44096" y="65106"/>
                  </a:cubicBezTo>
                  <a:cubicBezTo>
                    <a:pt x="46987" y="65106"/>
                    <a:pt x="46987" y="65106"/>
                    <a:pt x="46987" y="65106"/>
                  </a:cubicBezTo>
                  <a:cubicBezTo>
                    <a:pt x="46987" y="66382"/>
                    <a:pt x="46987" y="66382"/>
                    <a:pt x="46987" y="66382"/>
                  </a:cubicBezTo>
                  <a:cubicBezTo>
                    <a:pt x="48433" y="65744"/>
                    <a:pt x="48433" y="65744"/>
                    <a:pt x="48433" y="65744"/>
                  </a:cubicBezTo>
                  <a:cubicBezTo>
                    <a:pt x="47710" y="64468"/>
                    <a:pt x="47710" y="64468"/>
                    <a:pt x="47710" y="64468"/>
                  </a:cubicBezTo>
                  <a:cubicBezTo>
                    <a:pt x="47710" y="64468"/>
                    <a:pt x="49156" y="64468"/>
                    <a:pt x="49156" y="64468"/>
                  </a:cubicBezTo>
                  <a:cubicBezTo>
                    <a:pt x="48433" y="64468"/>
                    <a:pt x="46987" y="63191"/>
                    <a:pt x="46987" y="63191"/>
                  </a:cubicBezTo>
                  <a:cubicBezTo>
                    <a:pt x="47710" y="61914"/>
                    <a:pt x="47710" y="61914"/>
                    <a:pt x="47710" y="61914"/>
                  </a:cubicBezTo>
                  <a:cubicBezTo>
                    <a:pt x="46265" y="61914"/>
                    <a:pt x="46265" y="61914"/>
                    <a:pt x="46265" y="61914"/>
                  </a:cubicBezTo>
                  <a:cubicBezTo>
                    <a:pt x="46265" y="61914"/>
                    <a:pt x="43373" y="61914"/>
                    <a:pt x="42650" y="61914"/>
                  </a:cubicBezTo>
                  <a:cubicBezTo>
                    <a:pt x="41927" y="61276"/>
                    <a:pt x="41927" y="61276"/>
                    <a:pt x="41204" y="61276"/>
                  </a:cubicBezTo>
                  <a:cubicBezTo>
                    <a:pt x="40481" y="61276"/>
                    <a:pt x="39759" y="61276"/>
                    <a:pt x="39036" y="61276"/>
                  </a:cubicBezTo>
                  <a:cubicBezTo>
                    <a:pt x="38313" y="61276"/>
                    <a:pt x="37590" y="61276"/>
                    <a:pt x="36867" y="61276"/>
                  </a:cubicBezTo>
                  <a:cubicBezTo>
                    <a:pt x="36867" y="61276"/>
                    <a:pt x="36144" y="61276"/>
                    <a:pt x="35421" y="61276"/>
                  </a:cubicBezTo>
                  <a:cubicBezTo>
                    <a:pt x="35421" y="60638"/>
                    <a:pt x="36144" y="60000"/>
                    <a:pt x="35421" y="60000"/>
                  </a:cubicBezTo>
                  <a:cubicBezTo>
                    <a:pt x="34698" y="60000"/>
                    <a:pt x="33975" y="58723"/>
                    <a:pt x="33253" y="59361"/>
                  </a:cubicBezTo>
                  <a:cubicBezTo>
                    <a:pt x="33253" y="59361"/>
                    <a:pt x="33253" y="59361"/>
                    <a:pt x="32530" y="59361"/>
                  </a:cubicBezTo>
                  <a:cubicBezTo>
                    <a:pt x="32530" y="60000"/>
                    <a:pt x="31807" y="60000"/>
                    <a:pt x="31807" y="60000"/>
                  </a:cubicBezTo>
                  <a:cubicBezTo>
                    <a:pt x="31084" y="59361"/>
                    <a:pt x="31084" y="60000"/>
                    <a:pt x="31807" y="59361"/>
                  </a:cubicBezTo>
                  <a:cubicBezTo>
                    <a:pt x="31807" y="58723"/>
                    <a:pt x="31084" y="57446"/>
                    <a:pt x="31807" y="57446"/>
                  </a:cubicBezTo>
                  <a:cubicBezTo>
                    <a:pt x="32530" y="58085"/>
                    <a:pt x="32530" y="58085"/>
                    <a:pt x="33253" y="58085"/>
                  </a:cubicBezTo>
                  <a:cubicBezTo>
                    <a:pt x="33253" y="58085"/>
                    <a:pt x="33975" y="58085"/>
                    <a:pt x="33975" y="58085"/>
                  </a:cubicBezTo>
                  <a:cubicBezTo>
                    <a:pt x="33975" y="57446"/>
                    <a:pt x="34698" y="56170"/>
                    <a:pt x="34698" y="56170"/>
                  </a:cubicBezTo>
                  <a:cubicBezTo>
                    <a:pt x="34698" y="56170"/>
                    <a:pt x="36867" y="56808"/>
                    <a:pt x="36144" y="56170"/>
                  </a:cubicBezTo>
                  <a:cubicBezTo>
                    <a:pt x="35421" y="55531"/>
                    <a:pt x="33975" y="54893"/>
                    <a:pt x="33975" y="54893"/>
                  </a:cubicBezTo>
                  <a:cubicBezTo>
                    <a:pt x="33975" y="54893"/>
                    <a:pt x="33253" y="54893"/>
                    <a:pt x="33253" y="55531"/>
                  </a:cubicBezTo>
                  <a:cubicBezTo>
                    <a:pt x="32530" y="56170"/>
                    <a:pt x="33253" y="56170"/>
                    <a:pt x="32530" y="56808"/>
                  </a:cubicBezTo>
                  <a:cubicBezTo>
                    <a:pt x="31807" y="56808"/>
                    <a:pt x="31807" y="56808"/>
                    <a:pt x="31084" y="56808"/>
                  </a:cubicBezTo>
                  <a:cubicBezTo>
                    <a:pt x="31084" y="56808"/>
                    <a:pt x="31084" y="56808"/>
                    <a:pt x="30361" y="56808"/>
                  </a:cubicBezTo>
                  <a:cubicBezTo>
                    <a:pt x="30361" y="56808"/>
                    <a:pt x="28915" y="56808"/>
                    <a:pt x="28915" y="56170"/>
                  </a:cubicBezTo>
                  <a:cubicBezTo>
                    <a:pt x="28915" y="56170"/>
                    <a:pt x="28915" y="56170"/>
                    <a:pt x="28915" y="55531"/>
                  </a:cubicBezTo>
                  <a:cubicBezTo>
                    <a:pt x="28915" y="54893"/>
                    <a:pt x="28915" y="54255"/>
                    <a:pt x="30361" y="54255"/>
                  </a:cubicBezTo>
                  <a:cubicBezTo>
                    <a:pt x="31084" y="54255"/>
                    <a:pt x="31084" y="54893"/>
                    <a:pt x="31084" y="54255"/>
                  </a:cubicBezTo>
                  <a:cubicBezTo>
                    <a:pt x="31084" y="54255"/>
                    <a:pt x="31084" y="53617"/>
                    <a:pt x="30361" y="53617"/>
                  </a:cubicBezTo>
                  <a:cubicBezTo>
                    <a:pt x="30361" y="52978"/>
                    <a:pt x="30361" y="52978"/>
                    <a:pt x="29638" y="52978"/>
                  </a:cubicBezTo>
                  <a:cubicBezTo>
                    <a:pt x="28915" y="52978"/>
                    <a:pt x="27469" y="53617"/>
                    <a:pt x="27469" y="53617"/>
                  </a:cubicBezTo>
                  <a:cubicBezTo>
                    <a:pt x="27469" y="53617"/>
                    <a:pt x="28192" y="53617"/>
                    <a:pt x="26746" y="53617"/>
                  </a:cubicBezTo>
                  <a:cubicBezTo>
                    <a:pt x="26024" y="52978"/>
                    <a:pt x="26746" y="52978"/>
                    <a:pt x="26024" y="52340"/>
                  </a:cubicBezTo>
                  <a:cubicBezTo>
                    <a:pt x="26024" y="51702"/>
                    <a:pt x="26024" y="51702"/>
                    <a:pt x="25301" y="51702"/>
                  </a:cubicBezTo>
                  <a:cubicBezTo>
                    <a:pt x="25301" y="51702"/>
                    <a:pt x="25301" y="51702"/>
                    <a:pt x="24578" y="51702"/>
                  </a:cubicBezTo>
                  <a:cubicBezTo>
                    <a:pt x="23855" y="51063"/>
                    <a:pt x="23132" y="51063"/>
                    <a:pt x="23132" y="50425"/>
                  </a:cubicBezTo>
                  <a:cubicBezTo>
                    <a:pt x="23132" y="49787"/>
                    <a:pt x="23132" y="49148"/>
                    <a:pt x="23855" y="49787"/>
                  </a:cubicBezTo>
                  <a:cubicBezTo>
                    <a:pt x="24578" y="49787"/>
                    <a:pt x="23855" y="49148"/>
                    <a:pt x="24578" y="49787"/>
                  </a:cubicBezTo>
                  <a:cubicBezTo>
                    <a:pt x="26024" y="50425"/>
                    <a:pt x="26024" y="50425"/>
                    <a:pt x="26024" y="50425"/>
                  </a:cubicBezTo>
                  <a:cubicBezTo>
                    <a:pt x="26024" y="50425"/>
                    <a:pt x="26746" y="50425"/>
                    <a:pt x="26024" y="49787"/>
                  </a:cubicBezTo>
                  <a:cubicBezTo>
                    <a:pt x="26024" y="49148"/>
                    <a:pt x="25301" y="48510"/>
                    <a:pt x="25301" y="48510"/>
                  </a:cubicBezTo>
                  <a:cubicBezTo>
                    <a:pt x="25301" y="48510"/>
                    <a:pt x="24578" y="48510"/>
                    <a:pt x="24578" y="47872"/>
                  </a:cubicBezTo>
                  <a:cubicBezTo>
                    <a:pt x="24578" y="47234"/>
                    <a:pt x="24578" y="47234"/>
                    <a:pt x="23855" y="46595"/>
                  </a:cubicBezTo>
                  <a:cubicBezTo>
                    <a:pt x="23855" y="46595"/>
                    <a:pt x="24578" y="46595"/>
                    <a:pt x="24578" y="46595"/>
                  </a:cubicBezTo>
                  <a:cubicBezTo>
                    <a:pt x="25301" y="46595"/>
                    <a:pt x="24578" y="46595"/>
                    <a:pt x="25301" y="46595"/>
                  </a:cubicBezTo>
                  <a:cubicBezTo>
                    <a:pt x="26746" y="46595"/>
                    <a:pt x="26024" y="46595"/>
                    <a:pt x="26746" y="46595"/>
                  </a:cubicBezTo>
                  <a:cubicBezTo>
                    <a:pt x="26746" y="46595"/>
                    <a:pt x="27469" y="46595"/>
                    <a:pt x="27469" y="46595"/>
                  </a:cubicBezTo>
                  <a:cubicBezTo>
                    <a:pt x="27469" y="47234"/>
                    <a:pt x="28192" y="45957"/>
                    <a:pt x="28192" y="45957"/>
                  </a:cubicBezTo>
                  <a:cubicBezTo>
                    <a:pt x="28192" y="45957"/>
                    <a:pt x="27469" y="45319"/>
                    <a:pt x="28192" y="45319"/>
                  </a:cubicBezTo>
                  <a:cubicBezTo>
                    <a:pt x="28915" y="45319"/>
                    <a:pt x="28915" y="45957"/>
                    <a:pt x="29638" y="45957"/>
                  </a:cubicBezTo>
                  <a:cubicBezTo>
                    <a:pt x="31084" y="45957"/>
                    <a:pt x="31084" y="46595"/>
                    <a:pt x="31807" y="46595"/>
                  </a:cubicBezTo>
                  <a:cubicBezTo>
                    <a:pt x="31807" y="45957"/>
                    <a:pt x="32530" y="46595"/>
                    <a:pt x="32530" y="45957"/>
                  </a:cubicBezTo>
                  <a:cubicBezTo>
                    <a:pt x="31807" y="45319"/>
                    <a:pt x="31807" y="45957"/>
                    <a:pt x="31807" y="45319"/>
                  </a:cubicBezTo>
                  <a:cubicBezTo>
                    <a:pt x="31084" y="44680"/>
                    <a:pt x="31084" y="45319"/>
                    <a:pt x="31084" y="44042"/>
                  </a:cubicBezTo>
                  <a:cubicBezTo>
                    <a:pt x="31807" y="43404"/>
                    <a:pt x="31807" y="42765"/>
                    <a:pt x="31807" y="42765"/>
                  </a:cubicBezTo>
                  <a:cubicBezTo>
                    <a:pt x="31807" y="42127"/>
                    <a:pt x="31807" y="42127"/>
                    <a:pt x="31807" y="42127"/>
                  </a:cubicBezTo>
                  <a:cubicBezTo>
                    <a:pt x="33253" y="40851"/>
                    <a:pt x="33253" y="40851"/>
                    <a:pt x="33253" y="40851"/>
                  </a:cubicBezTo>
                  <a:cubicBezTo>
                    <a:pt x="33253" y="40851"/>
                    <a:pt x="33975" y="40851"/>
                    <a:pt x="34698" y="40851"/>
                  </a:cubicBezTo>
                  <a:cubicBezTo>
                    <a:pt x="36144" y="40851"/>
                    <a:pt x="36867" y="41489"/>
                    <a:pt x="37590" y="41489"/>
                  </a:cubicBezTo>
                  <a:cubicBezTo>
                    <a:pt x="39036" y="41489"/>
                    <a:pt x="39759" y="41489"/>
                    <a:pt x="39759" y="41489"/>
                  </a:cubicBezTo>
                  <a:cubicBezTo>
                    <a:pt x="39036" y="40851"/>
                    <a:pt x="39036" y="40851"/>
                    <a:pt x="39036" y="40851"/>
                  </a:cubicBezTo>
                  <a:cubicBezTo>
                    <a:pt x="39036" y="40851"/>
                    <a:pt x="39036" y="40851"/>
                    <a:pt x="39036" y="40212"/>
                  </a:cubicBezTo>
                  <a:cubicBezTo>
                    <a:pt x="39759" y="40212"/>
                    <a:pt x="39759" y="40212"/>
                    <a:pt x="40481" y="40212"/>
                  </a:cubicBezTo>
                  <a:cubicBezTo>
                    <a:pt x="40481" y="40212"/>
                    <a:pt x="41204" y="38936"/>
                    <a:pt x="41204" y="38936"/>
                  </a:cubicBezTo>
                  <a:cubicBezTo>
                    <a:pt x="40481" y="38297"/>
                    <a:pt x="40481" y="38297"/>
                    <a:pt x="39759" y="37659"/>
                  </a:cubicBezTo>
                  <a:cubicBezTo>
                    <a:pt x="38313" y="37659"/>
                    <a:pt x="36144" y="37659"/>
                    <a:pt x="36144" y="37659"/>
                  </a:cubicBezTo>
                  <a:cubicBezTo>
                    <a:pt x="36144" y="37659"/>
                    <a:pt x="35421" y="37659"/>
                    <a:pt x="34698" y="37659"/>
                  </a:cubicBezTo>
                  <a:cubicBezTo>
                    <a:pt x="33975" y="37659"/>
                    <a:pt x="32530" y="37659"/>
                    <a:pt x="32530" y="37021"/>
                  </a:cubicBezTo>
                  <a:cubicBezTo>
                    <a:pt x="31807" y="37021"/>
                    <a:pt x="31807" y="37021"/>
                    <a:pt x="31807" y="35744"/>
                  </a:cubicBezTo>
                  <a:cubicBezTo>
                    <a:pt x="31807" y="35106"/>
                    <a:pt x="31084" y="35106"/>
                    <a:pt x="31084" y="35106"/>
                  </a:cubicBezTo>
                  <a:cubicBezTo>
                    <a:pt x="31807" y="33829"/>
                    <a:pt x="31807" y="33829"/>
                    <a:pt x="31807" y="33829"/>
                  </a:cubicBezTo>
                  <a:cubicBezTo>
                    <a:pt x="31807" y="33829"/>
                    <a:pt x="31084" y="33191"/>
                    <a:pt x="31084" y="33191"/>
                  </a:cubicBezTo>
                  <a:cubicBezTo>
                    <a:pt x="30361" y="33191"/>
                    <a:pt x="30361" y="33191"/>
                    <a:pt x="30361" y="33191"/>
                  </a:cubicBezTo>
                  <a:cubicBezTo>
                    <a:pt x="29638" y="33191"/>
                    <a:pt x="30361" y="33191"/>
                    <a:pt x="28915" y="32553"/>
                  </a:cubicBezTo>
                  <a:cubicBezTo>
                    <a:pt x="27469" y="32553"/>
                    <a:pt x="26746" y="31914"/>
                    <a:pt x="26746" y="31914"/>
                  </a:cubicBezTo>
                  <a:cubicBezTo>
                    <a:pt x="26746" y="31276"/>
                    <a:pt x="26746" y="31276"/>
                    <a:pt x="28192" y="31276"/>
                  </a:cubicBezTo>
                  <a:cubicBezTo>
                    <a:pt x="28915" y="31276"/>
                    <a:pt x="29638" y="31276"/>
                    <a:pt x="30361" y="31276"/>
                  </a:cubicBezTo>
                  <a:cubicBezTo>
                    <a:pt x="31084" y="31914"/>
                    <a:pt x="32530" y="31276"/>
                    <a:pt x="32530" y="31276"/>
                  </a:cubicBezTo>
                  <a:cubicBezTo>
                    <a:pt x="32530" y="31276"/>
                    <a:pt x="31807" y="31276"/>
                    <a:pt x="33253" y="31914"/>
                  </a:cubicBezTo>
                  <a:cubicBezTo>
                    <a:pt x="34698" y="32553"/>
                    <a:pt x="33975" y="32553"/>
                    <a:pt x="34698" y="32553"/>
                  </a:cubicBezTo>
                  <a:cubicBezTo>
                    <a:pt x="35421" y="32553"/>
                    <a:pt x="36144" y="31914"/>
                    <a:pt x="35421" y="31914"/>
                  </a:cubicBezTo>
                  <a:cubicBezTo>
                    <a:pt x="35421" y="31276"/>
                    <a:pt x="36144" y="31276"/>
                    <a:pt x="35421" y="31276"/>
                  </a:cubicBezTo>
                  <a:cubicBezTo>
                    <a:pt x="34698" y="30638"/>
                    <a:pt x="34698" y="30638"/>
                    <a:pt x="34698" y="30638"/>
                  </a:cubicBezTo>
                  <a:cubicBezTo>
                    <a:pt x="34698" y="30638"/>
                    <a:pt x="34698" y="30638"/>
                    <a:pt x="34698" y="30000"/>
                  </a:cubicBezTo>
                  <a:cubicBezTo>
                    <a:pt x="34698" y="29361"/>
                    <a:pt x="35421" y="28723"/>
                    <a:pt x="35421" y="28723"/>
                  </a:cubicBezTo>
                  <a:cubicBezTo>
                    <a:pt x="36144" y="28723"/>
                    <a:pt x="36144" y="28723"/>
                    <a:pt x="36144" y="28085"/>
                  </a:cubicBezTo>
                  <a:cubicBezTo>
                    <a:pt x="36144" y="28085"/>
                    <a:pt x="36144" y="27446"/>
                    <a:pt x="36144" y="27446"/>
                  </a:cubicBezTo>
                  <a:cubicBezTo>
                    <a:pt x="36144" y="26808"/>
                    <a:pt x="36867" y="26170"/>
                    <a:pt x="36867" y="26170"/>
                  </a:cubicBezTo>
                  <a:cubicBezTo>
                    <a:pt x="36867" y="26170"/>
                    <a:pt x="36144" y="25531"/>
                    <a:pt x="36144" y="25531"/>
                  </a:cubicBezTo>
                  <a:cubicBezTo>
                    <a:pt x="36144" y="25531"/>
                    <a:pt x="34698" y="25531"/>
                    <a:pt x="34698" y="26170"/>
                  </a:cubicBezTo>
                  <a:cubicBezTo>
                    <a:pt x="34698" y="26170"/>
                    <a:pt x="34698" y="26170"/>
                    <a:pt x="34698" y="26808"/>
                  </a:cubicBezTo>
                  <a:cubicBezTo>
                    <a:pt x="33975" y="26808"/>
                    <a:pt x="33975" y="26808"/>
                    <a:pt x="33253" y="26808"/>
                  </a:cubicBezTo>
                  <a:cubicBezTo>
                    <a:pt x="33253" y="27446"/>
                    <a:pt x="33253" y="27446"/>
                    <a:pt x="33253" y="27446"/>
                  </a:cubicBezTo>
                  <a:cubicBezTo>
                    <a:pt x="33253" y="28085"/>
                    <a:pt x="32530" y="28723"/>
                    <a:pt x="32530" y="28723"/>
                  </a:cubicBezTo>
                  <a:cubicBezTo>
                    <a:pt x="32530" y="28723"/>
                    <a:pt x="31807" y="27446"/>
                    <a:pt x="31807" y="26808"/>
                  </a:cubicBezTo>
                  <a:cubicBezTo>
                    <a:pt x="31807" y="26808"/>
                    <a:pt x="32530" y="26170"/>
                    <a:pt x="33253" y="26170"/>
                  </a:cubicBezTo>
                  <a:cubicBezTo>
                    <a:pt x="33975" y="26170"/>
                    <a:pt x="33975" y="26170"/>
                    <a:pt x="33975" y="25531"/>
                  </a:cubicBezTo>
                  <a:cubicBezTo>
                    <a:pt x="33975" y="25531"/>
                    <a:pt x="33975" y="25531"/>
                    <a:pt x="33975" y="24893"/>
                  </a:cubicBezTo>
                  <a:cubicBezTo>
                    <a:pt x="33975" y="24255"/>
                    <a:pt x="33975" y="24255"/>
                    <a:pt x="33975" y="24255"/>
                  </a:cubicBezTo>
                  <a:cubicBezTo>
                    <a:pt x="34698" y="23617"/>
                    <a:pt x="35421" y="22978"/>
                    <a:pt x="36144" y="22978"/>
                  </a:cubicBezTo>
                  <a:cubicBezTo>
                    <a:pt x="36144" y="22978"/>
                    <a:pt x="35421" y="21702"/>
                    <a:pt x="36867" y="22978"/>
                  </a:cubicBezTo>
                  <a:cubicBezTo>
                    <a:pt x="37590" y="23617"/>
                    <a:pt x="37590" y="23617"/>
                    <a:pt x="38313" y="24255"/>
                  </a:cubicBezTo>
                  <a:cubicBezTo>
                    <a:pt x="39036" y="24255"/>
                    <a:pt x="40481" y="24893"/>
                    <a:pt x="40481" y="24255"/>
                  </a:cubicBezTo>
                  <a:cubicBezTo>
                    <a:pt x="40481" y="24255"/>
                    <a:pt x="40481" y="23617"/>
                    <a:pt x="40481" y="22978"/>
                  </a:cubicBezTo>
                  <a:cubicBezTo>
                    <a:pt x="40481" y="22978"/>
                    <a:pt x="39759" y="22978"/>
                    <a:pt x="40481" y="22340"/>
                  </a:cubicBezTo>
                  <a:cubicBezTo>
                    <a:pt x="40481" y="22340"/>
                    <a:pt x="40481" y="22340"/>
                    <a:pt x="41204" y="22340"/>
                  </a:cubicBezTo>
                  <a:cubicBezTo>
                    <a:pt x="42650" y="22978"/>
                    <a:pt x="41927" y="22978"/>
                    <a:pt x="42650" y="23617"/>
                  </a:cubicBezTo>
                  <a:cubicBezTo>
                    <a:pt x="44096" y="24255"/>
                    <a:pt x="44096" y="24255"/>
                    <a:pt x="44096" y="24255"/>
                  </a:cubicBezTo>
                  <a:cubicBezTo>
                    <a:pt x="44819" y="24255"/>
                    <a:pt x="44819" y="24255"/>
                    <a:pt x="45542" y="24255"/>
                  </a:cubicBezTo>
                  <a:cubicBezTo>
                    <a:pt x="46265" y="24255"/>
                    <a:pt x="45542" y="23617"/>
                    <a:pt x="46987" y="24893"/>
                  </a:cubicBezTo>
                  <a:cubicBezTo>
                    <a:pt x="47710" y="25531"/>
                    <a:pt x="47710" y="25531"/>
                    <a:pt x="48433" y="25531"/>
                  </a:cubicBezTo>
                  <a:cubicBezTo>
                    <a:pt x="49156" y="26170"/>
                    <a:pt x="50602" y="25531"/>
                    <a:pt x="50602" y="25531"/>
                  </a:cubicBezTo>
                  <a:cubicBezTo>
                    <a:pt x="50602" y="25531"/>
                    <a:pt x="50602" y="24893"/>
                    <a:pt x="51325" y="26170"/>
                  </a:cubicBezTo>
                  <a:cubicBezTo>
                    <a:pt x="52048" y="27446"/>
                    <a:pt x="52771" y="27446"/>
                    <a:pt x="52771" y="27446"/>
                  </a:cubicBezTo>
                  <a:cubicBezTo>
                    <a:pt x="52771" y="28085"/>
                    <a:pt x="53493" y="28723"/>
                    <a:pt x="53493" y="28723"/>
                  </a:cubicBezTo>
                  <a:cubicBezTo>
                    <a:pt x="53493" y="28723"/>
                    <a:pt x="53493" y="28723"/>
                    <a:pt x="53493" y="29361"/>
                  </a:cubicBezTo>
                  <a:cubicBezTo>
                    <a:pt x="53493" y="29361"/>
                    <a:pt x="53493" y="30000"/>
                    <a:pt x="54216" y="30000"/>
                  </a:cubicBezTo>
                  <a:cubicBezTo>
                    <a:pt x="54216" y="30000"/>
                    <a:pt x="54939" y="30000"/>
                    <a:pt x="54939" y="30000"/>
                  </a:cubicBezTo>
                  <a:cubicBezTo>
                    <a:pt x="54939" y="30000"/>
                    <a:pt x="55662" y="29361"/>
                    <a:pt x="55662" y="29361"/>
                  </a:cubicBezTo>
                  <a:cubicBezTo>
                    <a:pt x="55662" y="29361"/>
                    <a:pt x="57108" y="28723"/>
                    <a:pt x="57108" y="28723"/>
                  </a:cubicBezTo>
                  <a:cubicBezTo>
                    <a:pt x="57108" y="28723"/>
                    <a:pt x="57108" y="28085"/>
                    <a:pt x="58554" y="28723"/>
                  </a:cubicBezTo>
                  <a:cubicBezTo>
                    <a:pt x="59277" y="28723"/>
                    <a:pt x="60722" y="29361"/>
                    <a:pt x="60722" y="29361"/>
                  </a:cubicBezTo>
                  <a:cubicBezTo>
                    <a:pt x="60722" y="29361"/>
                    <a:pt x="60722" y="30000"/>
                    <a:pt x="60722" y="30000"/>
                  </a:cubicBezTo>
                  <a:cubicBezTo>
                    <a:pt x="61445" y="30000"/>
                    <a:pt x="63614" y="30000"/>
                    <a:pt x="63614" y="30000"/>
                  </a:cubicBezTo>
                  <a:cubicBezTo>
                    <a:pt x="64337" y="30638"/>
                    <a:pt x="64337" y="30638"/>
                    <a:pt x="64337" y="30638"/>
                  </a:cubicBezTo>
                  <a:cubicBezTo>
                    <a:pt x="64337" y="30638"/>
                    <a:pt x="65060" y="31276"/>
                    <a:pt x="65060" y="31276"/>
                  </a:cubicBezTo>
                  <a:cubicBezTo>
                    <a:pt x="65060" y="31914"/>
                    <a:pt x="65783" y="33191"/>
                    <a:pt x="65783" y="33191"/>
                  </a:cubicBezTo>
                  <a:cubicBezTo>
                    <a:pt x="67951" y="33829"/>
                    <a:pt x="67951" y="33829"/>
                    <a:pt x="67951" y="33829"/>
                  </a:cubicBezTo>
                  <a:cubicBezTo>
                    <a:pt x="66506" y="31914"/>
                    <a:pt x="66506" y="31914"/>
                    <a:pt x="66506" y="31914"/>
                  </a:cubicBezTo>
                  <a:cubicBezTo>
                    <a:pt x="66506" y="31914"/>
                    <a:pt x="65060" y="30638"/>
                    <a:pt x="66506" y="30638"/>
                  </a:cubicBezTo>
                  <a:cubicBezTo>
                    <a:pt x="67951" y="30638"/>
                    <a:pt x="68674" y="30000"/>
                    <a:pt x="68674" y="30000"/>
                  </a:cubicBezTo>
                  <a:cubicBezTo>
                    <a:pt x="68674" y="29361"/>
                    <a:pt x="68674" y="29361"/>
                    <a:pt x="68674" y="29361"/>
                  </a:cubicBezTo>
                  <a:cubicBezTo>
                    <a:pt x="66506" y="29361"/>
                    <a:pt x="66506" y="29361"/>
                    <a:pt x="66506" y="29361"/>
                  </a:cubicBezTo>
                  <a:cubicBezTo>
                    <a:pt x="66506" y="29361"/>
                    <a:pt x="66506" y="28085"/>
                    <a:pt x="66506" y="28085"/>
                  </a:cubicBezTo>
                  <a:cubicBezTo>
                    <a:pt x="67228" y="28085"/>
                    <a:pt x="67951" y="26808"/>
                    <a:pt x="69397" y="26808"/>
                  </a:cubicBezTo>
                  <a:cubicBezTo>
                    <a:pt x="70843" y="26808"/>
                    <a:pt x="72289" y="26170"/>
                    <a:pt x="72289" y="26170"/>
                  </a:cubicBezTo>
                  <a:cubicBezTo>
                    <a:pt x="72289" y="26170"/>
                    <a:pt x="72289" y="25531"/>
                    <a:pt x="73734" y="25531"/>
                  </a:cubicBezTo>
                  <a:cubicBezTo>
                    <a:pt x="75180" y="25531"/>
                    <a:pt x="75903" y="25531"/>
                    <a:pt x="76626" y="25531"/>
                  </a:cubicBezTo>
                  <a:cubicBezTo>
                    <a:pt x="77349" y="25531"/>
                    <a:pt x="77349" y="25531"/>
                    <a:pt x="77349" y="24893"/>
                  </a:cubicBezTo>
                  <a:cubicBezTo>
                    <a:pt x="77349" y="24255"/>
                    <a:pt x="76626" y="24255"/>
                    <a:pt x="78072" y="23617"/>
                  </a:cubicBezTo>
                  <a:cubicBezTo>
                    <a:pt x="78795" y="23617"/>
                    <a:pt x="79518" y="22978"/>
                    <a:pt x="79518" y="22978"/>
                  </a:cubicBezTo>
                  <a:cubicBezTo>
                    <a:pt x="80240" y="20425"/>
                    <a:pt x="80240" y="20425"/>
                    <a:pt x="80240" y="20425"/>
                  </a:cubicBezTo>
                  <a:cubicBezTo>
                    <a:pt x="77349" y="21702"/>
                    <a:pt x="77349" y="21702"/>
                    <a:pt x="77349" y="21702"/>
                  </a:cubicBezTo>
                  <a:cubicBezTo>
                    <a:pt x="77349" y="21702"/>
                    <a:pt x="77349" y="20425"/>
                    <a:pt x="76626" y="20425"/>
                  </a:cubicBezTo>
                  <a:cubicBezTo>
                    <a:pt x="75903" y="20425"/>
                    <a:pt x="73734" y="21702"/>
                    <a:pt x="73734" y="21702"/>
                  </a:cubicBezTo>
                  <a:cubicBezTo>
                    <a:pt x="73734" y="21702"/>
                    <a:pt x="73734" y="21063"/>
                    <a:pt x="73012" y="21063"/>
                  </a:cubicBezTo>
                  <a:cubicBezTo>
                    <a:pt x="73012" y="20425"/>
                    <a:pt x="73012" y="20425"/>
                    <a:pt x="72289" y="20425"/>
                  </a:cubicBezTo>
                  <a:cubicBezTo>
                    <a:pt x="71566" y="20425"/>
                    <a:pt x="72289" y="20425"/>
                    <a:pt x="70843" y="19787"/>
                  </a:cubicBezTo>
                  <a:cubicBezTo>
                    <a:pt x="69397" y="19148"/>
                    <a:pt x="68674" y="17872"/>
                    <a:pt x="68674" y="17872"/>
                  </a:cubicBezTo>
                  <a:cubicBezTo>
                    <a:pt x="68674" y="17872"/>
                    <a:pt x="69397" y="17872"/>
                    <a:pt x="67951" y="17872"/>
                  </a:cubicBezTo>
                  <a:cubicBezTo>
                    <a:pt x="67228" y="17234"/>
                    <a:pt x="67228" y="17234"/>
                    <a:pt x="67228" y="17234"/>
                  </a:cubicBezTo>
                  <a:cubicBezTo>
                    <a:pt x="66506" y="16595"/>
                    <a:pt x="66506" y="16595"/>
                    <a:pt x="67951" y="15957"/>
                  </a:cubicBezTo>
                  <a:cubicBezTo>
                    <a:pt x="68674" y="15319"/>
                    <a:pt x="67951" y="15319"/>
                    <a:pt x="69397" y="14680"/>
                  </a:cubicBezTo>
                  <a:cubicBezTo>
                    <a:pt x="70120" y="14042"/>
                    <a:pt x="69397" y="13404"/>
                    <a:pt x="70843" y="14042"/>
                  </a:cubicBezTo>
                  <a:cubicBezTo>
                    <a:pt x="73012" y="14680"/>
                    <a:pt x="73012" y="14680"/>
                    <a:pt x="73734" y="15319"/>
                  </a:cubicBezTo>
                  <a:cubicBezTo>
                    <a:pt x="74457" y="15319"/>
                    <a:pt x="77349" y="15319"/>
                    <a:pt x="75903" y="14680"/>
                  </a:cubicBezTo>
                  <a:cubicBezTo>
                    <a:pt x="75180" y="14042"/>
                    <a:pt x="73734" y="13404"/>
                    <a:pt x="73734" y="12765"/>
                  </a:cubicBezTo>
                  <a:cubicBezTo>
                    <a:pt x="73734" y="12765"/>
                    <a:pt x="72289" y="12765"/>
                    <a:pt x="73734" y="12765"/>
                  </a:cubicBezTo>
                  <a:cubicBezTo>
                    <a:pt x="74457" y="12765"/>
                    <a:pt x="75180" y="12127"/>
                    <a:pt x="75903" y="12765"/>
                  </a:cubicBezTo>
                  <a:cubicBezTo>
                    <a:pt x="75903" y="12765"/>
                    <a:pt x="74457" y="12765"/>
                    <a:pt x="76626" y="12765"/>
                  </a:cubicBezTo>
                  <a:cubicBezTo>
                    <a:pt x="78795" y="12765"/>
                    <a:pt x="79518" y="12765"/>
                    <a:pt x="78072" y="12127"/>
                  </a:cubicBezTo>
                  <a:cubicBezTo>
                    <a:pt x="77349" y="11489"/>
                    <a:pt x="77349" y="11489"/>
                    <a:pt x="76626" y="10851"/>
                  </a:cubicBezTo>
                  <a:cubicBezTo>
                    <a:pt x="76626" y="10212"/>
                    <a:pt x="75903" y="10212"/>
                    <a:pt x="76626" y="10212"/>
                  </a:cubicBezTo>
                  <a:cubicBezTo>
                    <a:pt x="76626" y="9574"/>
                    <a:pt x="76626" y="10212"/>
                    <a:pt x="77349" y="9574"/>
                  </a:cubicBezTo>
                  <a:cubicBezTo>
                    <a:pt x="77349" y="8936"/>
                    <a:pt x="77349" y="8297"/>
                    <a:pt x="77349" y="8297"/>
                  </a:cubicBezTo>
                  <a:cubicBezTo>
                    <a:pt x="77349" y="8297"/>
                    <a:pt x="76626" y="8297"/>
                    <a:pt x="77349" y="7659"/>
                  </a:cubicBezTo>
                  <a:cubicBezTo>
                    <a:pt x="78795" y="6382"/>
                    <a:pt x="78795" y="6382"/>
                    <a:pt x="79518" y="6382"/>
                  </a:cubicBezTo>
                  <a:cubicBezTo>
                    <a:pt x="79518" y="6382"/>
                    <a:pt x="80240" y="5744"/>
                    <a:pt x="80963" y="5744"/>
                  </a:cubicBezTo>
                  <a:cubicBezTo>
                    <a:pt x="80963" y="5106"/>
                    <a:pt x="81686" y="3829"/>
                    <a:pt x="81686" y="3829"/>
                  </a:cubicBezTo>
                  <a:cubicBezTo>
                    <a:pt x="83855" y="3829"/>
                    <a:pt x="83855" y="3829"/>
                    <a:pt x="83855" y="3829"/>
                  </a:cubicBezTo>
                  <a:cubicBezTo>
                    <a:pt x="83855" y="3829"/>
                    <a:pt x="84578" y="3829"/>
                    <a:pt x="84578" y="3829"/>
                  </a:cubicBezTo>
                  <a:cubicBezTo>
                    <a:pt x="84578" y="4468"/>
                    <a:pt x="84578" y="3191"/>
                    <a:pt x="84578" y="3191"/>
                  </a:cubicBezTo>
                  <a:cubicBezTo>
                    <a:pt x="84578" y="3191"/>
                    <a:pt x="85301" y="3191"/>
                    <a:pt x="85301" y="3191"/>
                  </a:cubicBezTo>
                  <a:cubicBezTo>
                    <a:pt x="86024" y="3829"/>
                    <a:pt x="86024" y="3829"/>
                    <a:pt x="86024" y="3829"/>
                  </a:cubicBezTo>
                  <a:cubicBezTo>
                    <a:pt x="86746" y="4468"/>
                    <a:pt x="87469" y="3829"/>
                    <a:pt x="87469" y="3829"/>
                  </a:cubicBezTo>
                  <a:cubicBezTo>
                    <a:pt x="87469" y="3829"/>
                    <a:pt x="88192" y="3191"/>
                    <a:pt x="88915" y="3191"/>
                  </a:cubicBezTo>
                  <a:cubicBezTo>
                    <a:pt x="89638" y="3191"/>
                    <a:pt x="90361" y="3191"/>
                    <a:pt x="90361" y="3191"/>
                  </a:cubicBezTo>
                  <a:cubicBezTo>
                    <a:pt x="90361" y="3829"/>
                    <a:pt x="90361" y="3829"/>
                    <a:pt x="90361" y="4468"/>
                  </a:cubicBezTo>
                  <a:cubicBezTo>
                    <a:pt x="91084" y="4468"/>
                    <a:pt x="91807" y="5106"/>
                    <a:pt x="91807" y="5106"/>
                  </a:cubicBezTo>
                  <a:cubicBezTo>
                    <a:pt x="91807" y="5106"/>
                    <a:pt x="93253" y="5106"/>
                    <a:pt x="93253" y="4468"/>
                  </a:cubicBezTo>
                  <a:cubicBezTo>
                    <a:pt x="93253" y="4468"/>
                    <a:pt x="92530" y="4468"/>
                    <a:pt x="93975" y="3829"/>
                  </a:cubicBezTo>
                  <a:cubicBezTo>
                    <a:pt x="95421" y="2553"/>
                    <a:pt x="96144" y="2553"/>
                    <a:pt x="96144" y="2553"/>
                  </a:cubicBezTo>
                  <a:cubicBezTo>
                    <a:pt x="96144" y="2553"/>
                    <a:pt x="96144" y="1914"/>
                    <a:pt x="96867" y="1914"/>
                  </a:cubicBezTo>
                  <a:cubicBezTo>
                    <a:pt x="97590" y="2553"/>
                    <a:pt x="97590" y="1914"/>
                    <a:pt x="97590" y="2553"/>
                  </a:cubicBezTo>
                  <a:cubicBezTo>
                    <a:pt x="97590" y="2553"/>
                    <a:pt x="98313" y="3191"/>
                    <a:pt x="98313" y="3191"/>
                  </a:cubicBezTo>
                  <a:cubicBezTo>
                    <a:pt x="98313" y="3191"/>
                    <a:pt x="98313" y="5106"/>
                    <a:pt x="98313" y="5106"/>
                  </a:cubicBezTo>
                  <a:cubicBezTo>
                    <a:pt x="98313" y="5744"/>
                    <a:pt x="98313" y="5744"/>
                    <a:pt x="98313" y="5744"/>
                  </a:cubicBezTo>
                  <a:cubicBezTo>
                    <a:pt x="98313" y="5744"/>
                    <a:pt x="98313" y="6382"/>
                    <a:pt x="98313" y="6382"/>
                  </a:cubicBezTo>
                  <a:cubicBezTo>
                    <a:pt x="98313" y="7021"/>
                    <a:pt x="99036" y="8297"/>
                    <a:pt x="99036" y="8297"/>
                  </a:cubicBezTo>
                  <a:cubicBezTo>
                    <a:pt x="99036" y="8297"/>
                    <a:pt x="99036" y="8297"/>
                    <a:pt x="99036" y="8297"/>
                  </a:cubicBezTo>
                  <a:cubicBezTo>
                    <a:pt x="98313" y="8936"/>
                    <a:pt x="98313" y="8297"/>
                    <a:pt x="98313" y="8936"/>
                  </a:cubicBezTo>
                  <a:cubicBezTo>
                    <a:pt x="97590" y="9574"/>
                    <a:pt x="98313" y="9574"/>
                    <a:pt x="97590" y="10212"/>
                  </a:cubicBezTo>
                  <a:cubicBezTo>
                    <a:pt x="97590" y="10212"/>
                    <a:pt x="96867" y="10212"/>
                    <a:pt x="96867" y="10212"/>
                  </a:cubicBezTo>
                  <a:cubicBezTo>
                    <a:pt x="96867" y="10212"/>
                    <a:pt x="97590" y="10851"/>
                    <a:pt x="97590" y="10851"/>
                  </a:cubicBezTo>
                  <a:cubicBezTo>
                    <a:pt x="97590" y="10851"/>
                    <a:pt x="97590" y="10851"/>
                    <a:pt x="98313" y="10851"/>
                  </a:cubicBezTo>
                  <a:cubicBezTo>
                    <a:pt x="98313" y="10851"/>
                    <a:pt x="98313" y="10212"/>
                    <a:pt x="99036" y="10212"/>
                  </a:cubicBezTo>
                  <a:cubicBezTo>
                    <a:pt x="99036" y="10851"/>
                    <a:pt x="99036" y="9574"/>
                    <a:pt x="99036" y="9574"/>
                  </a:cubicBezTo>
                  <a:cubicBezTo>
                    <a:pt x="99036" y="9574"/>
                    <a:pt x="99036" y="9574"/>
                    <a:pt x="99759" y="8936"/>
                  </a:cubicBezTo>
                  <a:cubicBezTo>
                    <a:pt x="99759" y="8936"/>
                    <a:pt x="100481" y="8297"/>
                    <a:pt x="100481" y="7659"/>
                  </a:cubicBezTo>
                  <a:cubicBezTo>
                    <a:pt x="100481" y="7659"/>
                    <a:pt x="99759" y="7021"/>
                    <a:pt x="99759" y="7021"/>
                  </a:cubicBezTo>
                  <a:cubicBezTo>
                    <a:pt x="99759" y="7021"/>
                    <a:pt x="99036" y="5744"/>
                    <a:pt x="99036" y="5106"/>
                  </a:cubicBezTo>
                  <a:cubicBezTo>
                    <a:pt x="99036" y="5106"/>
                    <a:pt x="99036" y="5106"/>
                    <a:pt x="99036" y="4468"/>
                  </a:cubicBezTo>
                  <a:cubicBezTo>
                    <a:pt x="99759" y="4468"/>
                    <a:pt x="99759" y="3829"/>
                    <a:pt x="99759" y="3829"/>
                  </a:cubicBezTo>
                  <a:cubicBezTo>
                    <a:pt x="100481" y="3191"/>
                    <a:pt x="101204" y="2553"/>
                    <a:pt x="101204" y="2553"/>
                  </a:cubicBezTo>
                  <a:cubicBezTo>
                    <a:pt x="101204" y="2553"/>
                    <a:pt x="102650" y="2553"/>
                    <a:pt x="103373" y="2553"/>
                  </a:cubicBezTo>
                  <a:cubicBezTo>
                    <a:pt x="103373" y="2553"/>
                    <a:pt x="102650" y="1914"/>
                    <a:pt x="104096" y="2553"/>
                  </a:cubicBezTo>
                  <a:cubicBezTo>
                    <a:pt x="104819" y="3191"/>
                    <a:pt x="104819" y="3191"/>
                    <a:pt x="104819" y="3191"/>
                  </a:cubicBezTo>
                  <a:cubicBezTo>
                    <a:pt x="104819" y="3829"/>
                    <a:pt x="104096" y="3829"/>
                    <a:pt x="105542" y="3829"/>
                  </a:cubicBezTo>
                  <a:cubicBezTo>
                    <a:pt x="106265" y="3829"/>
                    <a:pt x="106987" y="3829"/>
                    <a:pt x="106265" y="3829"/>
                  </a:cubicBezTo>
                  <a:cubicBezTo>
                    <a:pt x="105542" y="3191"/>
                    <a:pt x="105542" y="2553"/>
                    <a:pt x="104819" y="2553"/>
                  </a:cubicBezTo>
                  <a:cubicBezTo>
                    <a:pt x="104819" y="2553"/>
                    <a:pt x="104096" y="1914"/>
                    <a:pt x="104096" y="1914"/>
                  </a:cubicBezTo>
                  <a:cubicBezTo>
                    <a:pt x="104096" y="1276"/>
                    <a:pt x="104096" y="0"/>
                    <a:pt x="104819" y="638"/>
                  </a:cubicBezTo>
                  <a:cubicBezTo>
                    <a:pt x="105542" y="638"/>
                    <a:pt x="104819" y="0"/>
                    <a:pt x="105542" y="638"/>
                  </a:cubicBezTo>
                  <a:cubicBezTo>
                    <a:pt x="106987" y="1914"/>
                    <a:pt x="107710" y="2553"/>
                    <a:pt x="107710" y="2553"/>
                  </a:cubicBezTo>
                  <a:cubicBezTo>
                    <a:pt x="107710" y="3191"/>
                    <a:pt x="108433" y="3191"/>
                    <a:pt x="108433" y="3191"/>
                  </a:cubicBezTo>
                  <a:cubicBezTo>
                    <a:pt x="108433" y="3829"/>
                    <a:pt x="108433" y="3829"/>
                    <a:pt x="108433" y="3829"/>
                  </a:cubicBezTo>
                  <a:cubicBezTo>
                    <a:pt x="109156" y="4468"/>
                    <a:pt x="109879" y="5106"/>
                    <a:pt x="109879" y="5106"/>
                  </a:cubicBezTo>
                  <a:cubicBezTo>
                    <a:pt x="109879" y="5106"/>
                    <a:pt x="109879" y="5106"/>
                    <a:pt x="110602" y="5106"/>
                  </a:cubicBezTo>
                  <a:cubicBezTo>
                    <a:pt x="110602" y="5744"/>
                    <a:pt x="112048" y="6382"/>
                    <a:pt x="112048" y="6382"/>
                  </a:cubicBezTo>
                  <a:cubicBezTo>
                    <a:pt x="112048" y="6382"/>
                    <a:pt x="112771" y="7021"/>
                    <a:pt x="112771" y="7021"/>
                  </a:cubicBezTo>
                  <a:cubicBezTo>
                    <a:pt x="112048" y="7659"/>
                    <a:pt x="112048" y="8297"/>
                    <a:pt x="112048" y="8297"/>
                  </a:cubicBezTo>
                  <a:cubicBezTo>
                    <a:pt x="110602" y="10212"/>
                    <a:pt x="110602" y="10212"/>
                    <a:pt x="110602" y="10212"/>
                  </a:cubicBezTo>
                  <a:cubicBezTo>
                    <a:pt x="109879" y="11489"/>
                    <a:pt x="109879" y="11489"/>
                    <a:pt x="109879" y="11489"/>
                  </a:cubicBezTo>
                  <a:cubicBezTo>
                    <a:pt x="109879" y="12127"/>
                    <a:pt x="109879" y="12127"/>
                    <a:pt x="109879" y="12127"/>
                  </a:cubicBezTo>
                  <a:cubicBezTo>
                    <a:pt x="109156" y="12765"/>
                    <a:pt x="109156" y="13404"/>
                    <a:pt x="109156" y="13404"/>
                  </a:cubicBezTo>
                  <a:cubicBezTo>
                    <a:pt x="109156" y="13404"/>
                    <a:pt x="108433" y="14042"/>
                    <a:pt x="106987" y="14042"/>
                  </a:cubicBezTo>
                  <a:cubicBezTo>
                    <a:pt x="105542" y="13404"/>
                    <a:pt x="104096" y="14680"/>
                    <a:pt x="104096" y="14680"/>
                  </a:cubicBezTo>
                  <a:cubicBezTo>
                    <a:pt x="104096" y="14680"/>
                    <a:pt x="100481" y="14042"/>
                    <a:pt x="99759" y="14042"/>
                  </a:cubicBezTo>
                  <a:cubicBezTo>
                    <a:pt x="99036" y="14042"/>
                    <a:pt x="99036" y="16595"/>
                    <a:pt x="99036" y="17234"/>
                  </a:cubicBezTo>
                  <a:cubicBezTo>
                    <a:pt x="99036" y="17872"/>
                    <a:pt x="97590" y="18510"/>
                    <a:pt x="95421" y="18510"/>
                  </a:cubicBezTo>
                  <a:cubicBezTo>
                    <a:pt x="93253" y="19148"/>
                    <a:pt x="94698" y="19148"/>
                    <a:pt x="93975" y="21063"/>
                  </a:cubicBezTo>
                  <a:cubicBezTo>
                    <a:pt x="93253" y="23617"/>
                    <a:pt x="92530" y="21702"/>
                    <a:pt x="91084" y="21063"/>
                  </a:cubicBezTo>
                  <a:cubicBezTo>
                    <a:pt x="89638" y="21063"/>
                    <a:pt x="89638" y="21063"/>
                    <a:pt x="87469" y="21063"/>
                  </a:cubicBezTo>
                  <a:cubicBezTo>
                    <a:pt x="85301" y="21702"/>
                    <a:pt x="86746" y="22978"/>
                    <a:pt x="86746" y="22978"/>
                  </a:cubicBezTo>
                  <a:cubicBezTo>
                    <a:pt x="86746" y="22978"/>
                    <a:pt x="88192" y="24255"/>
                    <a:pt x="88915" y="24255"/>
                  </a:cubicBezTo>
                  <a:cubicBezTo>
                    <a:pt x="90361" y="24893"/>
                    <a:pt x="88915" y="26170"/>
                    <a:pt x="88915" y="26170"/>
                  </a:cubicBezTo>
                  <a:cubicBezTo>
                    <a:pt x="88915" y="26170"/>
                    <a:pt x="88192" y="27446"/>
                    <a:pt x="87469" y="27446"/>
                  </a:cubicBezTo>
                  <a:cubicBezTo>
                    <a:pt x="86746" y="26808"/>
                    <a:pt x="83132" y="26808"/>
                    <a:pt x="83132" y="26808"/>
                  </a:cubicBezTo>
                  <a:cubicBezTo>
                    <a:pt x="79518" y="28723"/>
                    <a:pt x="79518" y="28723"/>
                    <a:pt x="79518" y="28723"/>
                  </a:cubicBezTo>
                  <a:cubicBezTo>
                    <a:pt x="79518" y="28723"/>
                    <a:pt x="80240" y="31276"/>
                    <a:pt x="82409" y="33829"/>
                  </a:cubicBezTo>
                  <a:cubicBezTo>
                    <a:pt x="84578" y="36382"/>
                    <a:pt x="82409" y="34468"/>
                    <a:pt x="82409" y="34468"/>
                  </a:cubicBezTo>
                  <a:cubicBezTo>
                    <a:pt x="82409" y="34468"/>
                    <a:pt x="83132" y="36382"/>
                    <a:pt x="83132" y="37659"/>
                  </a:cubicBezTo>
                  <a:cubicBezTo>
                    <a:pt x="83132" y="38936"/>
                    <a:pt x="83132" y="38297"/>
                    <a:pt x="83855" y="38297"/>
                  </a:cubicBezTo>
                  <a:cubicBezTo>
                    <a:pt x="84578" y="38297"/>
                    <a:pt x="86024" y="38297"/>
                    <a:pt x="86024" y="38297"/>
                  </a:cubicBezTo>
                  <a:cubicBezTo>
                    <a:pt x="86024" y="38297"/>
                    <a:pt x="88915" y="42127"/>
                    <a:pt x="88915" y="42127"/>
                  </a:cubicBezTo>
                  <a:cubicBezTo>
                    <a:pt x="89638" y="42127"/>
                    <a:pt x="93253" y="41489"/>
                    <a:pt x="93253" y="41489"/>
                  </a:cubicBezTo>
                  <a:cubicBezTo>
                    <a:pt x="93253" y="41489"/>
                    <a:pt x="96144" y="40851"/>
                    <a:pt x="97590" y="40851"/>
                  </a:cubicBezTo>
                  <a:cubicBezTo>
                    <a:pt x="99036" y="40212"/>
                    <a:pt x="97590" y="38936"/>
                    <a:pt x="97590" y="38936"/>
                  </a:cubicBezTo>
                  <a:cubicBezTo>
                    <a:pt x="99036" y="35744"/>
                    <a:pt x="99036" y="35744"/>
                    <a:pt x="99036" y="35744"/>
                  </a:cubicBezTo>
                  <a:cubicBezTo>
                    <a:pt x="103373" y="35106"/>
                    <a:pt x="103373" y="35106"/>
                    <a:pt x="103373" y="35106"/>
                  </a:cubicBezTo>
                  <a:cubicBezTo>
                    <a:pt x="105542" y="38936"/>
                    <a:pt x="105542" y="38936"/>
                    <a:pt x="105542" y="38936"/>
                  </a:cubicBezTo>
                  <a:cubicBezTo>
                    <a:pt x="104819" y="41489"/>
                    <a:pt x="104819" y="41489"/>
                    <a:pt x="104819" y="41489"/>
                  </a:cubicBezTo>
                  <a:cubicBezTo>
                    <a:pt x="108433" y="44680"/>
                    <a:pt x="108433" y="44680"/>
                    <a:pt x="108433" y="44680"/>
                  </a:cubicBezTo>
                  <a:cubicBezTo>
                    <a:pt x="109156" y="47872"/>
                    <a:pt x="109156" y="47872"/>
                    <a:pt x="109156" y="47872"/>
                  </a:cubicBezTo>
                  <a:cubicBezTo>
                    <a:pt x="109156" y="47872"/>
                    <a:pt x="112771" y="48510"/>
                    <a:pt x="113493" y="49148"/>
                  </a:cubicBezTo>
                  <a:cubicBezTo>
                    <a:pt x="114216" y="49148"/>
                    <a:pt x="116385" y="48510"/>
                    <a:pt x="116385" y="48510"/>
                  </a:cubicBezTo>
                  <a:cubicBezTo>
                    <a:pt x="119277" y="51702"/>
                    <a:pt x="119277" y="51702"/>
                    <a:pt x="119277" y="51702"/>
                  </a:cubicBezTo>
                  <a:cubicBezTo>
                    <a:pt x="119999" y="51063"/>
                    <a:pt x="119999" y="51063"/>
                    <a:pt x="119999" y="51063"/>
                  </a:cubicBezTo>
                  <a:cubicBezTo>
                    <a:pt x="119999" y="51702"/>
                    <a:pt x="119999" y="51702"/>
                    <a:pt x="119999" y="51702"/>
                  </a:cubicBezTo>
                  <a:cubicBezTo>
                    <a:pt x="119999" y="51702"/>
                    <a:pt x="119999" y="52978"/>
                    <a:pt x="119277" y="52978"/>
                  </a:cubicBezTo>
                  <a:cubicBezTo>
                    <a:pt x="117831" y="52340"/>
                    <a:pt x="117108" y="52340"/>
                    <a:pt x="117108" y="52340"/>
                  </a:cubicBezTo>
                  <a:cubicBezTo>
                    <a:pt x="114939" y="51063"/>
                    <a:pt x="114939" y="51063"/>
                    <a:pt x="114939" y="51063"/>
                  </a:cubicBezTo>
                  <a:cubicBezTo>
                    <a:pt x="114216" y="51702"/>
                    <a:pt x="114216" y="51702"/>
                    <a:pt x="114216" y="51702"/>
                  </a:cubicBezTo>
                  <a:cubicBezTo>
                    <a:pt x="112048" y="54255"/>
                    <a:pt x="112048" y="54255"/>
                    <a:pt x="112048" y="54255"/>
                  </a:cubicBezTo>
                  <a:cubicBezTo>
                    <a:pt x="113493" y="54893"/>
                    <a:pt x="113493" y="54893"/>
                    <a:pt x="113493" y="54893"/>
                  </a:cubicBezTo>
                  <a:cubicBezTo>
                    <a:pt x="114939" y="56170"/>
                    <a:pt x="114939" y="56170"/>
                    <a:pt x="114939" y="56170"/>
                  </a:cubicBezTo>
                  <a:cubicBezTo>
                    <a:pt x="114939" y="58085"/>
                    <a:pt x="114939" y="58085"/>
                    <a:pt x="114939" y="58085"/>
                  </a:cubicBezTo>
                  <a:cubicBezTo>
                    <a:pt x="114939" y="60638"/>
                    <a:pt x="114939" y="60638"/>
                    <a:pt x="114939" y="60638"/>
                  </a:cubicBezTo>
                  <a:cubicBezTo>
                    <a:pt x="113493" y="62553"/>
                    <a:pt x="113493" y="62553"/>
                    <a:pt x="113493" y="62553"/>
                  </a:cubicBezTo>
                  <a:cubicBezTo>
                    <a:pt x="113493" y="62553"/>
                    <a:pt x="114216" y="63829"/>
                    <a:pt x="114216" y="64468"/>
                  </a:cubicBezTo>
                  <a:cubicBezTo>
                    <a:pt x="114216" y="64468"/>
                    <a:pt x="115662" y="65744"/>
                    <a:pt x="115662" y="65744"/>
                  </a:cubicBezTo>
                  <a:cubicBezTo>
                    <a:pt x="117108" y="67021"/>
                    <a:pt x="117108" y="67021"/>
                    <a:pt x="117108" y="67021"/>
                  </a:cubicBezTo>
                  <a:cubicBezTo>
                    <a:pt x="115662" y="70212"/>
                    <a:pt x="115662" y="70212"/>
                    <a:pt x="115662" y="70212"/>
                  </a:cubicBezTo>
                  <a:cubicBezTo>
                    <a:pt x="114216" y="71489"/>
                    <a:pt x="114216" y="71489"/>
                    <a:pt x="114216" y="71489"/>
                  </a:cubicBezTo>
                  <a:cubicBezTo>
                    <a:pt x="114216" y="72765"/>
                    <a:pt x="114216" y="72765"/>
                    <a:pt x="114216" y="72765"/>
                  </a:cubicBezTo>
                  <a:cubicBezTo>
                    <a:pt x="114216" y="72765"/>
                    <a:pt x="115662" y="73404"/>
                    <a:pt x="114939" y="73404"/>
                  </a:cubicBezTo>
                  <a:cubicBezTo>
                    <a:pt x="114216" y="73404"/>
                    <a:pt x="112771" y="73404"/>
                    <a:pt x="112771" y="73404"/>
                  </a:cubicBezTo>
                  <a:cubicBezTo>
                    <a:pt x="112771" y="73404"/>
                    <a:pt x="112771" y="74042"/>
                    <a:pt x="112771" y="74680"/>
                  </a:cubicBezTo>
                  <a:cubicBezTo>
                    <a:pt x="112771" y="74680"/>
                    <a:pt x="113493" y="75957"/>
                    <a:pt x="113493" y="75957"/>
                  </a:cubicBezTo>
                  <a:cubicBezTo>
                    <a:pt x="113493" y="75957"/>
                    <a:pt x="114216" y="75957"/>
                    <a:pt x="114216" y="76595"/>
                  </a:cubicBezTo>
                  <a:cubicBezTo>
                    <a:pt x="114216" y="77234"/>
                    <a:pt x="113493" y="78510"/>
                    <a:pt x="113493" y="78510"/>
                  </a:cubicBezTo>
                  <a:cubicBezTo>
                    <a:pt x="113493" y="78510"/>
                    <a:pt x="112771" y="81063"/>
                    <a:pt x="112771" y="81063"/>
                  </a:cubicBezTo>
                  <a:cubicBezTo>
                    <a:pt x="113493" y="81063"/>
                    <a:pt x="113493" y="82340"/>
                    <a:pt x="113493" y="82340"/>
                  </a:cubicBezTo>
                  <a:cubicBezTo>
                    <a:pt x="113493" y="84893"/>
                    <a:pt x="113493" y="84893"/>
                    <a:pt x="113493" y="84893"/>
                  </a:cubicBezTo>
                  <a:cubicBezTo>
                    <a:pt x="112771" y="86808"/>
                    <a:pt x="112771" y="86808"/>
                    <a:pt x="112771" y="86808"/>
                  </a:cubicBezTo>
                  <a:cubicBezTo>
                    <a:pt x="113493" y="88085"/>
                    <a:pt x="113493" y="88085"/>
                    <a:pt x="113493" y="88085"/>
                  </a:cubicBezTo>
                  <a:cubicBezTo>
                    <a:pt x="111325" y="89361"/>
                    <a:pt x="111325" y="89361"/>
                    <a:pt x="111325" y="89361"/>
                  </a:cubicBezTo>
                  <a:cubicBezTo>
                    <a:pt x="110602" y="90638"/>
                    <a:pt x="110602" y="90638"/>
                    <a:pt x="110602" y="90638"/>
                  </a:cubicBezTo>
                  <a:cubicBezTo>
                    <a:pt x="110602" y="90638"/>
                    <a:pt x="109156" y="91276"/>
                    <a:pt x="109156" y="91914"/>
                  </a:cubicBezTo>
                  <a:cubicBezTo>
                    <a:pt x="109156" y="91914"/>
                    <a:pt x="108433" y="92553"/>
                    <a:pt x="108433" y="93191"/>
                  </a:cubicBezTo>
                  <a:cubicBezTo>
                    <a:pt x="108433" y="93829"/>
                    <a:pt x="107710" y="94468"/>
                    <a:pt x="107710" y="94468"/>
                  </a:cubicBezTo>
                  <a:cubicBezTo>
                    <a:pt x="106987" y="95106"/>
                    <a:pt x="105542" y="96382"/>
                    <a:pt x="105542" y="96382"/>
                  </a:cubicBezTo>
                  <a:cubicBezTo>
                    <a:pt x="104819" y="97659"/>
                    <a:pt x="104819" y="97659"/>
                    <a:pt x="104819" y="97659"/>
                  </a:cubicBezTo>
                  <a:cubicBezTo>
                    <a:pt x="104819" y="97659"/>
                    <a:pt x="105542" y="98936"/>
                    <a:pt x="105542" y="98936"/>
                  </a:cubicBezTo>
                  <a:cubicBezTo>
                    <a:pt x="105542" y="99574"/>
                    <a:pt x="105542" y="99574"/>
                    <a:pt x="105542" y="99574"/>
                  </a:cubicBezTo>
                  <a:cubicBezTo>
                    <a:pt x="104096" y="100851"/>
                    <a:pt x="104096" y="100851"/>
                    <a:pt x="104096" y="100851"/>
                  </a:cubicBezTo>
                  <a:cubicBezTo>
                    <a:pt x="100481" y="103404"/>
                    <a:pt x="100481" y="103404"/>
                    <a:pt x="100481" y="103404"/>
                  </a:cubicBezTo>
                  <a:cubicBezTo>
                    <a:pt x="100481" y="103404"/>
                    <a:pt x="100481" y="104042"/>
                    <a:pt x="99759" y="104680"/>
                  </a:cubicBezTo>
                  <a:cubicBezTo>
                    <a:pt x="99759" y="105957"/>
                    <a:pt x="99036" y="105957"/>
                    <a:pt x="99036" y="105957"/>
                  </a:cubicBezTo>
                  <a:cubicBezTo>
                    <a:pt x="99036" y="105957"/>
                    <a:pt x="98313" y="105957"/>
                    <a:pt x="97590" y="105957"/>
                  </a:cubicBezTo>
                  <a:cubicBezTo>
                    <a:pt x="97590" y="105957"/>
                    <a:pt x="96867" y="105319"/>
                    <a:pt x="96867" y="105319"/>
                  </a:cubicBezTo>
                  <a:cubicBezTo>
                    <a:pt x="96867" y="106595"/>
                    <a:pt x="96867" y="106595"/>
                    <a:pt x="96867" y="106595"/>
                  </a:cubicBezTo>
                  <a:cubicBezTo>
                    <a:pt x="96867" y="106595"/>
                    <a:pt x="96867" y="107234"/>
                    <a:pt x="97590" y="107234"/>
                  </a:cubicBezTo>
                  <a:cubicBezTo>
                    <a:pt x="98313" y="107872"/>
                    <a:pt x="98313" y="108510"/>
                    <a:pt x="99036" y="108510"/>
                  </a:cubicBezTo>
                  <a:cubicBezTo>
                    <a:pt x="99036" y="109148"/>
                    <a:pt x="99759" y="109787"/>
                    <a:pt x="99759" y="109787"/>
                  </a:cubicBezTo>
                  <a:cubicBezTo>
                    <a:pt x="98313" y="111063"/>
                    <a:pt x="98313" y="111063"/>
                    <a:pt x="98313" y="111063"/>
                  </a:cubicBezTo>
                  <a:cubicBezTo>
                    <a:pt x="98313" y="111702"/>
                    <a:pt x="98313" y="111702"/>
                    <a:pt x="98313" y="111702"/>
                  </a:cubicBezTo>
                  <a:cubicBezTo>
                    <a:pt x="96867" y="111702"/>
                    <a:pt x="96867" y="111702"/>
                    <a:pt x="96867" y="111702"/>
                  </a:cubicBezTo>
                  <a:cubicBezTo>
                    <a:pt x="96144" y="111063"/>
                    <a:pt x="96144" y="111063"/>
                    <a:pt x="96144" y="111063"/>
                  </a:cubicBezTo>
                  <a:cubicBezTo>
                    <a:pt x="96144" y="111063"/>
                    <a:pt x="95421" y="111063"/>
                    <a:pt x="95421" y="111063"/>
                  </a:cubicBez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4" name="Shape 2045"/>
            <p:cNvSpPr/>
            <p:nvPr/>
          </p:nvSpPr>
          <p:spPr>
            <a:xfrm>
              <a:off x="3117355" y="3610126"/>
              <a:ext cx="405690" cy="6136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9887" y="3884"/>
                  </a:moveTo>
                  <a:cubicBezTo>
                    <a:pt x="49887" y="3884"/>
                    <a:pt x="52584" y="2589"/>
                    <a:pt x="52584" y="2589"/>
                  </a:cubicBezTo>
                  <a:cubicBezTo>
                    <a:pt x="52584" y="2589"/>
                    <a:pt x="53258" y="2158"/>
                    <a:pt x="53258" y="2158"/>
                  </a:cubicBezTo>
                  <a:cubicBezTo>
                    <a:pt x="53932" y="2158"/>
                    <a:pt x="54606" y="2158"/>
                    <a:pt x="55280" y="2158"/>
                  </a:cubicBezTo>
                  <a:cubicBezTo>
                    <a:pt x="55280" y="2158"/>
                    <a:pt x="55955" y="1726"/>
                    <a:pt x="55955" y="1726"/>
                  </a:cubicBezTo>
                  <a:cubicBezTo>
                    <a:pt x="56629" y="1294"/>
                    <a:pt x="56629" y="1294"/>
                    <a:pt x="56629" y="1294"/>
                  </a:cubicBezTo>
                  <a:cubicBezTo>
                    <a:pt x="57977" y="863"/>
                    <a:pt x="57977" y="863"/>
                    <a:pt x="57977" y="863"/>
                  </a:cubicBezTo>
                  <a:cubicBezTo>
                    <a:pt x="59325" y="863"/>
                    <a:pt x="59325" y="863"/>
                    <a:pt x="59325" y="863"/>
                  </a:cubicBezTo>
                  <a:cubicBezTo>
                    <a:pt x="59325" y="863"/>
                    <a:pt x="60000" y="863"/>
                    <a:pt x="60000" y="863"/>
                  </a:cubicBezTo>
                  <a:cubicBezTo>
                    <a:pt x="60000" y="863"/>
                    <a:pt x="62696" y="431"/>
                    <a:pt x="62696" y="431"/>
                  </a:cubicBezTo>
                  <a:cubicBezTo>
                    <a:pt x="62696" y="431"/>
                    <a:pt x="63370" y="863"/>
                    <a:pt x="64044" y="863"/>
                  </a:cubicBezTo>
                  <a:cubicBezTo>
                    <a:pt x="64044" y="863"/>
                    <a:pt x="65393" y="863"/>
                    <a:pt x="65393" y="863"/>
                  </a:cubicBezTo>
                  <a:cubicBezTo>
                    <a:pt x="66067" y="863"/>
                    <a:pt x="67415" y="431"/>
                    <a:pt x="67415" y="431"/>
                  </a:cubicBezTo>
                  <a:cubicBezTo>
                    <a:pt x="70112" y="0"/>
                    <a:pt x="70112" y="0"/>
                    <a:pt x="70112" y="0"/>
                  </a:cubicBezTo>
                  <a:cubicBezTo>
                    <a:pt x="70786" y="863"/>
                    <a:pt x="70786" y="863"/>
                    <a:pt x="70786" y="863"/>
                  </a:cubicBezTo>
                  <a:cubicBezTo>
                    <a:pt x="70786" y="863"/>
                    <a:pt x="70786" y="1726"/>
                    <a:pt x="70786" y="1726"/>
                  </a:cubicBezTo>
                  <a:cubicBezTo>
                    <a:pt x="70786" y="1726"/>
                    <a:pt x="70786" y="2158"/>
                    <a:pt x="71460" y="2158"/>
                  </a:cubicBezTo>
                  <a:cubicBezTo>
                    <a:pt x="72134" y="2158"/>
                    <a:pt x="72134" y="2158"/>
                    <a:pt x="72134" y="2158"/>
                  </a:cubicBezTo>
                  <a:cubicBezTo>
                    <a:pt x="72134" y="2589"/>
                    <a:pt x="72134" y="3884"/>
                    <a:pt x="72134" y="3884"/>
                  </a:cubicBezTo>
                  <a:cubicBezTo>
                    <a:pt x="70112" y="4316"/>
                    <a:pt x="70112" y="4316"/>
                    <a:pt x="70112" y="4316"/>
                  </a:cubicBezTo>
                  <a:cubicBezTo>
                    <a:pt x="70112" y="4316"/>
                    <a:pt x="69438" y="4316"/>
                    <a:pt x="69438" y="4748"/>
                  </a:cubicBezTo>
                  <a:cubicBezTo>
                    <a:pt x="69438" y="4748"/>
                    <a:pt x="68089" y="5179"/>
                    <a:pt x="68089" y="5179"/>
                  </a:cubicBezTo>
                  <a:cubicBezTo>
                    <a:pt x="68089" y="5611"/>
                    <a:pt x="67415" y="5611"/>
                    <a:pt x="68089" y="6043"/>
                  </a:cubicBezTo>
                  <a:cubicBezTo>
                    <a:pt x="68089" y="6474"/>
                    <a:pt x="68764" y="6906"/>
                    <a:pt x="68764" y="6906"/>
                  </a:cubicBezTo>
                  <a:cubicBezTo>
                    <a:pt x="68764" y="7769"/>
                    <a:pt x="68764" y="7769"/>
                    <a:pt x="68764" y="7769"/>
                  </a:cubicBezTo>
                  <a:cubicBezTo>
                    <a:pt x="68764" y="7769"/>
                    <a:pt x="68764" y="8201"/>
                    <a:pt x="69438" y="8201"/>
                  </a:cubicBezTo>
                  <a:cubicBezTo>
                    <a:pt x="69438" y="8633"/>
                    <a:pt x="70112" y="8201"/>
                    <a:pt x="70786" y="8201"/>
                  </a:cubicBezTo>
                  <a:cubicBezTo>
                    <a:pt x="72134" y="8201"/>
                    <a:pt x="72808" y="7769"/>
                    <a:pt x="73483" y="7769"/>
                  </a:cubicBezTo>
                  <a:cubicBezTo>
                    <a:pt x="73483" y="7769"/>
                    <a:pt x="74157" y="7769"/>
                    <a:pt x="74157" y="7769"/>
                  </a:cubicBezTo>
                  <a:cubicBezTo>
                    <a:pt x="74831" y="7338"/>
                    <a:pt x="76179" y="6906"/>
                    <a:pt x="76179" y="6906"/>
                  </a:cubicBezTo>
                  <a:cubicBezTo>
                    <a:pt x="76179" y="6906"/>
                    <a:pt x="76179" y="6043"/>
                    <a:pt x="76853" y="6474"/>
                  </a:cubicBezTo>
                  <a:cubicBezTo>
                    <a:pt x="76853" y="6474"/>
                    <a:pt x="76853" y="7338"/>
                    <a:pt x="76853" y="7338"/>
                  </a:cubicBezTo>
                  <a:cubicBezTo>
                    <a:pt x="76853" y="7338"/>
                    <a:pt x="76179" y="8201"/>
                    <a:pt x="76179" y="8201"/>
                  </a:cubicBezTo>
                  <a:cubicBezTo>
                    <a:pt x="76853" y="8633"/>
                    <a:pt x="77528" y="8201"/>
                    <a:pt x="77528" y="8201"/>
                  </a:cubicBezTo>
                  <a:cubicBezTo>
                    <a:pt x="78202" y="7769"/>
                    <a:pt x="78876" y="7769"/>
                    <a:pt x="78876" y="7769"/>
                  </a:cubicBezTo>
                  <a:cubicBezTo>
                    <a:pt x="80224" y="7769"/>
                    <a:pt x="80224" y="7769"/>
                    <a:pt x="80224" y="7769"/>
                  </a:cubicBezTo>
                  <a:cubicBezTo>
                    <a:pt x="80224" y="7769"/>
                    <a:pt x="81573" y="7769"/>
                    <a:pt x="81573" y="7769"/>
                  </a:cubicBezTo>
                  <a:cubicBezTo>
                    <a:pt x="81573" y="7769"/>
                    <a:pt x="82247" y="8201"/>
                    <a:pt x="82921" y="8201"/>
                  </a:cubicBezTo>
                  <a:cubicBezTo>
                    <a:pt x="82921" y="8633"/>
                    <a:pt x="84943" y="9064"/>
                    <a:pt x="84943" y="9064"/>
                  </a:cubicBezTo>
                  <a:cubicBezTo>
                    <a:pt x="84269" y="9928"/>
                    <a:pt x="84269" y="9928"/>
                    <a:pt x="84269" y="9928"/>
                  </a:cubicBezTo>
                  <a:cubicBezTo>
                    <a:pt x="84269" y="9928"/>
                    <a:pt x="83595" y="10791"/>
                    <a:pt x="84269" y="10791"/>
                  </a:cubicBezTo>
                  <a:cubicBezTo>
                    <a:pt x="84269" y="10791"/>
                    <a:pt x="84943" y="10359"/>
                    <a:pt x="84943" y="10359"/>
                  </a:cubicBezTo>
                  <a:cubicBezTo>
                    <a:pt x="85617" y="10359"/>
                    <a:pt x="86292" y="9928"/>
                    <a:pt x="86292" y="9928"/>
                  </a:cubicBezTo>
                  <a:cubicBezTo>
                    <a:pt x="86292" y="9928"/>
                    <a:pt x="86292" y="9496"/>
                    <a:pt x="86292" y="9496"/>
                  </a:cubicBezTo>
                  <a:cubicBezTo>
                    <a:pt x="86292" y="9928"/>
                    <a:pt x="87640" y="10359"/>
                    <a:pt x="87640" y="10359"/>
                  </a:cubicBezTo>
                  <a:cubicBezTo>
                    <a:pt x="87640" y="10359"/>
                    <a:pt x="88314" y="11223"/>
                    <a:pt x="88314" y="11223"/>
                  </a:cubicBezTo>
                  <a:cubicBezTo>
                    <a:pt x="88314" y="11223"/>
                    <a:pt x="89662" y="10791"/>
                    <a:pt x="89662" y="10791"/>
                  </a:cubicBezTo>
                  <a:cubicBezTo>
                    <a:pt x="89662" y="10791"/>
                    <a:pt x="89662" y="10791"/>
                    <a:pt x="90337" y="10791"/>
                  </a:cubicBezTo>
                  <a:cubicBezTo>
                    <a:pt x="91011" y="10791"/>
                    <a:pt x="91011" y="10791"/>
                    <a:pt x="91011" y="10791"/>
                  </a:cubicBezTo>
                  <a:cubicBezTo>
                    <a:pt x="91685" y="11223"/>
                    <a:pt x="93707" y="11223"/>
                    <a:pt x="93707" y="11223"/>
                  </a:cubicBezTo>
                  <a:cubicBezTo>
                    <a:pt x="95730" y="10359"/>
                    <a:pt x="95730" y="10359"/>
                    <a:pt x="95730" y="10359"/>
                  </a:cubicBezTo>
                  <a:cubicBezTo>
                    <a:pt x="96404" y="9064"/>
                    <a:pt x="96404" y="9064"/>
                    <a:pt x="96404" y="9064"/>
                  </a:cubicBezTo>
                  <a:cubicBezTo>
                    <a:pt x="96404" y="8633"/>
                    <a:pt x="96404" y="8633"/>
                    <a:pt x="96404" y="8633"/>
                  </a:cubicBezTo>
                  <a:cubicBezTo>
                    <a:pt x="96404" y="8633"/>
                    <a:pt x="97752" y="8201"/>
                    <a:pt x="97752" y="8201"/>
                  </a:cubicBezTo>
                  <a:cubicBezTo>
                    <a:pt x="97752" y="8201"/>
                    <a:pt x="98426" y="8201"/>
                    <a:pt x="98426" y="8633"/>
                  </a:cubicBezTo>
                  <a:cubicBezTo>
                    <a:pt x="98426" y="8633"/>
                    <a:pt x="99775" y="9496"/>
                    <a:pt x="99775" y="9496"/>
                  </a:cubicBezTo>
                  <a:cubicBezTo>
                    <a:pt x="99775" y="9496"/>
                    <a:pt x="101123" y="9496"/>
                    <a:pt x="101123" y="9496"/>
                  </a:cubicBezTo>
                  <a:cubicBezTo>
                    <a:pt x="101797" y="9496"/>
                    <a:pt x="101797" y="9064"/>
                    <a:pt x="102471" y="9496"/>
                  </a:cubicBezTo>
                  <a:cubicBezTo>
                    <a:pt x="102471" y="9928"/>
                    <a:pt x="102471" y="10359"/>
                    <a:pt x="103146" y="10359"/>
                  </a:cubicBezTo>
                  <a:cubicBezTo>
                    <a:pt x="103146" y="10359"/>
                    <a:pt x="103820" y="10359"/>
                    <a:pt x="103820" y="10359"/>
                  </a:cubicBezTo>
                  <a:cubicBezTo>
                    <a:pt x="104494" y="10791"/>
                    <a:pt x="105842" y="10791"/>
                    <a:pt x="105842" y="10791"/>
                  </a:cubicBezTo>
                  <a:cubicBezTo>
                    <a:pt x="106516" y="9928"/>
                    <a:pt x="106516" y="9928"/>
                    <a:pt x="106516" y="9928"/>
                  </a:cubicBezTo>
                  <a:cubicBezTo>
                    <a:pt x="106516" y="9928"/>
                    <a:pt x="106516" y="9496"/>
                    <a:pt x="107191" y="9928"/>
                  </a:cubicBezTo>
                  <a:cubicBezTo>
                    <a:pt x="107865" y="9928"/>
                    <a:pt x="107865" y="10791"/>
                    <a:pt x="107865" y="10791"/>
                  </a:cubicBezTo>
                  <a:cubicBezTo>
                    <a:pt x="107865" y="10791"/>
                    <a:pt x="108539" y="11223"/>
                    <a:pt x="108539" y="11223"/>
                  </a:cubicBezTo>
                  <a:cubicBezTo>
                    <a:pt x="108539" y="11223"/>
                    <a:pt x="110561" y="11654"/>
                    <a:pt x="110561" y="11654"/>
                  </a:cubicBezTo>
                  <a:cubicBezTo>
                    <a:pt x="110561" y="11654"/>
                    <a:pt x="111910" y="11223"/>
                    <a:pt x="111910" y="11223"/>
                  </a:cubicBezTo>
                  <a:cubicBezTo>
                    <a:pt x="112584" y="11223"/>
                    <a:pt x="112584" y="12086"/>
                    <a:pt x="112584" y="12086"/>
                  </a:cubicBezTo>
                  <a:cubicBezTo>
                    <a:pt x="112584" y="12086"/>
                    <a:pt x="112584" y="12517"/>
                    <a:pt x="112584" y="12517"/>
                  </a:cubicBezTo>
                  <a:cubicBezTo>
                    <a:pt x="111910" y="12949"/>
                    <a:pt x="111910" y="12949"/>
                    <a:pt x="112584" y="12949"/>
                  </a:cubicBezTo>
                  <a:cubicBezTo>
                    <a:pt x="112584" y="13381"/>
                    <a:pt x="113258" y="13812"/>
                    <a:pt x="113258" y="13812"/>
                  </a:cubicBezTo>
                  <a:cubicBezTo>
                    <a:pt x="113258" y="13812"/>
                    <a:pt x="112584" y="14676"/>
                    <a:pt x="112584" y="14676"/>
                  </a:cubicBezTo>
                  <a:cubicBezTo>
                    <a:pt x="112584" y="15107"/>
                    <a:pt x="111910" y="15539"/>
                    <a:pt x="111910" y="15539"/>
                  </a:cubicBezTo>
                  <a:cubicBezTo>
                    <a:pt x="111235" y="15971"/>
                    <a:pt x="111235" y="15971"/>
                    <a:pt x="111235" y="15971"/>
                  </a:cubicBezTo>
                  <a:cubicBezTo>
                    <a:pt x="111235" y="16402"/>
                    <a:pt x="111235" y="16402"/>
                    <a:pt x="111235" y="16402"/>
                  </a:cubicBezTo>
                  <a:cubicBezTo>
                    <a:pt x="111235" y="16834"/>
                    <a:pt x="111235" y="16834"/>
                    <a:pt x="111235" y="16834"/>
                  </a:cubicBezTo>
                  <a:cubicBezTo>
                    <a:pt x="111235" y="16834"/>
                    <a:pt x="111235" y="17266"/>
                    <a:pt x="111235" y="17266"/>
                  </a:cubicBezTo>
                  <a:cubicBezTo>
                    <a:pt x="110561" y="17266"/>
                    <a:pt x="111235" y="18129"/>
                    <a:pt x="111235" y="18129"/>
                  </a:cubicBezTo>
                  <a:cubicBezTo>
                    <a:pt x="111910" y="18561"/>
                    <a:pt x="111910" y="18561"/>
                    <a:pt x="111910" y="18561"/>
                  </a:cubicBezTo>
                  <a:cubicBezTo>
                    <a:pt x="111910" y="18561"/>
                    <a:pt x="113258" y="18129"/>
                    <a:pt x="113258" y="18129"/>
                  </a:cubicBezTo>
                  <a:cubicBezTo>
                    <a:pt x="113258" y="18129"/>
                    <a:pt x="115280" y="18561"/>
                    <a:pt x="115280" y="18561"/>
                  </a:cubicBezTo>
                  <a:cubicBezTo>
                    <a:pt x="115280" y="18561"/>
                    <a:pt x="116629" y="18992"/>
                    <a:pt x="116629" y="19424"/>
                  </a:cubicBezTo>
                  <a:cubicBezTo>
                    <a:pt x="117303" y="19424"/>
                    <a:pt x="118651" y="20287"/>
                    <a:pt x="118651" y="20287"/>
                  </a:cubicBezTo>
                  <a:cubicBezTo>
                    <a:pt x="120000" y="21582"/>
                    <a:pt x="120000" y="21582"/>
                    <a:pt x="120000" y="21582"/>
                  </a:cubicBezTo>
                  <a:cubicBezTo>
                    <a:pt x="118651" y="22446"/>
                    <a:pt x="118651" y="22446"/>
                    <a:pt x="118651" y="22446"/>
                  </a:cubicBezTo>
                  <a:cubicBezTo>
                    <a:pt x="117303" y="23741"/>
                    <a:pt x="117303" y="23741"/>
                    <a:pt x="117303" y="23741"/>
                  </a:cubicBezTo>
                  <a:cubicBezTo>
                    <a:pt x="115955" y="24172"/>
                    <a:pt x="115955" y="24172"/>
                    <a:pt x="115955" y="24172"/>
                  </a:cubicBezTo>
                  <a:cubicBezTo>
                    <a:pt x="115955" y="24172"/>
                    <a:pt x="115280" y="25035"/>
                    <a:pt x="115280" y="25035"/>
                  </a:cubicBezTo>
                  <a:cubicBezTo>
                    <a:pt x="115280" y="25035"/>
                    <a:pt x="113932" y="25467"/>
                    <a:pt x="113932" y="25467"/>
                  </a:cubicBezTo>
                  <a:cubicBezTo>
                    <a:pt x="113258" y="25467"/>
                    <a:pt x="113258" y="25467"/>
                    <a:pt x="113258" y="25467"/>
                  </a:cubicBezTo>
                  <a:cubicBezTo>
                    <a:pt x="111235" y="26762"/>
                    <a:pt x="111235" y="26762"/>
                    <a:pt x="111235" y="26762"/>
                  </a:cubicBezTo>
                  <a:cubicBezTo>
                    <a:pt x="109887" y="27194"/>
                    <a:pt x="109887" y="27194"/>
                    <a:pt x="109887" y="27194"/>
                  </a:cubicBezTo>
                  <a:cubicBezTo>
                    <a:pt x="108539" y="27625"/>
                    <a:pt x="108539" y="27625"/>
                    <a:pt x="108539" y="27625"/>
                  </a:cubicBezTo>
                  <a:cubicBezTo>
                    <a:pt x="107865" y="27625"/>
                    <a:pt x="107865" y="27625"/>
                    <a:pt x="107865" y="27625"/>
                  </a:cubicBezTo>
                  <a:cubicBezTo>
                    <a:pt x="106516" y="28489"/>
                    <a:pt x="106516" y="28489"/>
                    <a:pt x="106516" y="28489"/>
                  </a:cubicBezTo>
                  <a:cubicBezTo>
                    <a:pt x="105168" y="28057"/>
                    <a:pt x="105168" y="28057"/>
                    <a:pt x="105168" y="28057"/>
                  </a:cubicBezTo>
                  <a:cubicBezTo>
                    <a:pt x="103146" y="28489"/>
                    <a:pt x="103146" y="28489"/>
                    <a:pt x="103146" y="28489"/>
                  </a:cubicBezTo>
                  <a:cubicBezTo>
                    <a:pt x="103146" y="28920"/>
                    <a:pt x="103146" y="28920"/>
                    <a:pt x="103146" y="28920"/>
                  </a:cubicBezTo>
                  <a:cubicBezTo>
                    <a:pt x="100449" y="29784"/>
                    <a:pt x="100449" y="29784"/>
                    <a:pt x="100449" y="29784"/>
                  </a:cubicBezTo>
                  <a:cubicBezTo>
                    <a:pt x="99775" y="31079"/>
                    <a:pt x="99775" y="31079"/>
                    <a:pt x="99775" y="31079"/>
                  </a:cubicBezTo>
                  <a:cubicBezTo>
                    <a:pt x="99775" y="31079"/>
                    <a:pt x="98426" y="31079"/>
                    <a:pt x="98426" y="31510"/>
                  </a:cubicBezTo>
                  <a:cubicBezTo>
                    <a:pt x="97752" y="31510"/>
                    <a:pt x="97078" y="31942"/>
                    <a:pt x="97078" y="31942"/>
                  </a:cubicBezTo>
                  <a:cubicBezTo>
                    <a:pt x="95730" y="31510"/>
                    <a:pt x="95730" y="31510"/>
                    <a:pt x="95730" y="31510"/>
                  </a:cubicBezTo>
                  <a:cubicBezTo>
                    <a:pt x="95056" y="31942"/>
                    <a:pt x="95056" y="31942"/>
                    <a:pt x="95056" y="31942"/>
                  </a:cubicBezTo>
                  <a:cubicBezTo>
                    <a:pt x="95056" y="32805"/>
                    <a:pt x="95056" y="32805"/>
                    <a:pt x="95056" y="32805"/>
                  </a:cubicBezTo>
                  <a:cubicBezTo>
                    <a:pt x="95730" y="32805"/>
                    <a:pt x="95730" y="32805"/>
                    <a:pt x="95730" y="32805"/>
                  </a:cubicBezTo>
                  <a:cubicBezTo>
                    <a:pt x="95730" y="32805"/>
                    <a:pt x="95730" y="33669"/>
                    <a:pt x="95730" y="33669"/>
                  </a:cubicBezTo>
                  <a:cubicBezTo>
                    <a:pt x="95730" y="34100"/>
                    <a:pt x="95730" y="34964"/>
                    <a:pt x="95730" y="34964"/>
                  </a:cubicBezTo>
                  <a:cubicBezTo>
                    <a:pt x="97078" y="35395"/>
                    <a:pt x="97078" y="35395"/>
                    <a:pt x="97078" y="35395"/>
                  </a:cubicBezTo>
                  <a:cubicBezTo>
                    <a:pt x="97078" y="35395"/>
                    <a:pt x="97078" y="36690"/>
                    <a:pt x="96404" y="36690"/>
                  </a:cubicBezTo>
                  <a:cubicBezTo>
                    <a:pt x="96404" y="36690"/>
                    <a:pt x="95056" y="37122"/>
                    <a:pt x="95056" y="37122"/>
                  </a:cubicBezTo>
                  <a:cubicBezTo>
                    <a:pt x="95056" y="37553"/>
                    <a:pt x="95056" y="37553"/>
                    <a:pt x="95056" y="37553"/>
                  </a:cubicBezTo>
                  <a:cubicBezTo>
                    <a:pt x="95730" y="38417"/>
                    <a:pt x="95730" y="38417"/>
                    <a:pt x="95730" y="38417"/>
                  </a:cubicBezTo>
                  <a:cubicBezTo>
                    <a:pt x="95730" y="38417"/>
                    <a:pt x="95730" y="39712"/>
                    <a:pt x="95056" y="39712"/>
                  </a:cubicBezTo>
                  <a:cubicBezTo>
                    <a:pt x="95056" y="40143"/>
                    <a:pt x="94382" y="41007"/>
                    <a:pt x="94382" y="41007"/>
                  </a:cubicBezTo>
                  <a:cubicBezTo>
                    <a:pt x="93707" y="41438"/>
                    <a:pt x="93707" y="41438"/>
                    <a:pt x="93707" y="41438"/>
                  </a:cubicBezTo>
                  <a:cubicBezTo>
                    <a:pt x="93033" y="42302"/>
                    <a:pt x="93033" y="42302"/>
                    <a:pt x="93033" y="42302"/>
                  </a:cubicBezTo>
                  <a:cubicBezTo>
                    <a:pt x="93707" y="42733"/>
                    <a:pt x="93707" y="42733"/>
                    <a:pt x="93707" y="42733"/>
                  </a:cubicBezTo>
                  <a:cubicBezTo>
                    <a:pt x="93707" y="44028"/>
                    <a:pt x="93707" y="44028"/>
                    <a:pt x="93707" y="44028"/>
                  </a:cubicBezTo>
                  <a:cubicBezTo>
                    <a:pt x="92359" y="44460"/>
                    <a:pt x="92359" y="44460"/>
                    <a:pt x="92359" y="44460"/>
                  </a:cubicBezTo>
                  <a:cubicBezTo>
                    <a:pt x="91685" y="45755"/>
                    <a:pt x="91685" y="45755"/>
                    <a:pt x="91685" y="45755"/>
                  </a:cubicBezTo>
                  <a:cubicBezTo>
                    <a:pt x="92359" y="46187"/>
                    <a:pt x="92359" y="46187"/>
                    <a:pt x="92359" y="46187"/>
                  </a:cubicBezTo>
                  <a:cubicBezTo>
                    <a:pt x="93033" y="47050"/>
                    <a:pt x="93033" y="47050"/>
                    <a:pt x="93033" y="47050"/>
                  </a:cubicBezTo>
                  <a:cubicBezTo>
                    <a:pt x="92359" y="47913"/>
                    <a:pt x="92359" y="47913"/>
                    <a:pt x="92359" y="47913"/>
                  </a:cubicBezTo>
                  <a:cubicBezTo>
                    <a:pt x="91685" y="48345"/>
                    <a:pt x="91685" y="48345"/>
                    <a:pt x="91685" y="48345"/>
                  </a:cubicBezTo>
                  <a:cubicBezTo>
                    <a:pt x="91011" y="48345"/>
                    <a:pt x="91011" y="48345"/>
                    <a:pt x="91011" y="48345"/>
                  </a:cubicBezTo>
                  <a:cubicBezTo>
                    <a:pt x="89662" y="49208"/>
                    <a:pt x="89662" y="49208"/>
                    <a:pt x="89662" y="49208"/>
                  </a:cubicBezTo>
                  <a:cubicBezTo>
                    <a:pt x="88314" y="49208"/>
                    <a:pt x="88314" y="49208"/>
                    <a:pt x="88314" y="49208"/>
                  </a:cubicBezTo>
                  <a:cubicBezTo>
                    <a:pt x="87640" y="49208"/>
                    <a:pt x="87640" y="49208"/>
                    <a:pt x="87640" y="49208"/>
                  </a:cubicBezTo>
                  <a:cubicBezTo>
                    <a:pt x="86292" y="50071"/>
                    <a:pt x="86292" y="50071"/>
                    <a:pt x="86292" y="50071"/>
                  </a:cubicBezTo>
                  <a:cubicBezTo>
                    <a:pt x="85617" y="50071"/>
                    <a:pt x="85617" y="50071"/>
                    <a:pt x="85617" y="50071"/>
                  </a:cubicBezTo>
                  <a:cubicBezTo>
                    <a:pt x="84943" y="50503"/>
                    <a:pt x="84943" y="50503"/>
                    <a:pt x="84943" y="50503"/>
                  </a:cubicBezTo>
                  <a:cubicBezTo>
                    <a:pt x="84943" y="51366"/>
                    <a:pt x="84943" y="51366"/>
                    <a:pt x="84943" y="51366"/>
                  </a:cubicBezTo>
                  <a:cubicBezTo>
                    <a:pt x="84943" y="51366"/>
                    <a:pt x="84943" y="51798"/>
                    <a:pt x="84943" y="51798"/>
                  </a:cubicBezTo>
                  <a:cubicBezTo>
                    <a:pt x="85617" y="51798"/>
                    <a:pt x="85617" y="52230"/>
                    <a:pt x="85617" y="52230"/>
                  </a:cubicBezTo>
                  <a:cubicBezTo>
                    <a:pt x="86292" y="53093"/>
                    <a:pt x="86292" y="53093"/>
                    <a:pt x="86292" y="53093"/>
                  </a:cubicBezTo>
                  <a:cubicBezTo>
                    <a:pt x="86966" y="53956"/>
                    <a:pt x="86966" y="53956"/>
                    <a:pt x="86966" y="53956"/>
                  </a:cubicBezTo>
                  <a:cubicBezTo>
                    <a:pt x="87640" y="55251"/>
                    <a:pt x="87640" y="55251"/>
                    <a:pt x="87640" y="55251"/>
                  </a:cubicBezTo>
                  <a:cubicBezTo>
                    <a:pt x="87640" y="55251"/>
                    <a:pt x="86966" y="56115"/>
                    <a:pt x="86966" y="56115"/>
                  </a:cubicBezTo>
                  <a:cubicBezTo>
                    <a:pt x="86966" y="56115"/>
                    <a:pt x="86292" y="56978"/>
                    <a:pt x="86292" y="56978"/>
                  </a:cubicBezTo>
                  <a:cubicBezTo>
                    <a:pt x="85617" y="57841"/>
                    <a:pt x="85617" y="57841"/>
                    <a:pt x="85617" y="57841"/>
                  </a:cubicBezTo>
                  <a:cubicBezTo>
                    <a:pt x="84943" y="58705"/>
                    <a:pt x="84943" y="58705"/>
                    <a:pt x="84943" y="58705"/>
                  </a:cubicBezTo>
                  <a:cubicBezTo>
                    <a:pt x="84269" y="59136"/>
                    <a:pt x="84269" y="59136"/>
                    <a:pt x="84269" y="59136"/>
                  </a:cubicBezTo>
                  <a:cubicBezTo>
                    <a:pt x="82921" y="59136"/>
                    <a:pt x="82921" y="59136"/>
                    <a:pt x="82921" y="59136"/>
                  </a:cubicBezTo>
                  <a:cubicBezTo>
                    <a:pt x="82921" y="59568"/>
                    <a:pt x="82921" y="59568"/>
                    <a:pt x="82921" y="59568"/>
                  </a:cubicBezTo>
                  <a:cubicBezTo>
                    <a:pt x="82247" y="60431"/>
                    <a:pt x="82247" y="60431"/>
                    <a:pt x="82247" y="60431"/>
                  </a:cubicBezTo>
                  <a:cubicBezTo>
                    <a:pt x="82247" y="60863"/>
                    <a:pt x="82247" y="60863"/>
                    <a:pt x="82247" y="60863"/>
                  </a:cubicBezTo>
                  <a:cubicBezTo>
                    <a:pt x="81573" y="60863"/>
                    <a:pt x="81573" y="60863"/>
                    <a:pt x="81573" y="60863"/>
                  </a:cubicBezTo>
                  <a:cubicBezTo>
                    <a:pt x="81573" y="61726"/>
                    <a:pt x="81573" y="61726"/>
                    <a:pt x="81573" y="61726"/>
                  </a:cubicBezTo>
                  <a:cubicBezTo>
                    <a:pt x="80898" y="62158"/>
                    <a:pt x="80898" y="62158"/>
                    <a:pt x="80898" y="62158"/>
                  </a:cubicBezTo>
                  <a:cubicBezTo>
                    <a:pt x="80898" y="62158"/>
                    <a:pt x="80224" y="62158"/>
                    <a:pt x="80224" y="62158"/>
                  </a:cubicBezTo>
                  <a:cubicBezTo>
                    <a:pt x="79550" y="62158"/>
                    <a:pt x="78876" y="62589"/>
                    <a:pt x="78876" y="62589"/>
                  </a:cubicBezTo>
                  <a:cubicBezTo>
                    <a:pt x="78876" y="62589"/>
                    <a:pt x="77528" y="62589"/>
                    <a:pt x="77528" y="62158"/>
                  </a:cubicBezTo>
                  <a:cubicBezTo>
                    <a:pt x="77528" y="62158"/>
                    <a:pt x="76853" y="62589"/>
                    <a:pt x="76179" y="62158"/>
                  </a:cubicBezTo>
                  <a:cubicBezTo>
                    <a:pt x="76179" y="62158"/>
                    <a:pt x="75505" y="61726"/>
                    <a:pt x="75505" y="61726"/>
                  </a:cubicBezTo>
                  <a:cubicBezTo>
                    <a:pt x="74831" y="61726"/>
                    <a:pt x="74831" y="61726"/>
                    <a:pt x="74831" y="61726"/>
                  </a:cubicBezTo>
                  <a:cubicBezTo>
                    <a:pt x="73483" y="61726"/>
                    <a:pt x="73483" y="61726"/>
                    <a:pt x="73483" y="61726"/>
                  </a:cubicBezTo>
                  <a:cubicBezTo>
                    <a:pt x="71460" y="61726"/>
                    <a:pt x="71460" y="61726"/>
                    <a:pt x="71460" y="61726"/>
                  </a:cubicBezTo>
                  <a:cubicBezTo>
                    <a:pt x="70112" y="61726"/>
                    <a:pt x="70112" y="61726"/>
                    <a:pt x="70112" y="61726"/>
                  </a:cubicBezTo>
                  <a:cubicBezTo>
                    <a:pt x="70112" y="61294"/>
                    <a:pt x="70112" y="61294"/>
                    <a:pt x="70112" y="61294"/>
                  </a:cubicBezTo>
                  <a:cubicBezTo>
                    <a:pt x="69438" y="61726"/>
                    <a:pt x="69438" y="61726"/>
                    <a:pt x="69438" y="61726"/>
                  </a:cubicBezTo>
                  <a:cubicBezTo>
                    <a:pt x="68764" y="60863"/>
                    <a:pt x="68764" y="60863"/>
                    <a:pt x="68764" y="60863"/>
                  </a:cubicBezTo>
                  <a:cubicBezTo>
                    <a:pt x="67415" y="60863"/>
                    <a:pt x="67415" y="60863"/>
                    <a:pt x="67415" y="60863"/>
                  </a:cubicBezTo>
                  <a:cubicBezTo>
                    <a:pt x="66067" y="60863"/>
                    <a:pt x="66067" y="60863"/>
                    <a:pt x="66067" y="60863"/>
                  </a:cubicBezTo>
                  <a:cubicBezTo>
                    <a:pt x="66067" y="60863"/>
                    <a:pt x="66067" y="61294"/>
                    <a:pt x="66741" y="61726"/>
                  </a:cubicBezTo>
                  <a:cubicBezTo>
                    <a:pt x="66741" y="61726"/>
                    <a:pt x="67415" y="62589"/>
                    <a:pt x="67415" y="62589"/>
                  </a:cubicBezTo>
                  <a:cubicBezTo>
                    <a:pt x="67415" y="62589"/>
                    <a:pt x="67415" y="63453"/>
                    <a:pt x="67415" y="63453"/>
                  </a:cubicBezTo>
                  <a:cubicBezTo>
                    <a:pt x="67415" y="63453"/>
                    <a:pt x="68764" y="64316"/>
                    <a:pt x="68764" y="64316"/>
                  </a:cubicBezTo>
                  <a:cubicBezTo>
                    <a:pt x="68764" y="64748"/>
                    <a:pt x="68764" y="64748"/>
                    <a:pt x="68764" y="64748"/>
                  </a:cubicBezTo>
                  <a:cubicBezTo>
                    <a:pt x="68764" y="64748"/>
                    <a:pt x="69438" y="65611"/>
                    <a:pt x="69438" y="65611"/>
                  </a:cubicBezTo>
                  <a:cubicBezTo>
                    <a:pt x="69438" y="65611"/>
                    <a:pt x="70786" y="66043"/>
                    <a:pt x="70786" y="66043"/>
                  </a:cubicBezTo>
                  <a:cubicBezTo>
                    <a:pt x="70786" y="66906"/>
                    <a:pt x="70786" y="66906"/>
                    <a:pt x="70786" y="66906"/>
                  </a:cubicBezTo>
                  <a:cubicBezTo>
                    <a:pt x="70112" y="67338"/>
                    <a:pt x="70112" y="67338"/>
                    <a:pt x="70112" y="67338"/>
                  </a:cubicBezTo>
                  <a:cubicBezTo>
                    <a:pt x="69438" y="67769"/>
                    <a:pt x="69438" y="67769"/>
                    <a:pt x="69438" y="67769"/>
                  </a:cubicBezTo>
                  <a:cubicBezTo>
                    <a:pt x="70112" y="68633"/>
                    <a:pt x="70112" y="68633"/>
                    <a:pt x="70112" y="68633"/>
                  </a:cubicBezTo>
                  <a:cubicBezTo>
                    <a:pt x="70112" y="69496"/>
                    <a:pt x="70112" y="69496"/>
                    <a:pt x="70112" y="69496"/>
                  </a:cubicBezTo>
                  <a:cubicBezTo>
                    <a:pt x="70786" y="69928"/>
                    <a:pt x="70786" y="69928"/>
                    <a:pt x="70786" y="69928"/>
                  </a:cubicBezTo>
                  <a:cubicBezTo>
                    <a:pt x="70786" y="70359"/>
                    <a:pt x="70786" y="70359"/>
                    <a:pt x="70786" y="70359"/>
                  </a:cubicBezTo>
                  <a:cubicBezTo>
                    <a:pt x="70112" y="70791"/>
                    <a:pt x="70112" y="70791"/>
                    <a:pt x="70112" y="70791"/>
                  </a:cubicBezTo>
                  <a:cubicBezTo>
                    <a:pt x="70112" y="71654"/>
                    <a:pt x="70112" y="71654"/>
                    <a:pt x="70112" y="71654"/>
                  </a:cubicBezTo>
                  <a:cubicBezTo>
                    <a:pt x="70786" y="72517"/>
                    <a:pt x="70786" y="72517"/>
                    <a:pt x="70786" y="72517"/>
                  </a:cubicBezTo>
                  <a:cubicBezTo>
                    <a:pt x="71460" y="73381"/>
                    <a:pt x="71460" y="73381"/>
                    <a:pt x="71460" y="73381"/>
                  </a:cubicBezTo>
                  <a:cubicBezTo>
                    <a:pt x="72808" y="73381"/>
                    <a:pt x="72808" y="73381"/>
                    <a:pt x="72808" y="73381"/>
                  </a:cubicBezTo>
                  <a:cubicBezTo>
                    <a:pt x="72808" y="74244"/>
                    <a:pt x="72808" y="74244"/>
                    <a:pt x="72808" y="74244"/>
                  </a:cubicBezTo>
                  <a:cubicBezTo>
                    <a:pt x="72134" y="74676"/>
                    <a:pt x="72134" y="74676"/>
                    <a:pt x="72134" y="74676"/>
                  </a:cubicBezTo>
                  <a:cubicBezTo>
                    <a:pt x="72134" y="74676"/>
                    <a:pt x="72134" y="75107"/>
                    <a:pt x="72134" y="75107"/>
                  </a:cubicBezTo>
                  <a:cubicBezTo>
                    <a:pt x="72808" y="75107"/>
                    <a:pt x="73483" y="75539"/>
                    <a:pt x="73483" y="75539"/>
                  </a:cubicBezTo>
                  <a:cubicBezTo>
                    <a:pt x="74831" y="75107"/>
                    <a:pt x="74831" y="75107"/>
                    <a:pt x="74831" y="75107"/>
                  </a:cubicBezTo>
                  <a:cubicBezTo>
                    <a:pt x="74831" y="75107"/>
                    <a:pt x="75505" y="75107"/>
                    <a:pt x="75505" y="75107"/>
                  </a:cubicBezTo>
                  <a:cubicBezTo>
                    <a:pt x="75505" y="75539"/>
                    <a:pt x="76179" y="76402"/>
                    <a:pt x="76179" y="76402"/>
                  </a:cubicBezTo>
                  <a:cubicBezTo>
                    <a:pt x="76853" y="76834"/>
                    <a:pt x="76853" y="76834"/>
                    <a:pt x="76853" y="76834"/>
                  </a:cubicBezTo>
                  <a:cubicBezTo>
                    <a:pt x="76853" y="77697"/>
                    <a:pt x="76853" y="77697"/>
                    <a:pt x="76853" y="77697"/>
                  </a:cubicBezTo>
                  <a:cubicBezTo>
                    <a:pt x="75505" y="78561"/>
                    <a:pt x="75505" y="78561"/>
                    <a:pt x="75505" y="78561"/>
                  </a:cubicBezTo>
                  <a:cubicBezTo>
                    <a:pt x="74157" y="79424"/>
                    <a:pt x="74157" y="79424"/>
                    <a:pt x="74157" y="79424"/>
                  </a:cubicBezTo>
                  <a:cubicBezTo>
                    <a:pt x="73483" y="79856"/>
                    <a:pt x="73483" y="79856"/>
                    <a:pt x="73483" y="79856"/>
                  </a:cubicBezTo>
                  <a:cubicBezTo>
                    <a:pt x="73483" y="80719"/>
                    <a:pt x="73483" y="80719"/>
                    <a:pt x="73483" y="80719"/>
                  </a:cubicBezTo>
                  <a:cubicBezTo>
                    <a:pt x="72808" y="81151"/>
                    <a:pt x="72808" y="81151"/>
                    <a:pt x="72808" y="81151"/>
                  </a:cubicBezTo>
                  <a:cubicBezTo>
                    <a:pt x="71460" y="81582"/>
                    <a:pt x="71460" y="81582"/>
                    <a:pt x="71460" y="81582"/>
                  </a:cubicBezTo>
                  <a:cubicBezTo>
                    <a:pt x="70112" y="82014"/>
                    <a:pt x="70112" y="82014"/>
                    <a:pt x="70112" y="82014"/>
                  </a:cubicBezTo>
                  <a:cubicBezTo>
                    <a:pt x="69438" y="82014"/>
                    <a:pt x="69438" y="82014"/>
                    <a:pt x="69438" y="82014"/>
                  </a:cubicBezTo>
                  <a:cubicBezTo>
                    <a:pt x="68764" y="82446"/>
                    <a:pt x="68764" y="82446"/>
                    <a:pt x="68764" y="82446"/>
                  </a:cubicBezTo>
                  <a:cubicBezTo>
                    <a:pt x="66741" y="82877"/>
                    <a:pt x="66741" y="82877"/>
                    <a:pt x="66741" y="82877"/>
                  </a:cubicBezTo>
                  <a:cubicBezTo>
                    <a:pt x="66067" y="82877"/>
                    <a:pt x="66067" y="82877"/>
                    <a:pt x="66067" y="82877"/>
                  </a:cubicBezTo>
                  <a:cubicBezTo>
                    <a:pt x="64719" y="84604"/>
                    <a:pt x="64719" y="84604"/>
                    <a:pt x="64719" y="84604"/>
                  </a:cubicBezTo>
                  <a:cubicBezTo>
                    <a:pt x="64719" y="84604"/>
                    <a:pt x="64719" y="85467"/>
                    <a:pt x="64719" y="85467"/>
                  </a:cubicBezTo>
                  <a:cubicBezTo>
                    <a:pt x="64719" y="85467"/>
                    <a:pt x="65393" y="85899"/>
                    <a:pt x="65393" y="85899"/>
                  </a:cubicBezTo>
                  <a:cubicBezTo>
                    <a:pt x="65393" y="85899"/>
                    <a:pt x="64044" y="86762"/>
                    <a:pt x="64044" y="86762"/>
                  </a:cubicBezTo>
                  <a:cubicBezTo>
                    <a:pt x="64044" y="86762"/>
                    <a:pt x="62696" y="87194"/>
                    <a:pt x="62696" y="87194"/>
                  </a:cubicBezTo>
                  <a:cubicBezTo>
                    <a:pt x="62022" y="88057"/>
                    <a:pt x="62022" y="88057"/>
                    <a:pt x="62022" y="88057"/>
                  </a:cubicBezTo>
                  <a:cubicBezTo>
                    <a:pt x="62696" y="88489"/>
                    <a:pt x="62696" y="88489"/>
                    <a:pt x="62696" y="88489"/>
                  </a:cubicBezTo>
                  <a:cubicBezTo>
                    <a:pt x="61348" y="88489"/>
                    <a:pt x="61348" y="88489"/>
                    <a:pt x="61348" y="88489"/>
                  </a:cubicBezTo>
                  <a:cubicBezTo>
                    <a:pt x="62022" y="89352"/>
                    <a:pt x="62022" y="89352"/>
                    <a:pt x="62022" y="89352"/>
                  </a:cubicBezTo>
                  <a:cubicBezTo>
                    <a:pt x="61348" y="89784"/>
                    <a:pt x="61348" y="89784"/>
                    <a:pt x="61348" y="89784"/>
                  </a:cubicBezTo>
                  <a:cubicBezTo>
                    <a:pt x="62022" y="90215"/>
                    <a:pt x="62022" y="90215"/>
                    <a:pt x="62022" y="90215"/>
                  </a:cubicBezTo>
                  <a:cubicBezTo>
                    <a:pt x="62022" y="90215"/>
                    <a:pt x="62696" y="91510"/>
                    <a:pt x="62696" y="91510"/>
                  </a:cubicBezTo>
                  <a:cubicBezTo>
                    <a:pt x="62696" y="91942"/>
                    <a:pt x="63370" y="92374"/>
                    <a:pt x="63370" y="92374"/>
                  </a:cubicBezTo>
                  <a:cubicBezTo>
                    <a:pt x="63370" y="92374"/>
                    <a:pt x="64044" y="92805"/>
                    <a:pt x="64044" y="92805"/>
                  </a:cubicBezTo>
                  <a:cubicBezTo>
                    <a:pt x="64044" y="93237"/>
                    <a:pt x="64044" y="93669"/>
                    <a:pt x="64044" y="94100"/>
                  </a:cubicBezTo>
                  <a:cubicBezTo>
                    <a:pt x="64044" y="94532"/>
                    <a:pt x="64719" y="95395"/>
                    <a:pt x="64719" y="95395"/>
                  </a:cubicBezTo>
                  <a:cubicBezTo>
                    <a:pt x="65393" y="96258"/>
                    <a:pt x="65393" y="96258"/>
                    <a:pt x="65393" y="96258"/>
                  </a:cubicBezTo>
                  <a:cubicBezTo>
                    <a:pt x="65393" y="96258"/>
                    <a:pt x="65393" y="96690"/>
                    <a:pt x="65393" y="96690"/>
                  </a:cubicBezTo>
                  <a:cubicBezTo>
                    <a:pt x="66067" y="96690"/>
                    <a:pt x="67415" y="96690"/>
                    <a:pt x="67415" y="96690"/>
                  </a:cubicBezTo>
                  <a:cubicBezTo>
                    <a:pt x="67415" y="96690"/>
                    <a:pt x="68764" y="96690"/>
                    <a:pt x="68764" y="96690"/>
                  </a:cubicBezTo>
                  <a:cubicBezTo>
                    <a:pt x="68764" y="96690"/>
                    <a:pt x="69438" y="96258"/>
                    <a:pt x="70112" y="96690"/>
                  </a:cubicBezTo>
                  <a:cubicBezTo>
                    <a:pt x="70112" y="96690"/>
                    <a:pt x="70112" y="97122"/>
                    <a:pt x="70112" y="97122"/>
                  </a:cubicBezTo>
                  <a:cubicBezTo>
                    <a:pt x="70112" y="97122"/>
                    <a:pt x="70112" y="97553"/>
                    <a:pt x="70112" y="97553"/>
                  </a:cubicBezTo>
                  <a:cubicBezTo>
                    <a:pt x="67415" y="99280"/>
                    <a:pt x="67415" y="99280"/>
                    <a:pt x="67415" y="99280"/>
                  </a:cubicBezTo>
                  <a:cubicBezTo>
                    <a:pt x="67415" y="100575"/>
                    <a:pt x="67415" y="100575"/>
                    <a:pt x="67415" y="100575"/>
                  </a:cubicBezTo>
                  <a:cubicBezTo>
                    <a:pt x="67415" y="100575"/>
                    <a:pt x="66741" y="100575"/>
                    <a:pt x="66741" y="100575"/>
                  </a:cubicBezTo>
                  <a:cubicBezTo>
                    <a:pt x="66067" y="100575"/>
                    <a:pt x="65393" y="100575"/>
                    <a:pt x="65393" y="100575"/>
                  </a:cubicBezTo>
                  <a:cubicBezTo>
                    <a:pt x="64044" y="99712"/>
                    <a:pt x="64044" y="99712"/>
                    <a:pt x="64044" y="99712"/>
                  </a:cubicBezTo>
                  <a:cubicBezTo>
                    <a:pt x="62696" y="100143"/>
                    <a:pt x="62696" y="100143"/>
                    <a:pt x="62696" y="100143"/>
                  </a:cubicBezTo>
                  <a:cubicBezTo>
                    <a:pt x="62696" y="100575"/>
                    <a:pt x="62696" y="100575"/>
                    <a:pt x="62696" y="100575"/>
                  </a:cubicBezTo>
                  <a:cubicBezTo>
                    <a:pt x="62696" y="100575"/>
                    <a:pt x="61348" y="100575"/>
                    <a:pt x="61348" y="100575"/>
                  </a:cubicBezTo>
                  <a:cubicBezTo>
                    <a:pt x="61348" y="100575"/>
                    <a:pt x="59325" y="100575"/>
                    <a:pt x="59325" y="100575"/>
                  </a:cubicBezTo>
                  <a:cubicBezTo>
                    <a:pt x="58651" y="101007"/>
                    <a:pt x="58651" y="101007"/>
                    <a:pt x="58651" y="101007"/>
                  </a:cubicBezTo>
                  <a:cubicBezTo>
                    <a:pt x="57977" y="102733"/>
                    <a:pt x="57977" y="102733"/>
                    <a:pt x="57977" y="102733"/>
                  </a:cubicBezTo>
                  <a:cubicBezTo>
                    <a:pt x="56629" y="103597"/>
                    <a:pt x="56629" y="103597"/>
                    <a:pt x="56629" y="103597"/>
                  </a:cubicBezTo>
                  <a:cubicBezTo>
                    <a:pt x="55280" y="104028"/>
                    <a:pt x="55280" y="104028"/>
                    <a:pt x="55280" y="104028"/>
                  </a:cubicBezTo>
                  <a:cubicBezTo>
                    <a:pt x="53932" y="104892"/>
                    <a:pt x="53932" y="104892"/>
                    <a:pt x="53932" y="104892"/>
                  </a:cubicBezTo>
                  <a:cubicBezTo>
                    <a:pt x="51910" y="105323"/>
                    <a:pt x="51910" y="105323"/>
                    <a:pt x="51910" y="105323"/>
                  </a:cubicBezTo>
                  <a:cubicBezTo>
                    <a:pt x="51910" y="105323"/>
                    <a:pt x="51235" y="105755"/>
                    <a:pt x="51235" y="105755"/>
                  </a:cubicBezTo>
                  <a:cubicBezTo>
                    <a:pt x="51235" y="106187"/>
                    <a:pt x="50561" y="107482"/>
                    <a:pt x="50561" y="107482"/>
                  </a:cubicBezTo>
                  <a:cubicBezTo>
                    <a:pt x="50561" y="107482"/>
                    <a:pt x="49213" y="107913"/>
                    <a:pt x="49213" y="108345"/>
                  </a:cubicBezTo>
                  <a:cubicBezTo>
                    <a:pt x="49213" y="108345"/>
                    <a:pt x="47865" y="108776"/>
                    <a:pt x="47865" y="108776"/>
                  </a:cubicBezTo>
                  <a:cubicBezTo>
                    <a:pt x="47865" y="108776"/>
                    <a:pt x="47865" y="109640"/>
                    <a:pt x="47865" y="109640"/>
                  </a:cubicBezTo>
                  <a:cubicBezTo>
                    <a:pt x="47865" y="109640"/>
                    <a:pt x="48539" y="110503"/>
                    <a:pt x="48539" y="110503"/>
                  </a:cubicBezTo>
                  <a:cubicBezTo>
                    <a:pt x="48539" y="111798"/>
                    <a:pt x="48539" y="111798"/>
                    <a:pt x="48539" y="111798"/>
                  </a:cubicBezTo>
                  <a:cubicBezTo>
                    <a:pt x="48539" y="112661"/>
                    <a:pt x="48539" y="112661"/>
                    <a:pt x="48539" y="112661"/>
                  </a:cubicBezTo>
                  <a:cubicBezTo>
                    <a:pt x="49213" y="113525"/>
                    <a:pt x="49213" y="113525"/>
                    <a:pt x="49213" y="113525"/>
                  </a:cubicBezTo>
                  <a:cubicBezTo>
                    <a:pt x="48539" y="114388"/>
                    <a:pt x="48539" y="114388"/>
                    <a:pt x="48539" y="114388"/>
                  </a:cubicBezTo>
                  <a:cubicBezTo>
                    <a:pt x="47865" y="115683"/>
                    <a:pt x="47865" y="115683"/>
                    <a:pt x="47865" y="115683"/>
                  </a:cubicBezTo>
                  <a:cubicBezTo>
                    <a:pt x="47865" y="116115"/>
                    <a:pt x="47865" y="116115"/>
                    <a:pt x="47865" y="116115"/>
                  </a:cubicBezTo>
                  <a:cubicBezTo>
                    <a:pt x="47865" y="116978"/>
                    <a:pt x="47865" y="116978"/>
                    <a:pt x="47865" y="116978"/>
                  </a:cubicBezTo>
                  <a:cubicBezTo>
                    <a:pt x="47865" y="118705"/>
                    <a:pt x="47865" y="118705"/>
                    <a:pt x="47865" y="118705"/>
                  </a:cubicBezTo>
                  <a:cubicBezTo>
                    <a:pt x="45842" y="118273"/>
                    <a:pt x="45842" y="118273"/>
                    <a:pt x="45842" y="118273"/>
                  </a:cubicBezTo>
                  <a:cubicBezTo>
                    <a:pt x="43820" y="118273"/>
                    <a:pt x="43820" y="118273"/>
                    <a:pt x="43820" y="118273"/>
                  </a:cubicBezTo>
                  <a:cubicBezTo>
                    <a:pt x="41797" y="118705"/>
                    <a:pt x="41797" y="118705"/>
                    <a:pt x="41797" y="118705"/>
                  </a:cubicBezTo>
                  <a:cubicBezTo>
                    <a:pt x="39101" y="119568"/>
                    <a:pt x="39101" y="119568"/>
                    <a:pt x="39101" y="119568"/>
                  </a:cubicBezTo>
                  <a:cubicBezTo>
                    <a:pt x="35056" y="120000"/>
                    <a:pt x="35056" y="120000"/>
                    <a:pt x="35056" y="120000"/>
                  </a:cubicBezTo>
                  <a:cubicBezTo>
                    <a:pt x="31685" y="120000"/>
                    <a:pt x="31685" y="120000"/>
                    <a:pt x="31685" y="120000"/>
                  </a:cubicBezTo>
                  <a:cubicBezTo>
                    <a:pt x="29662" y="119568"/>
                    <a:pt x="29662" y="119568"/>
                    <a:pt x="29662" y="119568"/>
                  </a:cubicBezTo>
                  <a:cubicBezTo>
                    <a:pt x="28314" y="119136"/>
                    <a:pt x="28314" y="119136"/>
                    <a:pt x="28314" y="119136"/>
                  </a:cubicBezTo>
                  <a:cubicBezTo>
                    <a:pt x="26966" y="118273"/>
                    <a:pt x="26966" y="118273"/>
                    <a:pt x="26966" y="118273"/>
                  </a:cubicBezTo>
                  <a:cubicBezTo>
                    <a:pt x="24943" y="116978"/>
                    <a:pt x="24943" y="116978"/>
                    <a:pt x="24943" y="116978"/>
                  </a:cubicBezTo>
                  <a:cubicBezTo>
                    <a:pt x="22921" y="116978"/>
                    <a:pt x="22921" y="116978"/>
                    <a:pt x="22921" y="116978"/>
                  </a:cubicBezTo>
                  <a:cubicBezTo>
                    <a:pt x="21573" y="116546"/>
                    <a:pt x="21573" y="116546"/>
                    <a:pt x="21573" y="116546"/>
                  </a:cubicBezTo>
                  <a:cubicBezTo>
                    <a:pt x="20224" y="116115"/>
                    <a:pt x="20224" y="116115"/>
                    <a:pt x="20224" y="116115"/>
                  </a:cubicBezTo>
                  <a:cubicBezTo>
                    <a:pt x="18876" y="115683"/>
                    <a:pt x="18876" y="115683"/>
                    <a:pt x="18876" y="115683"/>
                  </a:cubicBezTo>
                  <a:cubicBezTo>
                    <a:pt x="17528" y="115683"/>
                    <a:pt x="17528" y="115683"/>
                    <a:pt x="17528" y="115683"/>
                  </a:cubicBezTo>
                  <a:cubicBezTo>
                    <a:pt x="14831" y="114820"/>
                    <a:pt x="14831" y="114820"/>
                    <a:pt x="14831" y="114820"/>
                  </a:cubicBezTo>
                  <a:cubicBezTo>
                    <a:pt x="12134" y="113956"/>
                    <a:pt x="12134" y="113956"/>
                    <a:pt x="12134" y="113956"/>
                  </a:cubicBezTo>
                  <a:cubicBezTo>
                    <a:pt x="10786" y="114388"/>
                    <a:pt x="10786" y="114388"/>
                    <a:pt x="10786" y="114388"/>
                  </a:cubicBezTo>
                  <a:cubicBezTo>
                    <a:pt x="10786" y="114820"/>
                    <a:pt x="10786" y="114820"/>
                    <a:pt x="10786" y="114820"/>
                  </a:cubicBezTo>
                  <a:cubicBezTo>
                    <a:pt x="8764" y="114388"/>
                    <a:pt x="8764" y="114388"/>
                    <a:pt x="8764" y="114388"/>
                  </a:cubicBezTo>
                  <a:cubicBezTo>
                    <a:pt x="7415" y="114388"/>
                    <a:pt x="7415" y="114388"/>
                    <a:pt x="7415" y="114388"/>
                  </a:cubicBezTo>
                  <a:cubicBezTo>
                    <a:pt x="6067" y="114388"/>
                    <a:pt x="6067" y="114388"/>
                    <a:pt x="6067" y="114388"/>
                  </a:cubicBezTo>
                  <a:cubicBezTo>
                    <a:pt x="3370" y="114820"/>
                    <a:pt x="3370" y="114820"/>
                    <a:pt x="3370" y="114820"/>
                  </a:cubicBezTo>
                  <a:cubicBezTo>
                    <a:pt x="1348" y="115251"/>
                    <a:pt x="1348" y="115251"/>
                    <a:pt x="1348" y="115251"/>
                  </a:cubicBezTo>
                  <a:cubicBezTo>
                    <a:pt x="0" y="114820"/>
                    <a:pt x="0" y="114820"/>
                    <a:pt x="0" y="114820"/>
                  </a:cubicBezTo>
                  <a:cubicBezTo>
                    <a:pt x="1348" y="113956"/>
                    <a:pt x="1348" y="113956"/>
                    <a:pt x="1348" y="113956"/>
                  </a:cubicBezTo>
                  <a:cubicBezTo>
                    <a:pt x="2696" y="112661"/>
                    <a:pt x="2696" y="112661"/>
                    <a:pt x="2696" y="112661"/>
                  </a:cubicBezTo>
                  <a:cubicBezTo>
                    <a:pt x="4044" y="112230"/>
                    <a:pt x="4044" y="112230"/>
                    <a:pt x="4044" y="112230"/>
                  </a:cubicBezTo>
                  <a:cubicBezTo>
                    <a:pt x="4719" y="110935"/>
                    <a:pt x="4719" y="110935"/>
                    <a:pt x="4719" y="110935"/>
                  </a:cubicBezTo>
                  <a:cubicBezTo>
                    <a:pt x="6741" y="110071"/>
                    <a:pt x="6741" y="110071"/>
                    <a:pt x="6741" y="110071"/>
                  </a:cubicBezTo>
                  <a:cubicBezTo>
                    <a:pt x="6741" y="108776"/>
                    <a:pt x="6741" y="108776"/>
                    <a:pt x="6741" y="108776"/>
                  </a:cubicBezTo>
                  <a:cubicBezTo>
                    <a:pt x="8089" y="107050"/>
                    <a:pt x="8089" y="107050"/>
                    <a:pt x="8089" y="107050"/>
                  </a:cubicBezTo>
                  <a:cubicBezTo>
                    <a:pt x="8089" y="107050"/>
                    <a:pt x="9438" y="107050"/>
                    <a:pt x="9438" y="106618"/>
                  </a:cubicBezTo>
                  <a:cubicBezTo>
                    <a:pt x="10112" y="105755"/>
                    <a:pt x="10112" y="105323"/>
                    <a:pt x="10786" y="104892"/>
                  </a:cubicBezTo>
                  <a:cubicBezTo>
                    <a:pt x="10786" y="104460"/>
                    <a:pt x="11460" y="104460"/>
                    <a:pt x="11460" y="104028"/>
                  </a:cubicBezTo>
                  <a:cubicBezTo>
                    <a:pt x="11460" y="103597"/>
                    <a:pt x="10786" y="102302"/>
                    <a:pt x="10786" y="102302"/>
                  </a:cubicBezTo>
                  <a:cubicBezTo>
                    <a:pt x="10786" y="102302"/>
                    <a:pt x="12134" y="100575"/>
                    <a:pt x="12134" y="100575"/>
                  </a:cubicBezTo>
                  <a:cubicBezTo>
                    <a:pt x="12808" y="100143"/>
                    <a:pt x="12808" y="98417"/>
                    <a:pt x="12808" y="98417"/>
                  </a:cubicBezTo>
                  <a:cubicBezTo>
                    <a:pt x="12808" y="98417"/>
                    <a:pt x="13483" y="97553"/>
                    <a:pt x="14157" y="97122"/>
                  </a:cubicBezTo>
                  <a:cubicBezTo>
                    <a:pt x="14157" y="96690"/>
                    <a:pt x="14157" y="95395"/>
                    <a:pt x="14157" y="95395"/>
                  </a:cubicBezTo>
                  <a:cubicBezTo>
                    <a:pt x="12808" y="94100"/>
                    <a:pt x="12808" y="94100"/>
                    <a:pt x="12808" y="94100"/>
                  </a:cubicBezTo>
                  <a:cubicBezTo>
                    <a:pt x="14157" y="92374"/>
                    <a:pt x="14157" y="92374"/>
                    <a:pt x="14157" y="92374"/>
                  </a:cubicBezTo>
                  <a:cubicBezTo>
                    <a:pt x="16179" y="90215"/>
                    <a:pt x="16179" y="90215"/>
                    <a:pt x="16179" y="90215"/>
                  </a:cubicBezTo>
                  <a:cubicBezTo>
                    <a:pt x="18202" y="88057"/>
                    <a:pt x="18202" y="88057"/>
                    <a:pt x="18202" y="88057"/>
                  </a:cubicBezTo>
                  <a:cubicBezTo>
                    <a:pt x="18876" y="85899"/>
                    <a:pt x="18876" y="85899"/>
                    <a:pt x="18876" y="85899"/>
                  </a:cubicBezTo>
                  <a:cubicBezTo>
                    <a:pt x="18876" y="85899"/>
                    <a:pt x="18876" y="85035"/>
                    <a:pt x="18876" y="84604"/>
                  </a:cubicBezTo>
                  <a:cubicBezTo>
                    <a:pt x="18876" y="84604"/>
                    <a:pt x="18876" y="83741"/>
                    <a:pt x="18876" y="83741"/>
                  </a:cubicBezTo>
                  <a:cubicBezTo>
                    <a:pt x="18876" y="83741"/>
                    <a:pt x="18876" y="82877"/>
                    <a:pt x="18876" y="82877"/>
                  </a:cubicBezTo>
                  <a:cubicBezTo>
                    <a:pt x="18876" y="82877"/>
                    <a:pt x="18202" y="82014"/>
                    <a:pt x="18202" y="82014"/>
                  </a:cubicBezTo>
                  <a:cubicBezTo>
                    <a:pt x="17528" y="80719"/>
                    <a:pt x="17528" y="80719"/>
                    <a:pt x="17528" y="80719"/>
                  </a:cubicBezTo>
                  <a:cubicBezTo>
                    <a:pt x="16853" y="81151"/>
                    <a:pt x="16853" y="81151"/>
                    <a:pt x="16853" y="81151"/>
                  </a:cubicBezTo>
                  <a:cubicBezTo>
                    <a:pt x="16853" y="81151"/>
                    <a:pt x="16179" y="81582"/>
                    <a:pt x="15505" y="81151"/>
                  </a:cubicBezTo>
                  <a:cubicBezTo>
                    <a:pt x="15505" y="81151"/>
                    <a:pt x="12808" y="81151"/>
                    <a:pt x="12808" y="81151"/>
                  </a:cubicBezTo>
                  <a:cubicBezTo>
                    <a:pt x="11460" y="81582"/>
                    <a:pt x="11460" y="81582"/>
                    <a:pt x="11460" y="81582"/>
                  </a:cubicBezTo>
                  <a:cubicBezTo>
                    <a:pt x="9438" y="81151"/>
                    <a:pt x="9438" y="81151"/>
                    <a:pt x="9438" y="81151"/>
                  </a:cubicBezTo>
                  <a:cubicBezTo>
                    <a:pt x="9438" y="81151"/>
                    <a:pt x="8764" y="81582"/>
                    <a:pt x="8089" y="81582"/>
                  </a:cubicBezTo>
                  <a:cubicBezTo>
                    <a:pt x="8089" y="81582"/>
                    <a:pt x="7415" y="81582"/>
                    <a:pt x="7415" y="81151"/>
                  </a:cubicBezTo>
                  <a:cubicBezTo>
                    <a:pt x="7415" y="81151"/>
                    <a:pt x="9438" y="79856"/>
                    <a:pt x="9438" y="79856"/>
                  </a:cubicBezTo>
                  <a:cubicBezTo>
                    <a:pt x="9438" y="79856"/>
                    <a:pt x="9438" y="79856"/>
                    <a:pt x="9438" y="79424"/>
                  </a:cubicBezTo>
                  <a:cubicBezTo>
                    <a:pt x="9438" y="78992"/>
                    <a:pt x="9438" y="78129"/>
                    <a:pt x="9438" y="78129"/>
                  </a:cubicBezTo>
                  <a:cubicBezTo>
                    <a:pt x="9438" y="77697"/>
                    <a:pt x="8764" y="76402"/>
                    <a:pt x="8764" y="76402"/>
                  </a:cubicBezTo>
                  <a:cubicBezTo>
                    <a:pt x="8764" y="76402"/>
                    <a:pt x="8089" y="75971"/>
                    <a:pt x="8764" y="75539"/>
                  </a:cubicBezTo>
                  <a:cubicBezTo>
                    <a:pt x="8764" y="75107"/>
                    <a:pt x="9438" y="75107"/>
                    <a:pt x="9438" y="75107"/>
                  </a:cubicBezTo>
                  <a:cubicBezTo>
                    <a:pt x="8089" y="74676"/>
                    <a:pt x="8089" y="74676"/>
                    <a:pt x="8089" y="74676"/>
                  </a:cubicBezTo>
                  <a:cubicBezTo>
                    <a:pt x="8089" y="74676"/>
                    <a:pt x="8089" y="74676"/>
                    <a:pt x="7415" y="74676"/>
                  </a:cubicBezTo>
                  <a:cubicBezTo>
                    <a:pt x="6741" y="75107"/>
                    <a:pt x="6067" y="75107"/>
                    <a:pt x="6067" y="75107"/>
                  </a:cubicBezTo>
                  <a:cubicBezTo>
                    <a:pt x="5393" y="74244"/>
                    <a:pt x="5393" y="74244"/>
                    <a:pt x="5393" y="74244"/>
                  </a:cubicBezTo>
                  <a:cubicBezTo>
                    <a:pt x="5393" y="74244"/>
                    <a:pt x="4719" y="74676"/>
                    <a:pt x="4719" y="74244"/>
                  </a:cubicBezTo>
                  <a:cubicBezTo>
                    <a:pt x="4044" y="74244"/>
                    <a:pt x="2696" y="73812"/>
                    <a:pt x="2696" y="73812"/>
                  </a:cubicBezTo>
                  <a:cubicBezTo>
                    <a:pt x="2696" y="73812"/>
                    <a:pt x="2696" y="72949"/>
                    <a:pt x="2696" y="72949"/>
                  </a:cubicBezTo>
                  <a:cubicBezTo>
                    <a:pt x="3370" y="72517"/>
                    <a:pt x="3370" y="72517"/>
                    <a:pt x="3370" y="72086"/>
                  </a:cubicBezTo>
                  <a:cubicBezTo>
                    <a:pt x="3370" y="71654"/>
                    <a:pt x="3370" y="71223"/>
                    <a:pt x="4044" y="70791"/>
                  </a:cubicBezTo>
                  <a:cubicBezTo>
                    <a:pt x="4044" y="70359"/>
                    <a:pt x="4719" y="69928"/>
                    <a:pt x="5393" y="69928"/>
                  </a:cubicBezTo>
                  <a:cubicBezTo>
                    <a:pt x="6067" y="69496"/>
                    <a:pt x="6067" y="69496"/>
                    <a:pt x="6067" y="69496"/>
                  </a:cubicBezTo>
                  <a:cubicBezTo>
                    <a:pt x="7415" y="67769"/>
                    <a:pt x="7415" y="67769"/>
                    <a:pt x="7415" y="67769"/>
                  </a:cubicBezTo>
                  <a:cubicBezTo>
                    <a:pt x="7415" y="67769"/>
                    <a:pt x="7415" y="66906"/>
                    <a:pt x="7415" y="66906"/>
                  </a:cubicBezTo>
                  <a:cubicBezTo>
                    <a:pt x="7415" y="66906"/>
                    <a:pt x="8089" y="66043"/>
                    <a:pt x="8089" y="65611"/>
                  </a:cubicBezTo>
                  <a:cubicBezTo>
                    <a:pt x="8089" y="65611"/>
                    <a:pt x="8764" y="64748"/>
                    <a:pt x="8764" y="64748"/>
                  </a:cubicBezTo>
                  <a:cubicBezTo>
                    <a:pt x="8764" y="64748"/>
                    <a:pt x="9438" y="64316"/>
                    <a:pt x="9438" y="63884"/>
                  </a:cubicBezTo>
                  <a:cubicBezTo>
                    <a:pt x="10112" y="63884"/>
                    <a:pt x="11460" y="63021"/>
                    <a:pt x="11460" y="63021"/>
                  </a:cubicBezTo>
                  <a:cubicBezTo>
                    <a:pt x="11460" y="63021"/>
                    <a:pt x="12134" y="61726"/>
                    <a:pt x="12134" y="61726"/>
                  </a:cubicBezTo>
                  <a:cubicBezTo>
                    <a:pt x="12134" y="61726"/>
                    <a:pt x="12808" y="60431"/>
                    <a:pt x="12808" y="60431"/>
                  </a:cubicBezTo>
                  <a:cubicBezTo>
                    <a:pt x="12134" y="59568"/>
                    <a:pt x="12134" y="59568"/>
                    <a:pt x="12134" y="59568"/>
                  </a:cubicBezTo>
                  <a:cubicBezTo>
                    <a:pt x="11460" y="59136"/>
                    <a:pt x="11460" y="59136"/>
                    <a:pt x="11460" y="59136"/>
                  </a:cubicBezTo>
                  <a:cubicBezTo>
                    <a:pt x="12808" y="58705"/>
                    <a:pt x="12808" y="58705"/>
                    <a:pt x="12808" y="58705"/>
                  </a:cubicBezTo>
                  <a:cubicBezTo>
                    <a:pt x="12808" y="58705"/>
                    <a:pt x="12808" y="58705"/>
                    <a:pt x="13483" y="58705"/>
                  </a:cubicBezTo>
                  <a:cubicBezTo>
                    <a:pt x="14157" y="58705"/>
                    <a:pt x="14831" y="58273"/>
                    <a:pt x="14831" y="58273"/>
                  </a:cubicBezTo>
                  <a:cubicBezTo>
                    <a:pt x="15505" y="58273"/>
                    <a:pt x="16853" y="57841"/>
                    <a:pt x="16853" y="57841"/>
                  </a:cubicBezTo>
                  <a:cubicBezTo>
                    <a:pt x="16853" y="57410"/>
                    <a:pt x="17528" y="57410"/>
                    <a:pt x="17528" y="57410"/>
                  </a:cubicBezTo>
                  <a:cubicBezTo>
                    <a:pt x="18202" y="57410"/>
                    <a:pt x="19550" y="56978"/>
                    <a:pt x="19550" y="56978"/>
                  </a:cubicBezTo>
                  <a:cubicBezTo>
                    <a:pt x="19550" y="56978"/>
                    <a:pt x="20224" y="56546"/>
                    <a:pt x="20224" y="56546"/>
                  </a:cubicBezTo>
                  <a:cubicBezTo>
                    <a:pt x="20224" y="56115"/>
                    <a:pt x="20224" y="56115"/>
                    <a:pt x="20224" y="56115"/>
                  </a:cubicBezTo>
                  <a:cubicBezTo>
                    <a:pt x="21573" y="55683"/>
                    <a:pt x="21573" y="55683"/>
                    <a:pt x="21573" y="55683"/>
                  </a:cubicBezTo>
                  <a:cubicBezTo>
                    <a:pt x="21573" y="55683"/>
                    <a:pt x="22247" y="55251"/>
                    <a:pt x="22247" y="54820"/>
                  </a:cubicBezTo>
                  <a:cubicBezTo>
                    <a:pt x="22247" y="54820"/>
                    <a:pt x="22921" y="53956"/>
                    <a:pt x="22921" y="53956"/>
                  </a:cubicBezTo>
                  <a:cubicBezTo>
                    <a:pt x="22921" y="53525"/>
                    <a:pt x="24943" y="52230"/>
                    <a:pt x="24943" y="52230"/>
                  </a:cubicBezTo>
                  <a:cubicBezTo>
                    <a:pt x="27640" y="49208"/>
                    <a:pt x="27640" y="49208"/>
                    <a:pt x="27640" y="49208"/>
                  </a:cubicBezTo>
                  <a:cubicBezTo>
                    <a:pt x="33707" y="43165"/>
                    <a:pt x="33707" y="43165"/>
                    <a:pt x="33707" y="43165"/>
                  </a:cubicBezTo>
                  <a:cubicBezTo>
                    <a:pt x="33033" y="42302"/>
                    <a:pt x="33033" y="42302"/>
                    <a:pt x="33033" y="42302"/>
                  </a:cubicBezTo>
                  <a:cubicBezTo>
                    <a:pt x="35056" y="40143"/>
                    <a:pt x="35056" y="40143"/>
                    <a:pt x="35056" y="40143"/>
                  </a:cubicBezTo>
                  <a:cubicBezTo>
                    <a:pt x="38426" y="36690"/>
                    <a:pt x="38426" y="36690"/>
                    <a:pt x="38426" y="36690"/>
                  </a:cubicBezTo>
                  <a:cubicBezTo>
                    <a:pt x="41797" y="31942"/>
                    <a:pt x="41797" y="31942"/>
                    <a:pt x="41797" y="31942"/>
                  </a:cubicBezTo>
                  <a:cubicBezTo>
                    <a:pt x="43820" y="29352"/>
                    <a:pt x="43820" y="29352"/>
                    <a:pt x="43820" y="29352"/>
                  </a:cubicBezTo>
                  <a:cubicBezTo>
                    <a:pt x="46516" y="26330"/>
                    <a:pt x="46516" y="26330"/>
                    <a:pt x="46516" y="26330"/>
                  </a:cubicBezTo>
                  <a:cubicBezTo>
                    <a:pt x="47865" y="23741"/>
                    <a:pt x="47865" y="23741"/>
                    <a:pt x="47865" y="23741"/>
                  </a:cubicBezTo>
                  <a:cubicBezTo>
                    <a:pt x="47865" y="20719"/>
                    <a:pt x="47865" y="20719"/>
                    <a:pt x="47865" y="20719"/>
                  </a:cubicBezTo>
                  <a:cubicBezTo>
                    <a:pt x="47865" y="18561"/>
                    <a:pt x="47865" y="18561"/>
                    <a:pt x="47865" y="18561"/>
                  </a:cubicBezTo>
                  <a:cubicBezTo>
                    <a:pt x="47865" y="16834"/>
                    <a:pt x="47865" y="16834"/>
                    <a:pt x="47865" y="16834"/>
                  </a:cubicBezTo>
                  <a:cubicBezTo>
                    <a:pt x="47865" y="15971"/>
                    <a:pt x="47865" y="15971"/>
                    <a:pt x="47865" y="15971"/>
                  </a:cubicBezTo>
                  <a:cubicBezTo>
                    <a:pt x="47865" y="15107"/>
                    <a:pt x="47865" y="15107"/>
                    <a:pt x="47865" y="15107"/>
                  </a:cubicBezTo>
                  <a:cubicBezTo>
                    <a:pt x="47191" y="13812"/>
                    <a:pt x="47191" y="13812"/>
                    <a:pt x="47191" y="13812"/>
                  </a:cubicBezTo>
                  <a:cubicBezTo>
                    <a:pt x="48539" y="12949"/>
                    <a:pt x="48539" y="12949"/>
                    <a:pt x="48539" y="12949"/>
                  </a:cubicBezTo>
                  <a:cubicBezTo>
                    <a:pt x="48539" y="12086"/>
                    <a:pt x="48539" y="12086"/>
                    <a:pt x="48539" y="12086"/>
                  </a:cubicBezTo>
                  <a:cubicBezTo>
                    <a:pt x="48539" y="11223"/>
                    <a:pt x="48539" y="11223"/>
                    <a:pt x="48539" y="11223"/>
                  </a:cubicBezTo>
                  <a:cubicBezTo>
                    <a:pt x="48539" y="10359"/>
                    <a:pt x="48539" y="10359"/>
                    <a:pt x="48539" y="10359"/>
                  </a:cubicBezTo>
                  <a:cubicBezTo>
                    <a:pt x="49213" y="9496"/>
                    <a:pt x="49213" y="9496"/>
                    <a:pt x="49213" y="9496"/>
                  </a:cubicBezTo>
                  <a:cubicBezTo>
                    <a:pt x="48539" y="8201"/>
                    <a:pt x="48539" y="8201"/>
                    <a:pt x="48539" y="8201"/>
                  </a:cubicBezTo>
                  <a:cubicBezTo>
                    <a:pt x="49213" y="7338"/>
                    <a:pt x="49213" y="7338"/>
                    <a:pt x="49213" y="7338"/>
                  </a:cubicBezTo>
                  <a:cubicBezTo>
                    <a:pt x="48539" y="6906"/>
                    <a:pt x="48539" y="6906"/>
                    <a:pt x="48539" y="6906"/>
                  </a:cubicBezTo>
                  <a:cubicBezTo>
                    <a:pt x="49213" y="5611"/>
                    <a:pt x="49213" y="5611"/>
                    <a:pt x="49213" y="5611"/>
                  </a:cubicBezTo>
                  <a:cubicBezTo>
                    <a:pt x="49213" y="4748"/>
                    <a:pt x="49213" y="4748"/>
                    <a:pt x="49213" y="4748"/>
                  </a:cubicBezTo>
                  <a:lnTo>
                    <a:pt x="49887" y="3884"/>
                  </a:lnTo>
                  <a:close/>
                </a:path>
              </a:pathLst>
            </a:custGeom>
            <a:solidFill>
              <a:srgbClr val="D9D8D9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7" name="Shape 2048"/>
            <p:cNvSpPr/>
            <p:nvPr/>
          </p:nvSpPr>
          <p:spPr>
            <a:xfrm>
              <a:off x="5904410" y="2909082"/>
              <a:ext cx="841064" cy="58811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2439" y="27518"/>
                  </a:moveTo>
                  <a:cubicBezTo>
                    <a:pt x="22439" y="27518"/>
                    <a:pt x="22439" y="27518"/>
                    <a:pt x="22439" y="27518"/>
                  </a:cubicBezTo>
                  <a:cubicBezTo>
                    <a:pt x="21463" y="27969"/>
                    <a:pt x="21463" y="27969"/>
                    <a:pt x="21463" y="27969"/>
                  </a:cubicBezTo>
                  <a:cubicBezTo>
                    <a:pt x="20813" y="28872"/>
                    <a:pt x="20813" y="28872"/>
                    <a:pt x="20813" y="28872"/>
                  </a:cubicBezTo>
                  <a:cubicBezTo>
                    <a:pt x="20162" y="31578"/>
                    <a:pt x="20162" y="31578"/>
                    <a:pt x="20162" y="31578"/>
                  </a:cubicBezTo>
                  <a:cubicBezTo>
                    <a:pt x="20162" y="31578"/>
                    <a:pt x="20162" y="31578"/>
                    <a:pt x="20162" y="31578"/>
                  </a:cubicBezTo>
                  <a:cubicBezTo>
                    <a:pt x="19186" y="32932"/>
                    <a:pt x="19186" y="32932"/>
                    <a:pt x="19186" y="32932"/>
                  </a:cubicBezTo>
                  <a:cubicBezTo>
                    <a:pt x="19186" y="32932"/>
                    <a:pt x="19186" y="32932"/>
                    <a:pt x="19186" y="32932"/>
                  </a:cubicBezTo>
                  <a:cubicBezTo>
                    <a:pt x="18861" y="35187"/>
                    <a:pt x="18861" y="35187"/>
                    <a:pt x="18861" y="35187"/>
                  </a:cubicBezTo>
                  <a:cubicBezTo>
                    <a:pt x="18861" y="35187"/>
                    <a:pt x="19186" y="36992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536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7886" y="41954"/>
                    <a:pt x="17886" y="41954"/>
                    <a:pt x="17886" y="41954"/>
                  </a:cubicBezTo>
                  <a:cubicBezTo>
                    <a:pt x="16585" y="43759"/>
                    <a:pt x="16585" y="43759"/>
                    <a:pt x="16585" y="43759"/>
                  </a:cubicBezTo>
                  <a:cubicBezTo>
                    <a:pt x="16260" y="46015"/>
                    <a:pt x="16260" y="46015"/>
                    <a:pt x="16260" y="46015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9172"/>
                    <a:pt x="16260" y="49172"/>
                    <a:pt x="15934" y="49172"/>
                  </a:cubicBezTo>
                  <a:cubicBezTo>
                    <a:pt x="15284" y="49624"/>
                    <a:pt x="14959" y="50526"/>
                    <a:pt x="14959" y="50526"/>
                  </a:cubicBezTo>
                  <a:cubicBezTo>
                    <a:pt x="14959" y="53684"/>
                    <a:pt x="14959" y="53684"/>
                    <a:pt x="14959" y="53684"/>
                  </a:cubicBezTo>
                  <a:cubicBezTo>
                    <a:pt x="14634" y="54586"/>
                    <a:pt x="14634" y="54586"/>
                    <a:pt x="14634" y="54586"/>
                  </a:cubicBezTo>
                  <a:cubicBezTo>
                    <a:pt x="13983" y="55939"/>
                    <a:pt x="13983" y="55939"/>
                    <a:pt x="13983" y="55939"/>
                  </a:cubicBezTo>
                  <a:cubicBezTo>
                    <a:pt x="14308" y="57744"/>
                    <a:pt x="14308" y="57744"/>
                    <a:pt x="14308" y="57744"/>
                  </a:cubicBezTo>
                  <a:cubicBezTo>
                    <a:pt x="14308" y="57744"/>
                    <a:pt x="14308" y="57744"/>
                    <a:pt x="14308" y="57744"/>
                  </a:cubicBezTo>
                  <a:cubicBezTo>
                    <a:pt x="13658" y="59097"/>
                    <a:pt x="13658" y="59097"/>
                    <a:pt x="13658" y="59097"/>
                  </a:cubicBezTo>
                  <a:cubicBezTo>
                    <a:pt x="13983" y="61353"/>
                    <a:pt x="13983" y="61353"/>
                    <a:pt x="13983" y="61353"/>
                  </a:cubicBezTo>
                  <a:cubicBezTo>
                    <a:pt x="13333" y="62706"/>
                    <a:pt x="13333" y="62706"/>
                    <a:pt x="13333" y="62706"/>
                  </a:cubicBezTo>
                  <a:cubicBezTo>
                    <a:pt x="13008" y="63157"/>
                    <a:pt x="13008" y="63157"/>
                    <a:pt x="13008" y="63157"/>
                  </a:cubicBezTo>
                  <a:cubicBezTo>
                    <a:pt x="12682" y="64511"/>
                    <a:pt x="12682" y="64511"/>
                    <a:pt x="12682" y="64511"/>
                  </a:cubicBezTo>
                  <a:cubicBezTo>
                    <a:pt x="12032" y="66766"/>
                    <a:pt x="12032" y="66766"/>
                    <a:pt x="12032" y="66766"/>
                  </a:cubicBezTo>
                  <a:cubicBezTo>
                    <a:pt x="9430" y="69924"/>
                    <a:pt x="9430" y="69924"/>
                    <a:pt x="9430" y="69924"/>
                  </a:cubicBezTo>
                  <a:cubicBezTo>
                    <a:pt x="8455" y="69473"/>
                    <a:pt x="8455" y="69473"/>
                    <a:pt x="8455" y="69473"/>
                  </a:cubicBezTo>
                  <a:cubicBezTo>
                    <a:pt x="7804" y="69924"/>
                    <a:pt x="7804" y="69924"/>
                    <a:pt x="7804" y="69924"/>
                  </a:cubicBezTo>
                  <a:cubicBezTo>
                    <a:pt x="7154" y="70827"/>
                    <a:pt x="7154" y="70827"/>
                    <a:pt x="7154" y="70827"/>
                  </a:cubicBezTo>
                  <a:cubicBezTo>
                    <a:pt x="7154" y="70827"/>
                    <a:pt x="7479" y="70827"/>
                    <a:pt x="6829" y="71729"/>
                  </a:cubicBezTo>
                  <a:cubicBezTo>
                    <a:pt x="6178" y="72180"/>
                    <a:pt x="4878" y="72631"/>
                    <a:pt x="4878" y="72631"/>
                  </a:cubicBezTo>
                  <a:cubicBezTo>
                    <a:pt x="4227" y="72631"/>
                    <a:pt x="4227" y="72631"/>
                    <a:pt x="4227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626" y="72180"/>
                    <a:pt x="1300" y="72631"/>
                  </a:cubicBezTo>
                  <a:cubicBezTo>
                    <a:pt x="1300" y="72631"/>
                    <a:pt x="975" y="72631"/>
                    <a:pt x="975" y="72631"/>
                  </a:cubicBezTo>
                  <a:cubicBezTo>
                    <a:pt x="975" y="72631"/>
                    <a:pt x="975" y="72631"/>
                    <a:pt x="975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325" y="73082"/>
                    <a:pt x="650" y="73082"/>
                  </a:cubicBezTo>
                  <a:cubicBezTo>
                    <a:pt x="1300" y="73533"/>
                    <a:pt x="1626" y="74887"/>
                    <a:pt x="1951" y="74887"/>
                  </a:cubicBezTo>
                  <a:cubicBezTo>
                    <a:pt x="2601" y="75338"/>
                    <a:pt x="3252" y="75338"/>
                    <a:pt x="3577" y="75338"/>
                  </a:cubicBezTo>
                  <a:cubicBezTo>
                    <a:pt x="3902" y="75789"/>
                    <a:pt x="4552" y="76240"/>
                    <a:pt x="4552" y="76240"/>
                  </a:cubicBezTo>
                  <a:cubicBezTo>
                    <a:pt x="4552" y="76240"/>
                    <a:pt x="6178" y="78496"/>
                    <a:pt x="6504" y="78496"/>
                  </a:cubicBezTo>
                  <a:cubicBezTo>
                    <a:pt x="6829" y="78496"/>
                    <a:pt x="6829" y="78496"/>
                    <a:pt x="7154" y="79398"/>
                  </a:cubicBezTo>
                  <a:cubicBezTo>
                    <a:pt x="7479" y="79849"/>
                    <a:pt x="8455" y="79398"/>
                    <a:pt x="8455" y="79398"/>
                  </a:cubicBezTo>
                  <a:cubicBezTo>
                    <a:pt x="8455" y="79398"/>
                    <a:pt x="8780" y="80751"/>
                    <a:pt x="8455" y="81203"/>
                  </a:cubicBezTo>
                  <a:cubicBezTo>
                    <a:pt x="8455" y="81654"/>
                    <a:pt x="8455" y="83007"/>
                    <a:pt x="8455" y="83007"/>
                  </a:cubicBezTo>
                  <a:cubicBezTo>
                    <a:pt x="8455" y="83007"/>
                    <a:pt x="8455" y="83458"/>
                    <a:pt x="8455" y="83909"/>
                  </a:cubicBezTo>
                  <a:cubicBezTo>
                    <a:pt x="8780" y="84812"/>
                    <a:pt x="9105" y="84812"/>
                    <a:pt x="9105" y="85714"/>
                  </a:cubicBezTo>
                  <a:cubicBezTo>
                    <a:pt x="9430" y="86165"/>
                    <a:pt x="9105" y="86165"/>
                    <a:pt x="9430" y="86616"/>
                  </a:cubicBezTo>
                  <a:cubicBezTo>
                    <a:pt x="9756" y="87067"/>
                    <a:pt x="10081" y="87969"/>
                    <a:pt x="10406" y="87969"/>
                  </a:cubicBezTo>
                  <a:cubicBezTo>
                    <a:pt x="10731" y="87969"/>
                    <a:pt x="11056" y="87969"/>
                    <a:pt x="12032" y="88421"/>
                  </a:cubicBezTo>
                  <a:cubicBezTo>
                    <a:pt x="13008" y="89323"/>
                    <a:pt x="13333" y="89323"/>
                    <a:pt x="13658" y="89774"/>
                  </a:cubicBezTo>
                  <a:cubicBezTo>
                    <a:pt x="14308" y="90225"/>
                    <a:pt x="13983" y="89774"/>
                    <a:pt x="14959" y="90225"/>
                  </a:cubicBezTo>
                  <a:cubicBezTo>
                    <a:pt x="16260" y="90676"/>
                    <a:pt x="15934" y="90225"/>
                    <a:pt x="16260" y="90676"/>
                  </a:cubicBezTo>
                  <a:cubicBezTo>
                    <a:pt x="16585" y="90676"/>
                    <a:pt x="16260" y="90225"/>
                    <a:pt x="16910" y="90676"/>
                  </a:cubicBezTo>
                  <a:cubicBezTo>
                    <a:pt x="17886" y="90676"/>
                    <a:pt x="18536" y="91127"/>
                    <a:pt x="18536" y="91127"/>
                  </a:cubicBezTo>
                  <a:cubicBezTo>
                    <a:pt x="18536" y="92030"/>
                    <a:pt x="18536" y="92030"/>
                    <a:pt x="18536" y="92030"/>
                  </a:cubicBezTo>
                  <a:cubicBezTo>
                    <a:pt x="17886" y="93834"/>
                    <a:pt x="17886" y="93834"/>
                    <a:pt x="17886" y="93834"/>
                  </a:cubicBezTo>
                  <a:cubicBezTo>
                    <a:pt x="17886" y="95187"/>
                    <a:pt x="17886" y="95187"/>
                    <a:pt x="17886" y="95187"/>
                  </a:cubicBezTo>
                  <a:cubicBezTo>
                    <a:pt x="17886" y="95187"/>
                    <a:pt x="17235" y="95187"/>
                    <a:pt x="17886" y="95639"/>
                  </a:cubicBezTo>
                  <a:cubicBezTo>
                    <a:pt x="18536" y="96090"/>
                    <a:pt x="19837" y="96541"/>
                    <a:pt x="19837" y="96541"/>
                  </a:cubicBezTo>
                  <a:cubicBezTo>
                    <a:pt x="20813" y="97443"/>
                    <a:pt x="20813" y="97443"/>
                    <a:pt x="20813" y="97443"/>
                  </a:cubicBezTo>
                  <a:cubicBezTo>
                    <a:pt x="20813" y="97443"/>
                    <a:pt x="20162" y="98796"/>
                    <a:pt x="19837" y="99248"/>
                  </a:cubicBezTo>
                  <a:cubicBezTo>
                    <a:pt x="19512" y="99248"/>
                    <a:pt x="18536" y="99248"/>
                    <a:pt x="18536" y="99248"/>
                  </a:cubicBezTo>
                  <a:cubicBezTo>
                    <a:pt x="18536" y="99248"/>
                    <a:pt x="18211" y="100601"/>
                    <a:pt x="18861" y="100601"/>
                  </a:cubicBezTo>
                  <a:cubicBezTo>
                    <a:pt x="19186" y="101052"/>
                    <a:pt x="19837" y="101052"/>
                    <a:pt x="20162" y="101052"/>
                  </a:cubicBezTo>
                  <a:cubicBezTo>
                    <a:pt x="20487" y="101052"/>
                    <a:pt x="21138" y="101503"/>
                    <a:pt x="21138" y="101503"/>
                  </a:cubicBezTo>
                  <a:cubicBezTo>
                    <a:pt x="21138" y="101503"/>
                    <a:pt x="21463" y="101503"/>
                    <a:pt x="21788" y="101954"/>
                  </a:cubicBezTo>
                  <a:cubicBezTo>
                    <a:pt x="21788" y="102857"/>
                    <a:pt x="22113" y="103308"/>
                    <a:pt x="22439" y="103308"/>
                  </a:cubicBezTo>
                  <a:cubicBezTo>
                    <a:pt x="22764" y="103308"/>
                    <a:pt x="23414" y="103308"/>
                    <a:pt x="23739" y="103308"/>
                  </a:cubicBezTo>
                  <a:cubicBezTo>
                    <a:pt x="24065" y="103308"/>
                    <a:pt x="24065" y="102857"/>
                    <a:pt x="24390" y="102857"/>
                  </a:cubicBezTo>
                  <a:cubicBezTo>
                    <a:pt x="24715" y="103308"/>
                    <a:pt x="26666" y="102857"/>
                    <a:pt x="26666" y="102857"/>
                  </a:cubicBezTo>
                  <a:cubicBezTo>
                    <a:pt x="26666" y="102857"/>
                    <a:pt x="26666" y="102857"/>
                    <a:pt x="26991" y="103759"/>
                  </a:cubicBezTo>
                  <a:cubicBezTo>
                    <a:pt x="27642" y="105112"/>
                    <a:pt x="28617" y="105563"/>
                    <a:pt x="28617" y="105563"/>
                  </a:cubicBezTo>
                  <a:cubicBezTo>
                    <a:pt x="28617" y="105563"/>
                    <a:pt x="28943" y="106015"/>
                    <a:pt x="28943" y="105563"/>
                  </a:cubicBezTo>
                  <a:cubicBezTo>
                    <a:pt x="28943" y="105112"/>
                    <a:pt x="29268" y="104661"/>
                    <a:pt x="29268" y="104661"/>
                  </a:cubicBezTo>
                  <a:cubicBezTo>
                    <a:pt x="29268" y="104661"/>
                    <a:pt x="29918" y="103308"/>
                    <a:pt x="29918" y="102857"/>
                  </a:cubicBezTo>
                  <a:cubicBezTo>
                    <a:pt x="30243" y="102406"/>
                    <a:pt x="30569" y="101052"/>
                    <a:pt x="30894" y="101052"/>
                  </a:cubicBezTo>
                  <a:cubicBezTo>
                    <a:pt x="31219" y="100601"/>
                    <a:pt x="32195" y="99699"/>
                    <a:pt x="32195" y="99699"/>
                  </a:cubicBezTo>
                  <a:cubicBezTo>
                    <a:pt x="32195" y="99699"/>
                    <a:pt x="32195" y="99248"/>
                    <a:pt x="32845" y="99699"/>
                  </a:cubicBezTo>
                  <a:cubicBezTo>
                    <a:pt x="33170" y="100601"/>
                    <a:pt x="34146" y="101503"/>
                    <a:pt x="34146" y="101503"/>
                  </a:cubicBezTo>
                  <a:cubicBezTo>
                    <a:pt x="35772" y="101503"/>
                    <a:pt x="35772" y="101503"/>
                    <a:pt x="35772" y="101503"/>
                  </a:cubicBezTo>
                  <a:cubicBezTo>
                    <a:pt x="35772" y="101503"/>
                    <a:pt x="36747" y="101954"/>
                    <a:pt x="36747" y="102406"/>
                  </a:cubicBezTo>
                  <a:cubicBezTo>
                    <a:pt x="36747" y="102857"/>
                    <a:pt x="36422" y="102857"/>
                    <a:pt x="35772" y="103308"/>
                  </a:cubicBezTo>
                  <a:cubicBezTo>
                    <a:pt x="35447" y="103308"/>
                    <a:pt x="34471" y="101954"/>
                    <a:pt x="34471" y="102406"/>
                  </a:cubicBezTo>
                  <a:cubicBezTo>
                    <a:pt x="34146" y="102857"/>
                    <a:pt x="34146" y="103759"/>
                    <a:pt x="34146" y="103759"/>
                  </a:cubicBezTo>
                  <a:cubicBezTo>
                    <a:pt x="32845" y="104661"/>
                    <a:pt x="32845" y="104661"/>
                    <a:pt x="32845" y="104661"/>
                  </a:cubicBezTo>
                  <a:cubicBezTo>
                    <a:pt x="33170" y="105563"/>
                    <a:pt x="33170" y="105563"/>
                    <a:pt x="33170" y="105563"/>
                  </a:cubicBezTo>
                  <a:cubicBezTo>
                    <a:pt x="33170" y="105563"/>
                    <a:pt x="34796" y="106466"/>
                    <a:pt x="34796" y="106917"/>
                  </a:cubicBezTo>
                  <a:cubicBezTo>
                    <a:pt x="34796" y="107368"/>
                    <a:pt x="34796" y="108270"/>
                    <a:pt x="34796" y="108270"/>
                  </a:cubicBezTo>
                  <a:cubicBezTo>
                    <a:pt x="35772" y="108721"/>
                    <a:pt x="35772" y="108721"/>
                    <a:pt x="35772" y="108721"/>
                  </a:cubicBezTo>
                  <a:cubicBezTo>
                    <a:pt x="36422" y="108270"/>
                    <a:pt x="36422" y="108270"/>
                    <a:pt x="36422" y="108270"/>
                  </a:cubicBezTo>
                  <a:cubicBezTo>
                    <a:pt x="36422" y="110075"/>
                    <a:pt x="36422" y="110075"/>
                    <a:pt x="36422" y="110075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8699" y="110977"/>
                    <a:pt x="40650" y="112781"/>
                    <a:pt x="41626" y="112781"/>
                  </a:cubicBezTo>
                  <a:cubicBezTo>
                    <a:pt x="43577" y="113233"/>
                    <a:pt x="39349" y="116390"/>
                    <a:pt x="40000" y="116390"/>
                  </a:cubicBezTo>
                  <a:cubicBezTo>
                    <a:pt x="40650" y="115939"/>
                    <a:pt x="40000" y="118646"/>
                    <a:pt x="40975" y="119097"/>
                  </a:cubicBezTo>
                  <a:cubicBezTo>
                    <a:pt x="42601" y="119548"/>
                    <a:pt x="43902" y="117744"/>
                    <a:pt x="45853" y="117744"/>
                  </a:cubicBezTo>
                  <a:cubicBezTo>
                    <a:pt x="47479" y="117293"/>
                    <a:pt x="49430" y="118646"/>
                    <a:pt x="50081" y="117744"/>
                  </a:cubicBezTo>
                  <a:cubicBezTo>
                    <a:pt x="51382" y="115488"/>
                    <a:pt x="56585" y="120000"/>
                    <a:pt x="59186" y="117744"/>
                  </a:cubicBezTo>
                  <a:cubicBezTo>
                    <a:pt x="60813" y="115939"/>
                    <a:pt x="67317" y="115037"/>
                    <a:pt x="69593" y="115037"/>
                  </a:cubicBezTo>
                  <a:cubicBezTo>
                    <a:pt x="75447" y="114586"/>
                    <a:pt x="75772" y="114586"/>
                    <a:pt x="78373" y="112330"/>
                  </a:cubicBezTo>
                  <a:cubicBezTo>
                    <a:pt x="78373" y="112330"/>
                    <a:pt x="80000" y="107368"/>
                    <a:pt x="80975" y="105112"/>
                  </a:cubicBezTo>
                  <a:cubicBezTo>
                    <a:pt x="81626" y="103308"/>
                    <a:pt x="83577" y="102406"/>
                    <a:pt x="85528" y="100601"/>
                  </a:cubicBezTo>
                  <a:cubicBezTo>
                    <a:pt x="87154" y="98796"/>
                    <a:pt x="91382" y="96992"/>
                    <a:pt x="92357" y="96541"/>
                  </a:cubicBezTo>
                  <a:cubicBezTo>
                    <a:pt x="93333" y="96541"/>
                    <a:pt x="100162" y="96992"/>
                    <a:pt x="100162" y="96992"/>
                  </a:cubicBezTo>
                  <a:cubicBezTo>
                    <a:pt x="103739" y="95639"/>
                    <a:pt x="103739" y="95639"/>
                    <a:pt x="103739" y="95639"/>
                  </a:cubicBezTo>
                  <a:cubicBezTo>
                    <a:pt x="103739" y="95639"/>
                    <a:pt x="104390" y="99248"/>
                    <a:pt x="105365" y="99699"/>
                  </a:cubicBezTo>
                  <a:cubicBezTo>
                    <a:pt x="109593" y="100601"/>
                    <a:pt x="112195" y="100150"/>
                    <a:pt x="112520" y="96992"/>
                  </a:cubicBezTo>
                  <a:cubicBezTo>
                    <a:pt x="112845" y="94736"/>
                    <a:pt x="111219" y="90676"/>
                    <a:pt x="110894" y="87518"/>
                  </a:cubicBezTo>
                  <a:cubicBezTo>
                    <a:pt x="110569" y="83909"/>
                    <a:pt x="111869" y="80300"/>
                    <a:pt x="111869" y="77142"/>
                  </a:cubicBezTo>
                  <a:cubicBezTo>
                    <a:pt x="111869" y="76691"/>
                    <a:pt x="111219" y="75789"/>
                    <a:pt x="113170" y="72180"/>
                  </a:cubicBezTo>
                  <a:cubicBezTo>
                    <a:pt x="114796" y="68571"/>
                    <a:pt x="119349" y="70375"/>
                    <a:pt x="120000" y="68120"/>
                  </a:cubicBezTo>
                  <a:cubicBezTo>
                    <a:pt x="118048" y="55488"/>
                    <a:pt x="118048" y="55488"/>
                    <a:pt x="118048" y="55488"/>
                  </a:cubicBezTo>
                  <a:cubicBezTo>
                    <a:pt x="117723" y="55488"/>
                    <a:pt x="117723" y="55488"/>
                    <a:pt x="117723" y="55488"/>
                  </a:cubicBezTo>
                  <a:cubicBezTo>
                    <a:pt x="117398" y="55488"/>
                    <a:pt x="117398" y="55488"/>
                    <a:pt x="117398" y="55488"/>
                  </a:cubicBezTo>
                  <a:cubicBezTo>
                    <a:pt x="116747" y="55037"/>
                    <a:pt x="116747" y="55037"/>
                    <a:pt x="116747" y="55037"/>
                  </a:cubicBezTo>
                  <a:cubicBezTo>
                    <a:pt x="116097" y="55037"/>
                    <a:pt x="116097" y="55037"/>
                    <a:pt x="116097" y="55037"/>
                  </a:cubicBezTo>
                  <a:cubicBezTo>
                    <a:pt x="115447" y="54586"/>
                    <a:pt x="115447" y="54586"/>
                    <a:pt x="115447" y="54586"/>
                  </a:cubicBezTo>
                  <a:cubicBezTo>
                    <a:pt x="114796" y="54135"/>
                    <a:pt x="114796" y="54135"/>
                    <a:pt x="114796" y="54135"/>
                  </a:cubicBezTo>
                  <a:cubicBezTo>
                    <a:pt x="114146" y="54135"/>
                    <a:pt x="114146" y="54135"/>
                    <a:pt x="114146" y="54135"/>
                  </a:cubicBezTo>
                  <a:cubicBezTo>
                    <a:pt x="114146" y="54135"/>
                    <a:pt x="114146" y="54135"/>
                    <a:pt x="114146" y="54135"/>
                  </a:cubicBezTo>
                  <a:cubicBezTo>
                    <a:pt x="113821" y="54135"/>
                    <a:pt x="113821" y="54135"/>
                    <a:pt x="113821" y="54135"/>
                  </a:cubicBezTo>
                  <a:cubicBezTo>
                    <a:pt x="111544" y="53684"/>
                    <a:pt x="108617" y="60902"/>
                    <a:pt x="108617" y="60902"/>
                  </a:cubicBezTo>
                  <a:cubicBezTo>
                    <a:pt x="107317" y="64060"/>
                    <a:pt x="107317" y="64060"/>
                    <a:pt x="107317" y="64060"/>
                  </a:cubicBezTo>
                  <a:cubicBezTo>
                    <a:pt x="104065" y="63157"/>
                    <a:pt x="100813" y="62706"/>
                    <a:pt x="98536" y="59097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211" y="57293"/>
                    <a:pt x="98211" y="57293"/>
                    <a:pt x="98211" y="57293"/>
                  </a:cubicBezTo>
                  <a:cubicBezTo>
                    <a:pt x="98211" y="57293"/>
                    <a:pt x="97886" y="57293"/>
                    <a:pt x="97886" y="57293"/>
                  </a:cubicBezTo>
                  <a:cubicBezTo>
                    <a:pt x="97560" y="57293"/>
                    <a:pt x="97235" y="56842"/>
                    <a:pt x="97235" y="56842"/>
                  </a:cubicBezTo>
                  <a:cubicBezTo>
                    <a:pt x="97560" y="55939"/>
                    <a:pt x="97560" y="55939"/>
                    <a:pt x="97560" y="55939"/>
                  </a:cubicBezTo>
                  <a:cubicBezTo>
                    <a:pt x="97560" y="55939"/>
                    <a:pt x="97886" y="55488"/>
                    <a:pt x="97886" y="55488"/>
                  </a:cubicBezTo>
                  <a:cubicBezTo>
                    <a:pt x="98211" y="55488"/>
                    <a:pt x="97886" y="55488"/>
                    <a:pt x="97886" y="55037"/>
                  </a:cubicBezTo>
                  <a:cubicBezTo>
                    <a:pt x="97886" y="55037"/>
                    <a:pt x="97886" y="54135"/>
                    <a:pt x="97886" y="53684"/>
                  </a:cubicBezTo>
                  <a:cubicBezTo>
                    <a:pt x="97560" y="53233"/>
                    <a:pt x="97560" y="53233"/>
                    <a:pt x="97560" y="53233"/>
                  </a:cubicBezTo>
                  <a:cubicBezTo>
                    <a:pt x="97560" y="53233"/>
                    <a:pt x="97235" y="52330"/>
                    <a:pt x="96910" y="51879"/>
                  </a:cubicBezTo>
                  <a:cubicBezTo>
                    <a:pt x="96585" y="51879"/>
                    <a:pt x="96910" y="51428"/>
                    <a:pt x="96910" y="51428"/>
                  </a:cubicBezTo>
                  <a:cubicBezTo>
                    <a:pt x="96585" y="50977"/>
                    <a:pt x="96910" y="50977"/>
                    <a:pt x="96910" y="50526"/>
                  </a:cubicBezTo>
                  <a:cubicBezTo>
                    <a:pt x="96910" y="50526"/>
                    <a:pt x="96585" y="49624"/>
                    <a:pt x="96585" y="49624"/>
                  </a:cubicBezTo>
                  <a:cubicBezTo>
                    <a:pt x="96585" y="49624"/>
                    <a:pt x="95934" y="48270"/>
                    <a:pt x="95609" y="47368"/>
                  </a:cubicBezTo>
                  <a:cubicBezTo>
                    <a:pt x="95609" y="46917"/>
                    <a:pt x="95609" y="46466"/>
                    <a:pt x="95609" y="46466"/>
                  </a:cubicBezTo>
                  <a:cubicBezTo>
                    <a:pt x="95934" y="46015"/>
                    <a:pt x="95284" y="45563"/>
                    <a:pt x="95284" y="45563"/>
                  </a:cubicBezTo>
                  <a:cubicBezTo>
                    <a:pt x="95284" y="45563"/>
                    <a:pt x="95284" y="44661"/>
                    <a:pt x="95284" y="44661"/>
                  </a:cubicBezTo>
                  <a:cubicBezTo>
                    <a:pt x="95284" y="44661"/>
                    <a:pt x="95284" y="43759"/>
                    <a:pt x="95284" y="43759"/>
                  </a:cubicBezTo>
                  <a:cubicBezTo>
                    <a:pt x="95609" y="43308"/>
                    <a:pt x="95284" y="42857"/>
                    <a:pt x="95284" y="42406"/>
                  </a:cubicBezTo>
                  <a:cubicBezTo>
                    <a:pt x="95284" y="42406"/>
                    <a:pt x="94634" y="41954"/>
                    <a:pt x="94634" y="41954"/>
                  </a:cubicBezTo>
                  <a:cubicBezTo>
                    <a:pt x="94959" y="41052"/>
                    <a:pt x="94959" y="41052"/>
                    <a:pt x="94959" y="41052"/>
                  </a:cubicBezTo>
                  <a:cubicBezTo>
                    <a:pt x="94959" y="40601"/>
                    <a:pt x="94959" y="40601"/>
                    <a:pt x="94959" y="40601"/>
                  </a:cubicBezTo>
                  <a:cubicBezTo>
                    <a:pt x="94959" y="40601"/>
                    <a:pt x="95284" y="39699"/>
                    <a:pt x="95284" y="39699"/>
                  </a:cubicBezTo>
                  <a:cubicBezTo>
                    <a:pt x="95609" y="39248"/>
                    <a:pt x="95284" y="38796"/>
                    <a:pt x="94959" y="38796"/>
                  </a:cubicBezTo>
                  <a:cubicBezTo>
                    <a:pt x="94634" y="38796"/>
                    <a:pt x="94959" y="38345"/>
                    <a:pt x="94959" y="38345"/>
                  </a:cubicBezTo>
                  <a:cubicBezTo>
                    <a:pt x="95284" y="37443"/>
                    <a:pt x="95284" y="37443"/>
                    <a:pt x="95284" y="37443"/>
                  </a:cubicBezTo>
                  <a:cubicBezTo>
                    <a:pt x="94959" y="36090"/>
                    <a:pt x="94959" y="36090"/>
                    <a:pt x="94959" y="36090"/>
                  </a:cubicBezTo>
                  <a:cubicBezTo>
                    <a:pt x="94959" y="35639"/>
                    <a:pt x="94959" y="35639"/>
                    <a:pt x="94959" y="35639"/>
                  </a:cubicBezTo>
                  <a:cubicBezTo>
                    <a:pt x="94959" y="35639"/>
                    <a:pt x="94634" y="34736"/>
                    <a:pt x="94634" y="34736"/>
                  </a:cubicBezTo>
                  <a:cubicBezTo>
                    <a:pt x="94634" y="34285"/>
                    <a:pt x="94308" y="33383"/>
                    <a:pt x="94308" y="33383"/>
                  </a:cubicBezTo>
                  <a:cubicBezTo>
                    <a:pt x="94308" y="33383"/>
                    <a:pt x="94308" y="32932"/>
                    <a:pt x="94308" y="32932"/>
                  </a:cubicBezTo>
                  <a:cubicBezTo>
                    <a:pt x="94308" y="32481"/>
                    <a:pt x="94308" y="32481"/>
                    <a:pt x="94308" y="32481"/>
                  </a:cubicBezTo>
                  <a:cubicBezTo>
                    <a:pt x="94308" y="32030"/>
                    <a:pt x="93983" y="31578"/>
                    <a:pt x="93658" y="31127"/>
                  </a:cubicBezTo>
                  <a:cubicBezTo>
                    <a:pt x="93333" y="30225"/>
                    <a:pt x="93333" y="30225"/>
                    <a:pt x="93333" y="30225"/>
                  </a:cubicBezTo>
                  <a:cubicBezTo>
                    <a:pt x="93333" y="30225"/>
                    <a:pt x="92682" y="29323"/>
                    <a:pt x="92357" y="28872"/>
                  </a:cubicBezTo>
                  <a:cubicBezTo>
                    <a:pt x="92357" y="27969"/>
                    <a:pt x="92357" y="27969"/>
                    <a:pt x="92032" y="27518"/>
                  </a:cubicBezTo>
                  <a:cubicBezTo>
                    <a:pt x="92032" y="26616"/>
                    <a:pt x="91382" y="25714"/>
                    <a:pt x="91056" y="25714"/>
                  </a:cubicBezTo>
                  <a:cubicBezTo>
                    <a:pt x="91056" y="25714"/>
                    <a:pt x="90731" y="24360"/>
                    <a:pt x="90731" y="23909"/>
                  </a:cubicBezTo>
                  <a:cubicBezTo>
                    <a:pt x="90406" y="23909"/>
                    <a:pt x="89756" y="23458"/>
                    <a:pt x="89756" y="23458"/>
                  </a:cubicBezTo>
                  <a:cubicBezTo>
                    <a:pt x="89430" y="23458"/>
                    <a:pt x="88780" y="23007"/>
                    <a:pt x="88780" y="23007"/>
                  </a:cubicBezTo>
                  <a:cubicBezTo>
                    <a:pt x="87804" y="22556"/>
                    <a:pt x="87804" y="22556"/>
                    <a:pt x="87804" y="22556"/>
                  </a:cubicBezTo>
                  <a:cubicBezTo>
                    <a:pt x="86829" y="21203"/>
                    <a:pt x="86829" y="21203"/>
                    <a:pt x="86829" y="21203"/>
                  </a:cubicBezTo>
                  <a:cubicBezTo>
                    <a:pt x="86829" y="21203"/>
                    <a:pt x="86504" y="21203"/>
                    <a:pt x="86178" y="20751"/>
                  </a:cubicBezTo>
                  <a:cubicBezTo>
                    <a:pt x="86178" y="20751"/>
                    <a:pt x="85853" y="19849"/>
                    <a:pt x="85853" y="19849"/>
                  </a:cubicBezTo>
                  <a:cubicBezTo>
                    <a:pt x="85528" y="18947"/>
                    <a:pt x="85528" y="18947"/>
                    <a:pt x="85528" y="18947"/>
                  </a:cubicBezTo>
                  <a:cubicBezTo>
                    <a:pt x="83577" y="18045"/>
                    <a:pt x="83577" y="18045"/>
                    <a:pt x="83577" y="18045"/>
                  </a:cubicBezTo>
                  <a:cubicBezTo>
                    <a:pt x="83577" y="18045"/>
                    <a:pt x="83252" y="17142"/>
                    <a:pt x="83252" y="17142"/>
                  </a:cubicBezTo>
                  <a:cubicBezTo>
                    <a:pt x="83252" y="16691"/>
                    <a:pt x="82926" y="16691"/>
                    <a:pt x="82926" y="16240"/>
                  </a:cubicBezTo>
                  <a:cubicBezTo>
                    <a:pt x="82926" y="15789"/>
                    <a:pt x="82601" y="15789"/>
                    <a:pt x="82601" y="15338"/>
                  </a:cubicBezTo>
                  <a:cubicBezTo>
                    <a:pt x="82601" y="14887"/>
                    <a:pt x="82276" y="14887"/>
                    <a:pt x="82276" y="14887"/>
                  </a:cubicBezTo>
                  <a:cubicBezTo>
                    <a:pt x="81951" y="14887"/>
                    <a:pt x="81626" y="14887"/>
                    <a:pt x="81626" y="14887"/>
                  </a:cubicBezTo>
                  <a:cubicBezTo>
                    <a:pt x="81626" y="14887"/>
                    <a:pt x="81300" y="14436"/>
                    <a:pt x="81300" y="14436"/>
                  </a:cubicBezTo>
                  <a:cubicBezTo>
                    <a:pt x="81300" y="14436"/>
                    <a:pt x="80650" y="13533"/>
                    <a:pt x="80325" y="13533"/>
                  </a:cubicBezTo>
                  <a:cubicBezTo>
                    <a:pt x="80325" y="13082"/>
                    <a:pt x="80325" y="13082"/>
                    <a:pt x="80325" y="13082"/>
                  </a:cubicBezTo>
                  <a:cubicBezTo>
                    <a:pt x="80325" y="13082"/>
                    <a:pt x="80325" y="13082"/>
                    <a:pt x="80000" y="13082"/>
                  </a:cubicBezTo>
                  <a:cubicBezTo>
                    <a:pt x="79674" y="13082"/>
                    <a:pt x="79674" y="13082"/>
                    <a:pt x="79674" y="12631"/>
                  </a:cubicBezTo>
                  <a:cubicBezTo>
                    <a:pt x="79349" y="12631"/>
                    <a:pt x="79349" y="11729"/>
                    <a:pt x="79024" y="11729"/>
                  </a:cubicBezTo>
                  <a:cubicBezTo>
                    <a:pt x="79024" y="11729"/>
                    <a:pt x="79024" y="11729"/>
                    <a:pt x="78699" y="11729"/>
                  </a:cubicBezTo>
                  <a:cubicBezTo>
                    <a:pt x="78373" y="11729"/>
                    <a:pt x="78048" y="10827"/>
                    <a:pt x="78048" y="10827"/>
                  </a:cubicBezTo>
                  <a:cubicBezTo>
                    <a:pt x="77723" y="10827"/>
                    <a:pt x="78048" y="10375"/>
                    <a:pt x="78048" y="9924"/>
                  </a:cubicBezTo>
                  <a:cubicBezTo>
                    <a:pt x="78048" y="9473"/>
                    <a:pt x="77723" y="9473"/>
                    <a:pt x="77723" y="9473"/>
                  </a:cubicBezTo>
                  <a:cubicBezTo>
                    <a:pt x="77723" y="9473"/>
                    <a:pt x="77723" y="9473"/>
                    <a:pt x="77723" y="9473"/>
                  </a:cubicBezTo>
                  <a:cubicBezTo>
                    <a:pt x="77723" y="9473"/>
                    <a:pt x="77398" y="9473"/>
                    <a:pt x="77398" y="9022"/>
                  </a:cubicBezTo>
                  <a:cubicBezTo>
                    <a:pt x="77398" y="9022"/>
                    <a:pt x="77073" y="8571"/>
                    <a:pt x="77073" y="8120"/>
                  </a:cubicBezTo>
                  <a:cubicBezTo>
                    <a:pt x="77073" y="7669"/>
                    <a:pt x="77073" y="7669"/>
                    <a:pt x="77073" y="7669"/>
                  </a:cubicBezTo>
                  <a:cubicBezTo>
                    <a:pt x="77073" y="7669"/>
                    <a:pt x="76747" y="7218"/>
                    <a:pt x="76747" y="7218"/>
                  </a:cubicBezTo>
                  <a:cubicBezTo>
                    <a:pt x="76422" y="6766"/>
                    <a:pt x="76422" y="6766"/>
                    <a:pt x="76422" y="6766"/>
                  </a:cubicBezTo>
                  <a:cubicBezTo>
                    <a:pt x="76422" y="6315"/>
                    <a:pt x="76422" y="6315"/>
                    <a:pt x="76422" y="6315"/>
                  </a:cubicBezTo>
                  <a:cubicBezTo>
                    <a:pt x="76097" y="6315"/>
                    <a:pt x="76097" y="6315"/>
                    <a:pt x="76097" y="6315"/>
                  </a:cubicBezTo>
                  <a:cubicBezTo>
                    <a:pt x="75772" y="6315"/>
                    <a:pt x="75772" y="5864"/>
                    <a:pt x="75772" y="5413"/>
                  </a:cubicBezTo>
                  <a:cubicBezTo>
                    <a:pt x="75772" y="5413"/>
                    <a:pt x="75772" y="5413"/>
                    <a:pt x="75772" y="5413"/>
                  </a:cubicBezTo>
                  <a:cubicBezTo>
                    <a:pt x="75447" y="4962"/>
                    <a:pt x="75447" y="4962"/>
                    <a:pt x="75447" y="4962"/>
                  </a:cubicBezTo>
                  <a:cubicBezTo>
                    <a:pt x="75121" y="4511"/>
                    <a:pt x="75121" y="4511"/>
                    <a:pt x="75121" y="4511"/>
                  </a:cubicBezTo>
                  <a:cubicBezTo>
                    <a:pt x="74796" y="4060"/>
                    <a:pt x="74796" y="4060"/>
                    <a:pt x="74796" y="4060"/>
                  </a:cubicBezTo>
                  <a:cubicBezTo>
                    <a:pt x="74796" y="4060"/>
                    <a:pt x="74471" y="3609"/>
                    <a:pt x="74471" y="3609"/>
                  </a:cubicBezTo>
                  <a:cubicBezTo>
                    <a:pt x="74146" y="3157"/>
                    <a:pt x="73821" y="2706"/>
                    <a:pt x="73821" y="2706"/>
                  </a:cubicBezTo>
                  <a:cubicBezTo>
                    <a:pt x="73821" y="2706"/>
                    <a:pt x="73821" y="2255"/>
                    <a:pt x="73821" y="2255"/>
                  </a:cubicBezTo>
                  <a:cubicBezTo>
                    <a:pt x="73821" y="2255"/>
                    <a:pt x="73495" y="2255"/>
                    <a:pt x="73495" y="2255"/>
                  </a:cubicBezTo>
                  <a:cubicBezTo>
                    <a:pt x="72845" y="2255"/>
                    <a:pt x="72845" y="2255"/>
                    <a:pt x="72845" y="2255"/>
                  </a:cubicBezTo>
                  <a:cubicBezTo>
                    <a:pt x="72845" y="1353"/>
                    <a:pt x="72845" y="1353"/>
                    <a:pt x="72845" y="1353"/>
                  </a:cubicBezTo>
                  <a:cubicBezTo>
                    <a:pt x="72845" y="1353"/>
                    <a:pt x="72845" y="1353"/>
                    <a:pt x="72520" y="1353"/>
                  </a:cubicBezTo>
                  <a:cubicBezTo>
                    <a:pt x="72195" y="1353"/>
                    <a:pt x="72195" y="902"/>
                    <a:pt x="72195" y="902"/>
                  </a:cubicBezTo>
                  <a:cubicBezTo>
                    <a:pt x="72195" y="451"/>
                    <a:pt x="72195" y="451"/>
                    <a:pt x="72195" y="451"/>
                  </a:cubicBezTo>
                  <a:cubicBezTo>
                    <a:pt x="71219" y="902"/>
                    <a:pt x="71219" y="902"/>
                    <a:pt x="71219" y="902"/>
                  </a:cubicBezTo>
                  <a:cubicBezTo>
                    <a:pt x="71219" y="902"/>
                    <a:pt x="71219" y="902"/>
                    <a:pt x="71219" y="902"/>
                  </a:cubicBezTo>
                  <a:cubicBezTo>
                    <a:pt x="71219" y="902"/>
                    <a:pt x="70569" y="451"/>
                    <a:pt x="70569" y="451"/>
                  </a:cubicBezTo>
                  <a:cubicBezTo>
                    <a:pt x="70569" y="0"/>
                    <a:pt x="70243" y="0"/>
                    <a:pt x="70243" y="0"/>
                  </a:cubicBezTo>
                  <a:cubicBezTo>
                    <a:pt x="69918" y="451"/>
                    <a:pt x="69918" y="451"/>
                    <a:pt x="69918" y="451"/>
                  </a:cubicBezTo>
                  <a:cubicBezTo>
                    <a:pt x="69268" y="451"/>
                    <a:pt x="69268" y="451"/>
                    <a:pt x="69268" y="451"/>
                  </a:cubicBezTo>
                  <a:cubicBezTo>
                    <a:pt x="68943" y="451"/>
                    <a:pt x="68943" y="451"/>
                    <a:pt x="68943" y="451"/>
                  </a:cubicBezTo>
                  <a:cubicBezTo>
                    <a:pt x="68617" y="0"/>
                    <a:pt x="68617" y="0"/>
                    <a:pt x="68617" y="0"/>
                  </a:cubicBezTo>
                  <a:cubicBezTo>
                    <a:pt x="67642" y="451"/>
                    <a:pt x="67317" y="451"/>
                    <a:pt x="67317" y="451"/>
                  </a:cubicBezTo>
                  <a:cubicBezTo>
                    <a:pt x="66341" y="902"/>
                    <a:pt x="64715" y="2255"/>
                    <a:pt x="64715" y="3157"/>
                  </a:cubicBezTo>
                  <a:cubicBezTo>
                    <a:pt x="64390" y="4060"/>
                    <a:pt x="64715" y="6315"/>
                    <a:pt x="64065" y="6766"/>
                  </a:cubicBezTo>
                  <a:cubicBezTo>
                    <a:pt x="63089" y="6766"/>
                    <a:pt x="62113" y="9022"/>
                    <a:pt x="61788" y="9022"/>
                  </a:cubicBezTo>
                  <a:cubicBezTo>
                    <a:pt x="58861" y="11278"/>
                    <a:pt x="58861" y="11278"/>
                    <a:pt x="58861" y="11278"/>
                  </a:cubicBezTo>
                  <a:cubicBezTo>
                    <a:pt x="58861" y="11278"/>
                    <a:pt x="56585" y="12631"/>
                    <a:pt x="55284" y="12631"/>
                  </a:cubicBezTo>
                  <a:cubicBezTo>
                    <a:pt x="53983" y="13082"/>
                    <a:pt x="53008" y="14436"/>
                    <a:pt x="53008" y="14436"/>
                  </a:cubicBezTo>
                  <a:cubicBezTo>
                    <a:pt x="51382" y="17593"/>
                    <a:pt x="51382" y="17593"/>
                    <a:pt x="51382" y="17593"/>
                  </a:cubicBezTo>
                  <a:cubicBezTo>
                    <a:pt x="48780" y="18045"/>
                    <a:pt x="48780" y="18045"/>
                    <a:pt x="48780" y="18045"/>
                  </a:cubicBezTo>
                  <a:cubicBezTo>
                    <a:pt x="47479" y="16240"/>
                    <a:pt x="47479" y="16240"/>
                    <a:pt x="47479" y="16240"/>
                  </a:cubicBezTo>
                  <a:cubicBezTo>
                    <a:pt x="46178" y="16691"/>
                    <a:pt x="46178" y="16691"/>
                    <a:pt x="46178" y="16691"/>
                  </a:cubicBezTo>
                  <a:cubicBezTo>
                    <a:pt x="45853" y="16240"/>
                    <a:pt x="45853" y="16240"/>
                    <a:pt x="45853" y="16240"/>
                  </a:cubicBezTo>
                  <a:cubicBezTo>
                    <a:pt x="45203" y="16691"/>
                    <a:pt x="45203" y="16691"/>
                    <a:pt x="45203" y="16691"/>
                  </a:cubicBezTo>
                  <a:cubicBezTo>
                    <a:pt x="41300" y="16240"/>
                    <a:pt x="41300" y="16240"/>
                    <a:pt x="41300" y="16240"/>
                  </a:cubicBezTo>
                  <a:cubicBezTo>
                    <a:pt x="39349" y="17593"/>
                    <a:pt x="39349" y="17593"/>
                    <a:pt x="39349" y="17593"/>
                  </a:cubicBezTo>
                  <a:cubicBezTo>
                    <a:pt x="35772" y="17142"/>
                    <a:pt x="35772" y="17142"/>
                    <a:pt x="35772" y="17142"/>
                  </a:cubicBezTo>
                  <a:cubicBezTo>
                    <a:pt x="35772" y="17142"/>
                    <a:pt x="33170" y="17593"/>
                    <a:pt x="32520" y="17593"/>
                  </a:cubicBezTo>
                  <a:cubicBezTo>
                    <a:pt x="31544" y="17593"/>
                    <a:pt x="31544" y="17593"/>
                    <a:pt x="31544" y="17593"/>
                  </a:cubicBezTo>
                  <a:cubicBezTo>
                    <a:pt x="30894" y="17142"/>
                    <a:pt x="30243" y="16240"/>
                    <a:pt x="30243" y="16240"/>
                  </a:cubicBezTo>
                  <a:cubicBezTo>
                    <a:pt x="30243" y="16240"/>
                    <a:pt x="28943" y="16691"/>
                    <a:pt x="28617" y="17142"/>
                  </a:cubicBezTo>
                  <a:cubicBezTo>
                    <a:pt x="28292" y="17593"/>
                    <a:pt x="26991" y="19849"/>
                    <a:pt x="26991" y="19849"/>
                  </a:cubicBezTo>
                  <a:cubicBezTo>
                    <a:pt x="26991" y="20300"/>
                    <a:pt x="26991" y="20300"/>
                    <a:pt x="26991" y="20300"/>
                  </a:cubicBezTo>
                  <a:cubicBezTo>
                    <a:pt x="27642" y="22556"/>
                    <a:pt x="27642" y="22556"/>
                    <a:pt x="27642" y="22556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812"/>
                    <a:pt x="26016" y="24812"/>
                    <a:pt x="25691" y="24812"/>
                  </a:cubicBezTo>
                  <a:cubicBezTo>
                    <a:pt x="25691" y="25263"/>
                    <a:pt x="25365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4715" y="25714"/>
                    <a:pt x="24715" y="25714"/>
                    <a:pt x="24715" y="25714"/>
                  </a:cubicBezTo>
                  <a:cubicBezTo>
                    <a:pt x="23739" y="27067"/>
                    <a:pt x="23739" y="27067"/>
                    <a:pt x="23739" y="27067"/>
                  </a:cubicBezTo>
                  <a:cubicBezTo>
                    <a:pt x="22439" y="27518"/>
                    <a:pt x="22439" y="27518"/>
                    <a:pt x="22439" y="27518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8" name="Shape 2049"/>
            <p:cNvSpPr/>
            <p:nvPr/>
          </p:nvSpPr>
          <p:spPr>
            <a:xfrm>
              <a:off x="6015453" y="2278355"/>
              <a:ext cx="1400673" cy="9439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7557" y="85714"/>
                  </a:moveTo>
                  <a:cubicBezTo>
                    <a:pt x="27752" y="85714"/>
                    <a:pt x="28338" y="84309"/>
                    <a:pt x="28925" y="84309"/>
                  </a:cubicBezTo>
                  <a:cubicBezTo>
                    <a:pt x="29315" y="84028"/>
                    <a:pt x="29120" y="82622"/>
                    <a:pt x="29315" y="82060"/>
                  </a:cubicBezTo>
                  <a:cubicBezTo>
                    <a:pt x="29511" y="81498"/>
                    <a:pt x="30488" y="80374"/>
                    <a:pt x="31074" y="80093"/>
                  </a:cubicBezTo>
                  <a:cubicBezTo>
                    <a:pt x="31270" y="80093"/>
                    <a:pt x="31270" y="80093"/>
                    <a:pt x="31270" y="80093"/>
                  </a:cubicBezTo>
                  <a:cubicBezTo>
                    <a:pt x="31270" y="79531"/>
                    <a:pt x="31270" y="79531"/>
                    <a:pt x="31270" y="79531"/>
                  </a:cubicBezTo>
                  <a:cubicBezTo>
                    <a:pt x="31270" y="79531"/>
                    <a:pt x="31856" y="79250"/>
                    <a:pt x="31856" y="78969"/>
                  </a:cubicBezTo>
                  <a:cubicBezTo>
                    <a:pt x="32052" y="78969"/>
                    <a:pt x="32052" y="79250"/>
                    <a:pt x="32052" y="79250"/>
                  </a:cubicBezTo>
                  <a:cubicBezTo>
                    <a:pt x="32052" y="79250"/>
                    <a:pt x="32247" y="79531"/>
                    <a:pt x="32442" y="79531"/>
                  </a:cubicBezTo>
                  <a:cubicBezTo>
                    <a:pt x="32442" y="79531"/>
                    <a:pt x="32638" y="79250"/>
                    <a:pt x="32638" y="79250"/>
                  </a:cubicBezTo>
                  <a:cubicBezTo>
                    <a:pt x="32638" y="78969"/>
                    <a:pt x="32638" y="78688"/>
                    <a:pt x="32638" y="78688"/>
                  </a:cubicBezTo>
                  <a:cubicBezTo>
                    <a:pt x="32442" y="78407"/>
                    <a:pt x="32442" y="78126"/>
                    <a:pt x="32442" y="78126"/>
                  </a:cubicBezTo>
                  <a:cubicBezTo>
                    <a:pt x="32442" y="78126"/>
                    <a:pt x="32442" y="78126"/>
                    <a:pt x="32442" y="78126"/>
                  </a:cubicBezTo>
                  <a:cubicBezTo>
                    <a:pt x="32442" y="78126"/>
                    <a:pt x="32638" y="78126"/>
                    <a:pt x="32638" y="78126"/>
                  </a:cubicBezTo>
                  <a:cubicBezTo>
                    <a:pt x="32638" y="78126"/>
                    <a:pt x="32833" y="77845"/>
                    <a:pt x="32833" y="77845"/>
                  </a:cubicBezTo>
                  <a:cubicBezTo>
                    <a:pt x="33224" y="78126"/>
                    <a:pt x="33224" y="78126"/>
                    <a:pt x="33224" y="78126"/>
                  </a:cubicBezTo>
                  <a:cubicBezTo>
                    <a:pt x="33224" y="78126"/>
                    <a:pt x="33420" y="78126"/>
                    <a:pt x="33420" y="78126"/>
                  </a:cubicBezTo>
                  <a:cubicBezTo>
                    <a:pt x="33615" y="78407"/>
                    <a:pt x="33811" y="77845"/>
                    <a:pt x="33811" y="77845"/>
                  </a:cubicBezTo>
                  <a:cubicBezTo>
                    <a:pt x="34006" y="77564"/>
                    <a:pt x="34006" y="77564"/>
                    <a:pt x="34006" y="77564"/>
                  </a:cubicBezTo>
                  <a:cubicBezTo>
                    <a:pt x="34006" y="77564"/>
                    <a:pt x="34006" y="77564"/>
                    <a:pt x="34006" y="77283"/>
                  </a:cubicBezTo>
                  <a:cubicBezTo>
                    <a:pt x="34006" y="77283"/>
                    <a:pt x="34201" y="77283"/>
                    <a:pt x="34397" y="77283"/>
                  </a:cubicBezTo>
                  <a:cubicBezTo>
                    <a:pt x="34397" y="77283"/>
                    <a:pt x="34788" y="77283"/>
                    <a:pt x="34983" y="77283"/>
                  </a:cubicBezTo>
                  <a:cubicBezTo>
                    <a:pt x="35179" y="77283"/>
                    <a:pt x="35179" y="77283"/>
                    <a:pt x="35179" y="77283"/>
                  </a:cubicBezTo>
                  <a:cubicBezTo>
                    <a:pt x="35570" y="77002"/>
                    <a:pt x="35570" y="77002"/>
                    <a:pt x="35570" y="77002"/>
                  </a:cubicBezTo>
                  <a:cubicBezTo>
                    <a:pt x="35570" y="77002"/>
                    <a:pt x="35765" y="76721"/>
                    <a:pt x="35765" y="76721"/>
                  </a:cubicBezTo>
                  <a:cubicBezTo>
                    <a:pt x="35765" y="76440"/>
                    <a:pt x="35765" y="76159"/>
                    <a:pt x="35765" y="76159"/>
                  </a:cubicBezTo>
                  <a:cubicBezTo>
                    <a:pt x="35765" y="75878"/>
                    <a:pt x="36156" y="75878"/>
                    <a:pt x="36156" y="75878"/>
                  </a:cubicBezTo>
                  <a:cubicBezTo>
                    <a:pt x="36156" y="75878"/>
                    <a:pt x="36156" y="75878"/>
                    <a:pt x="36156" y="75878"/>
                  </a:cubicBezTo>
                  <a:cubicBezTo>
                    <a:pt x="36351" y="75878"/>
                    <a:pt x="36351" y="76159"/>
                    <a:pt x="36351" y="76159"/>
                  </a:cubicBezTo>
                  <a:cubicBezTo>
                    <a:pt x="36351" y="76159"/>
                    <a:pt x="36547" y="75878"/>
                    <a:pt x="36547" y="75878"/>
                  </a:cubicBezTo>
                  <a:cubicBezTo>
                    <a:pt x="36547" y="75597"/>
                    <a:pt x="36742" y="75597"/>
                    <a:pt x="36742" y="75597"/>
                  </a:cubicBezTo>
                  <a:cubicBezTo>
                    <a:pt x="36742" y="75597"/>
                    <a:pt x="37133" y="75316"/>
                    <a:pt x="37133" y="75035"/>
                  </a:cubicBezTo>
                  <a:cubicBezTo>
                    <a:pt x="37328" y="74754"/>
                    <a:pt x="37328" y="75035"/>
                    <a:pt x="37328" y="74473"/>
                  </a:cubicBezTo>
                  <a:cubicBezTo>
                    <a:pt x="37328" y="74192"/>
                    <a:pt x="37524" y="74473"/>
                    <a:pt x="37524" y="74754"/>
                  </a:cubicBezTo>
                  <a:cubicBezTo>
                    <a:pt x="37524" y="74754"/>
                    <a:pt x="37524" y="74754"/>
                    <a:pt x="37719" y="75035"/>
                  </a:cubicBezTo>
                  <a:cubicBezTo>
                    <a:pt x="37719" y="75035"/>
                    <a:pt x="37719" y="75035"/>
                    <a:pt x="38110" y="75035"/>
                  </a:cubicBezTo>
                  <a:cubicBezTo>
                    <a:pt x="38306" y="75316"/>
                    <a:pt x="38306" y="74754"/>
                    <a:pt x="38697" y="74754"/>
                  </a:cubicBezTo>
                  <a:cubicBezTo>
                    <a:pt x="39087" y="74754"/>
                    <a:pt x="38892" y="74754"/>
                    <a:pt x="39087" y="75035"/>
                  </a:cubicBezTo>
                  <a:cubicBezTo>
                    <a:pt x="39283" y="75035"/>
                    <a:pt x="39283" y="75035"/>
                    <a:pt x="39478" y="75035"/>
                  </a:cubicBezTo>
                  <a:cubicBezTo>
                    <a:pt x="39674" y="75316"/>
                    <a:pt x="39674" y="75316"/>
                    <a:pt x="39674" y="75316"/>
                  </a:cubicBezTo>
                  <a:cubicBezTo>
                    <a:pt x="39674" y="75316"/>
                    <a:pt x="39869" y="75316"/>
                    <a:pt x="40065" y="75597"/>
                  </a:cubicBezTo>
                  <a:cubicBezTo>
                    <a:pt x="40065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433" y="76159"/>
                    <a:pt x="41433" y="76159"/>
                    <a:pt x="41433" y="76159"/>
                  </a:cubicBezTo>
                  <a:cubicBezTo>
                    <a:pt x="41433" y="76159"/>
                    <a:pt x="41433" y="76721"/>
                    <a:pt x="41628" y="76721"/>
                  </a:cubicBezTo>
                  <a:cubicBezTo>
                    <a:pt x="41628" y="77002"/>
                    <a:pt x="41628" y="77002"/>
                    <a:pt x="41824" y="77002"/>
                  </a:cubicBezTo>
                  <a:cubicBezTo>
                    <a:pt x="41824" y="77002"/>
                    <a:pt x="42019" y="76440"/>
                    <a:pt x="42019" y="76159"/>
                  </a:cubicBezTo>
                  <a:cubicBezTo>
                    <a:pt x="42019" y="76159"/>
                    <a:pt x="42214" y="76440"/>
                    <a:pt x="42214" y="76440"/>
                  </a:cubicBezTo>
                  <a:cubicBezTo>
                    <a:pt x="42214" y="76440"/>
                    <a:pt x="42214" y="77002"/>
                    <a:pt x="42410" y="77002"/>
                  </a:cubicBezTo>
                  <a:cubicBezTo>
                    <a:pt x="42410" y="76721"/>
                    <a:pt x="42605" y="76721"/>
                    <a:pt x="42605" y="76721"/>
                  </a:cubicBezTo>
                  <a:cubicBezTo>
                    <a:pt x="42801" y="76721"/>
                    <a:pt x="42605" y="76440"/>
                    <a:pt x="42605" y="76440"/>
                  </a:cubicBezTo>
                  <a:cubicBezTo>
                    <a:pt x="42605" y="76440"/>
                    <a:pt x="42801" y="76159"/>
                    <a:pt x="42801" y="76159"/>
                  </a:cubicBezTo>
                  <a:cubicBezTo>
                    <a:pt x="42996" y="76159"/>
                    <a:pt x="43387" y="76159"/>
                    <a:pt x="43387" y="76159"/>
                  </a:cubicBezTo>
                  <a:cubicBezTo>
                    <a:pt x="43583" y="76159"/>
                    <a:pt x="43583" y="76721"/>
                    <a:pt x="43583" y="76721"/>
                  </a:cubicBezTo>
                  <a:cubicBezTo>
                    <a:pt x="43583" y="76721"/>
                    <a:pt x="43387" y="77283"/>
                    <a:pt x="43387" y="77283"/>
                  </a:cubicBezTo>
                  <a:cubicBezTo>
                    <a:pt x="43387" y="77283"/>
                    <a:pt x="43192" y="77564"/>
                    <a:pt x="43192" y="77845"/>
                  </a:cubicBezTo>
                  <a:cubicBezTo>
                    <a:pt x="43192" y="77845"/>
                    <a:pt x="43192" y="77845"/>
                    <a:pt x="43387" y="77564"/>
                  </a:cubicBezTo>
                  <a:cubicBezTo>
                    <a:pt x="43778" y="77564"/>
                    <a:pt x="43583" y="77283"/>
                    <a:pt x="43583" y="77283"/>
                  </a:cubicBezTo>
                  <a:cubicBezTo>
                    <a:pt x="43778" y="76721"/>
                    <a:pt x="43778" y="76721"/>
                    <a:pt x="43778" y="76721"/>
                  </a:cubicBezTo>
                  <a:cubicBezTo>
                    <a:pt x="43778" y="76721"/>
                    <a:pt x="44169" y="77002"/>
                    <a:pt x="44169" y="77283"/>
                  </a:cubicBezTo>
                  <a:cubicBezTo>
                    <a:pt x="44169" y="77283"/>
                    <a:pt x="44169" y="77564"/>
                    <a:pt x="44169" y="77564"/>
                  </a:cubicBezTo>
                  <a:cubicBezTo>
                    <a:pt x="44169" y="77845"/>
                    <a:pt x="44364" y="77845"/>
                    <a:pt x="44364" y="78126"/>
                  </a:cubicBezTo>
                  <a:cubicBezTo>
                    <a:pt x="44560" y="78407"/>
                    <a:pt x="44364" y="78126"/>
                    <a:pt x="44364" y="78126"/>
                  </a:cubicBezTo>
                  <a:cubicBezTo>
                    <a:pt x="44364" y="77845"/>
                    <a:pt x="44560" y="77283"/>
                    <a:pt x="44560" y="77283"/>
                  </a:cubicBezTo>
                  <a:cubicBezTo>
                    <a:pt x="44755" y="76721"/>
                    <a:pt x="44755" y="76721"/>
                    <a:pt x="44755" y="76721"/>
                  </a:cubicBezTo>
                  <a:cubicBezTo>
                    <a:pt x="44755" y="76721"/>
                    <a:pt x="45537" y="76721"/>
                    <a:pt x="46319" y="76721"/>
                  </a:cubicBezTo>
                  <a:cubicBezTo>
                    <a:pt x="47100" y="76721"/>
                    <a:pt x="46514" y="76440"/>
                    <a:pt x="46514" y="76440"/>
                  </a:cubicBezTo>
                  <a:cubicBezTo>
                    <a:pt x="46905" y="76440"/>
                    <a:pt x="46905" y="76440"/>
                    <a:pt x="46905" y="76440"/>
                  </a:cubicBezTo>
                  <a:cubicBezTo>
                    <a:pt x="47100" y="77564"/>
                    <a:pt x="47100" y="77564"/>
                    <a:pt x="47100" y="77564"/>
                  </a:cubicBezTo>
                  <a:cubicBezTo>
                    <a:pt x="47100" y="77564"/>
                    <a:pt x="47491" y="78126"/>
                    <a:pt x="47687" y="78126"/>
                  </a:cubicBezTo>
                  <a:cubicBezTo>
                    <a:pt x="47882" y="78407"/>
                    <a:pt x="47882" y="78407"/>
                    <a:pt x="48273" y="78688"/>
                  </a:cubicBezTo>
                  <a:cubicBezTo>
                    <a:pt x="48859" y="78688"/>
                    <a:pt x="48664" y="78688"/>
                    <a:pt x="48664" y="78688"/>
                  </a:cubicBezTo>
                  <a:cubicBezTo>
                    <a:pt x="48859" y="78688"/>
                    <a:pt x="48859" y="78126"/>
                    <a:pt x="49055" y="77845"/>
                  </a:cubicBezTo>
                  <a:cubicBezTo>
                    <a:pt x="49055" y="77564"/>
                    <a:pt x="49250" y="77564"/>
                    <a:pt x="49250" y="77564"/>
                  </a:cubicBezTo>
                  <a:cubicBezTo>
                    <a:pt x="49250" y="77564"/>
                    <a:pt x="49641" y="78126"/>
                    <a:pt x="49641" y="78126"/>
                  </a:cubicBezTo>
                  <a:cubicBezTo>
                    <a:pt x="49837" y="78407"/>
                    <a:pt x="49837" y="78688"/>
                    <a:pt x="49837" y="78688"/>
                  </a:cubicBezTo>
                  <a:cubicBezTo>
                    <a:pt x="50423" y="78969"/>
                    <a:pt x="50423" y="78969"/>
                    <a:pt x="50423" y="78969"/>
                  </a:cubicBezTo>
                  <a:cubicBezTo>
                    <a:pt x="50423" y="79250"/>
                    <a:pt x="50423" y="79250"/>
                    <a:pt x="50423" y="79250"/>
                  </a:cubicBezTo>
                  <a:cubicBezTo>
                    <a:pt x="50423" y="80093"/>
                    <a:pt x="50423" y="80093"/>
                    <a:pt x="50423" y="80093"/>
                  </a:cubicBezTo>
                  <a:cubicBezTo>
                    <a:pt x="50814" y="80374"/>
                    <a:pt x="50814" y="80374"/>
                    <a:pt x="50814" y="80374"/>
                  </a:cubicBezTo>
                  <a:cubicBezTo>
                    <a:pt x="50618" y="80936"/>
                    <a:pt x="50618" y="80936"/>
                    <a:pt x="50618" y="80936"/>
                  </a:cubicBezTo>
                  <a:cubicBezTo>
                    <a:pt x="50618" y="80936"/>
                    <a:pt x="50814" y="81498"/>
                    <a:pt x="50814" y="81779"/>
                  </a:cubicBezTo>
                  <a:cubicBezTo>
                    <a:pt x="50814" y="81779"/>
                    <a:pt x="51009" y="82341"/>
                    <a:pt x="51009" y="82341"/>
                  </a:cubicBezTo>
                  <a:cubicBezTo>
                    <a:pt x="51009" y="83185"/>
                    <a:pt x="51009" y="83185"/>
                    <a:pt x="51009" y="83185"/>
                  </a:cubicBezTo>
                  <a:cubicBezTo>
                    <a:pt x="50814" y="83747"/>
                    <a:pt x="50814" y="83747"/>
                    <a:pt x="50814" y="83747"/>
                  </a:cubicBezTo>
                  <a:cubicBezTo>
                    <a:pt x="51009" y="84028"/>
                    <a:pt x="51009" y="84028"/>
                    <a:pt x="51009" y="84028"/>
                  </a:cubicBezTo>
                  <a:cubicBezTo>
                    <a:pt x="51009" y="84028"/>
                    <a:pt x="51009" y="84871"/>
                    <a:pt x="51205" y="85152"/>
                  </a:cubicBezTo>
                  <a:cubicBezTo>
                    <a:pt x="51400" y="85714"/>
                    <a:pt x="51596" y="84871"/>
                    <a:pt x="51596" y="84871"/>
                  </a:cubicBezTo>
                  <a:cubicBezTo>
                    <a:pt x="51986" y="84871"/>
                    <a:pt x="51986" y="84871"/>
                    <a:pt x="51986" y="84871"/>
                  </a:cubicBezTo>
                  <a:cubicBezTo>
                    <a:pt x="52377" y="85714"/>
                    <a:pt x="52377" y="85714"/>
                    <a:pt x="52377" y="85714"/>
                  </a:cubicBezTo>
                  <a:cubicBezTo>
                    <a:pt x="52573" y="85714"/>
                    <a:pt x="52573" y="85714"/>
                    <a:pt x="52573" y="85714"/>
                  </a:cubicBezTo>
                  <a:cubicBezTo>
                    <a:pt x="52964" y="85995"/>
                    <a:pt x="52964" y="85995"/>
                    <a:pt x="52964" y="85995"/>
                  </a:cubicBezTo>
                  <a:cubicBezTo>
                    <a:pt x="53159" y="86838"/>
                    <a:pt x="53159" y="86838"/>
                    <a:pt x="53159" y="86838"/>
                  </a:cubicBezTo>
                  <a:cubicBezTo>
                    <a:pt x="53550" y="86557"/>
                    <a:pt x="53550" y="86557"/>
                    <a:pt x="53550" y="86557"/>
                  </a:cubicBezTo>
                  <a:cubicBezTo>
                    <a:pt x="53745" y="85714"/>
                    <a:pt x="53745" y="85714"/>
                    <a:pt x="53745" y="85714"/>
                  </a:cubicBezTo>
                  <a:cubicBezTo>
                    <a:pt x="54136" y="85995"/>
                    <a:pt x="54136" y="85995"/>
                    <a:pt x="54136" y="85995"/>
                  </a:cubicBezTo>
                  <a:cubicBezTo>
                    <a:pt x="54527" y="85995"/>
                    <a:pt x="54527" y="85995"/>
                    <a:pt x="54527" y="85995"/>
                  </a:cubicBezTo>
                  <a:cubicBezTo>
                    <a:pt x="54527" y="87119"/>
                    <a:pt x="54527" y="87119"/>
                    <a:pt x="54527" y="87119"/>
                  </a:cubicBezTo>
                  <a:cubicBezTo>
                    <a:pt x="54527" y="87119"/>
                    <a:pt x="54723" y="87400"/>
                    <a:pt x="54723" y="87681"/>
                  </a:cubicBezTo>
                  <a:cubicBezTo>
                    <a:pt x="54723" y="87681"/>
                    <a:pt x="54723" y="88243"/>
                    <a:pt x="54723" y="88243"/>
                  </a:cubicBezTo>
                  <a:cubicBezTo>
                    <a:pt x="54918" y="88805"/>
                    <a:pt x="54918" y="88805"/>
                    <a:pt x="54918" y="88805"/>
                  </a:cubicBezTo>
                  <a:cubicBezTo>
                    <a:pt x="54332" y="89086"/>
                    <a:pt x="54332" y="89086"/>
                    <a:pt x="54332" y="89086"/>
                  </a:cubicBezTo>
                  <a:cubicBezTo>
                    <a:pt x="54723" y="89367"/>
                    <a:pt x="54723" y="89367"/>
                    <a:pt x="54723" y="89367"/>
                  </a:cubicBezTo>
                  <a:cubicBezTo>
                    <a:pt x="54723" y="89367"/>
                    <a:pt x="55114" y="89367"/>
                    <a:pt x="55309" y="89367"/>
                  </a:cubicBezTo>
                  <a:cubicBezTo>
                    <a:pt x="55504" y="89367"/>
                    <a:pt x="55504" y="90210"/>
                    <a:pt x="55504" y="90210"/>
                  </a:cubicBezTo>
                  <a:cubicBezTo>
                    <a:pt x="55504" y="90210"/>
                    <a:pt x="55504" y="90491"/>
                    <a:pt x="55309" y="90772"/>
                  </a:cubicBezTo>
                  <a:cubicBezTo>
                    <a:pt x="55309" y="90772"/>
                    <a:pt x="55309" y="91053"/>
                    <a:pt x="55309" y="91334"/>
                  </a:cubicBezTo>
                  <a:cubicBezTo>
                    <a:pt x="55504" y="91334"/>
                    <a:pt x="55895" y="91615"/>
                    <a:pt x="56091" y="91615"/>
                  </a:cubicBezTo>
                  <a:cubicBezTo>
                    <a:pt x="56482" y="91615"/>
                    <a:pt x="56482" y="91615"/>
                    <a:pt x="56482" y="91615"/>
                  </a:cubicBezTo>
                  <a:cubicBezTo>
                    <a:pt x="56872" y="91615"/>
                    <a:pt x="56872" y="91615"/>
                    <a:pt x="56872" y="91615"/>
                  </a:cubicBezTo>
                  <a:cubicBezTo>
                    <a:pt x="56872" y="91615"/>
                    <a:pt x="57068" y="91896"/>
                    <a:pt x="57263" y="91896"/>
                  </a:cubicBezTo>
                  <a:cubicBezTo>
                    <a:pt x="57263" y="91615"/>
                    <a:pt x="57654" y="91615"/>
                    <a:pt x="57654" y="91615"/>
                  </a:cubicBezTo>
                  <a:cubicBezTo>
                    <a:pt x="58045" y="92177"/>
                    <a:pt x="58045" y="92177"/>
                    <a:pt x="58045" y="92177"/>
                  </a:cubicBezTo>
                  <a:cubicBezTo>
                    <a:pt x="58436" y="91896"/>
                    <a:pt x="58436" y="91896"/>
                    <a:pt x="58436" y="91896"/>
                  </a:cubicBezTo>
                  <a:cubicBezTo>
                    <a:pt x="58436" y="92459"/>
                    <a:pt x="58436" y="92459"/>
                    <a:pt x="58436" y="92459"/>
                  </a:cubicBezTo>
                  <a:cubicBezTo>
                    <a:pt x="58436" y="92459"/>
                    <a:pt x="58827" y="93583"/>
                    <a:pt x="58827" y="93583"/>
                  </a:cubicBezTo>
                  <a:cubicBezTo>
                    <a:pt x="59022" y="93864"/>
                    <a:pt x="59022" y="94426"/>
                    <a:pt x="59022" y="94707"/>
                  </a:cubicBezTo>
                  <a:cubicBezTo>
                    <a:pt x="59022" y="94988"/>
                    <a:pt x="59218" y="95550"/>
                    <a:pt x="59218" y="95550"/>
                  </a:cubicBezTo>
                  <a:cubicBezTo>
                    <a:pt x="59218" y="95550"/>
                    <a:pt x="59022" y="95550"/>
                    <a:pt x="58827" y="95831"/>
                  </a:cubicBezTo>
                  <a:cubicBezTo>
                    <a:pt x="58631" y="96112"/>
                    <a:pt x="59022" y="96393"/>
                    <a:pt x="59022" y="96393"/>
                  </a:cubicBezTo>
                  <a:cubicBezTo>
                    <a:pt x="59413" y="96393"/>
                    <a:pt x="59413" y="96393"/>
                    <a:pt x="59413" y="96393"/>
                  </a:cubicBezTo>
                  <a:cubicBezTo>
                    <a:pt x="59413" y="96393"/>
                    <a:pt x="59804" y="96955"/>
                    <a:pt x="59804" y="97236"/>
                  </a:cubicBezTo>
                  <a:cubicBezTo>
                    <a:pt x="59999" y="97517"/>
                    <a:pt x="60390" y="97236"/>
                    <a:pt x="60586" y="97236"/>
                  </a:cubicBezTo>
                  <a:cubicBezTo>
                    <a:pt x="60781" y="96955"/>
                    <a:pt x="61172" y="97236"/>
                    <a:pt x="61172" y="97517"/>
                  </a:cubicBezTo>
                  <a:cubicBezTo>
                    <a:pt x="61172" y="97517"/>
                    <a:pt x="60586" y="97798"/>
                    <a:pt x="60390" y="97798"/>
                  </a:cubicBezTo>
                  <a:cubicBezTo>
                    <a:pt x="60195" y="98079"/>
                    <a:pt x="59609" y="98079"/>
                    <a:pt x="59609" y="98079"/>
                  </a:cubicBezTo>
                  <a:cubicBezTo>
                    <a:pt x="59413" y="98922"/>
                    <a:pt x="59413" y="98922"/>
                    <a:pt x="59413" y="98922"/>
                  </a:cubicBezTo>
                  <a:cubicBezTo>
                    <a:pt x="59022" y="99203"/>
                    <a:pt x="59022" y="99203"/>
                    <a:pt x="59022" y="99203"/>
                  </a:cubicBezTo>
                  <a:cubicBezTo>
                    <a:pt x="58827" y="98360"/>
                    <a:pt x="58827" y="98360"/>
                    <a:pt x="58827" y="98360"/>
                  </a:cubicBezTo>
                  <a:cubicBezTo>
                    <a:pt x="58045" y="97517"/>
                    <a:pt x="58045" y="97517"/>
                    <a:pt x="58045" y="97517"/>
                  </a:cubicBezTo>
                  <a:cubicBezTo>
                    <a:pt x="58045" y="98360"/>
                    <a:pt x="58045" y="98360"/>
                    <a:pt x="58045" y="98360"/>
                  </a:cubicBezTo>
                  <a:cubicBezTo>
                    <a:pt x="57654" y="98641"/>
                    <a:pt x="57654" y="98641"/>
                    <a:pt x="57654" y="98641"/>
                  </a:cubicBezTo>
                  <a:cubicBezTo>
                    <a:pt x="57654" y="98641"/>
                    <a:pt x="57654" y="98922"/>
                    <a:pt x="57654" y="99203"/>
                  </a:cubicBezTo>
                  <a:cubicBezTo>
                    <a:pt x="57654" y="99484"/>
                    <a:pt x="57459" y="99484"/>
                    <a:pt x="57459" y="99484"/>
                  </a:cubicBezTo>
                  <a:cubicBezTo>
                    <a:pt x="57068" y="99203"/>
                    <a:pt x="57068" y="99203"/>
                    <a:pt x="57068" y="99203"/>
                  </a:cubicBezTo>
                  <a:cubicBezTo>
                    <a:pt x="57068" y="99203"/>
                    <a:pt x="56677" y="99203"/>
                    <a:pt x="56482" y="99203"/>
                  </a:cubicBezTo>
                  <a:cubicBezTo>
                    <a:pt x="56286" y="99203"/>
                    <a:pt x="56286" y="98641"/>
                    <a:pt x="56286" y="98641"/>
                  </a:cubicBezTo>
                  <a:cubicBezTo>
                    <a:pt x="56091" y="98922"/>
                    <a:pt x="56091" y="98922"/>
                    <a:pt x="56091" y="98922"/>
                  </a:cubicBezTo>
                  <a:cubicBezTo>
                    <a:pt x="56091" y="98922"/>
                    <a:pt x="56091" y="99203"/>
                    <a:pt x="55895" y="99484"/>
                  </a:cubicBezTo>
                  <a:cubicBezTo>
                    <a:pt x="55895" y="99765"/>
                    <a:pt x="55895" y="99484"/>
                    <a:pt x="55504" y="99484"/>
                  </a:cubicBezTo>
                  <a:cubicBezTo>
                    <a:pt x="55309" y="99765"/>
                    <a:pt x="55309" y="99203"/>
                    <a:pt x="55114" y="98922"/>
                  </a:cubicBezTo>
                  <a:cubicBezTo>
                    <a:pt x="55114" y="98360"/>
                    <a:pt x="55114" y="98922"/>
                    <a:pt x="54918" y="98922"/>
                  </a:cubicBezTo>
                  <a:cubicBezTo>
                    <a:pt x="54723" y="98922"/>
                    <a:pt x="55114" y="99765"/>
                    <a:pt x="55114" y="99765"/>
                  </a:cubicBezTo>
                  <a:cubicBezTo>
                    <a:pt x="54918" y="100046"/>
                    <a:pt x="54918" y="100046"/>
                    <a:pt x="54918" y="100046"/>
                  </a:cubicBezTo>
                  <a:cubicBezTo>
                    <a:pt x="54918" y="100046"/>
                    <a:pt x="54918" y="100608"/>
                    <a:pt x="54527" y="100889"/>
                  </a:cubicBezTo>
                  <a:cubicBezTo>
                    <a:pt x="54332" y="100889"/>
                    <a:pt x="54527" y="100327"/>
                    <a:pt x="54527" y="100327"/>
                  </a:cubicBezTo>
                  <a:cubicBezTo>
                    <a:pt x="54527" y="99203"/>
                    <a:pt x="54527" y="99203"/>
                    <a:pt x="54527" y="99203"/>
                  </a:cubicBezTo>
                  <a:cubicBezTo>
                    <a:pt x="54136" y="97798"/>
                    <a:pt x="54136" y="97798"/>
                    <a:pt x="54136" y="97798"/>
                  </a:cubicBezTo>
                  <a:cubicBezTo>
                    <a:pt x="54136" y="97798"/>
                    <a:pt x="53355" y="98922"/>
                    <a:pt x="53159" y="98922"/>
                  </a:cubicBezTo>
                  <a:cubicBezTo>
                    <a:pt x="53159" y="99203"/>
                    <a:pt x="52768" y="100327"/>
                    <a:pt x="52573" y="100327"/>
                  </a:cubicBezTo>
                  <a:cubicBezTo>
                    <a:pt x="52573" y="100608"/>
                    <a:pt x="52573" y="101170"/>
                    <a:pt x="52573" y="101170"/>
                  </a:cubicBezTo>
                  <a:cubicBezTo>
                    <a:pt x="52964" y="102014"/>
                    <a:pt x="52964" y="102014"/>
                    <a:pt x="52964" y="102014"/>
                  </a:cubicBezTo>
                  <a:cubicBezTo>
                    <a:pt x="52964" y="102857"/>
                    <a:pt x="52964" y="102857"/>
                    <a:pt x="52964" y="102857"/>
                  </a:cubicBezTo>
                  <a:cubicBezTo>
                    <a:pt x="53355" y="103419"/>
                    <a:pt x="53355" y="103419"/>
                    <a:pt x="53355" y="103419"/>
                  </a:cubicBezTo>
                  <a:cubicBezTo>
                    <a:pt x="53355" y="103419"/>
                    <a:pt x="53745" y="103419"/>
                    <a:pt x="53941" y="103700"/>
                  </a:cubicBezTo>
                  <a:cubicBezTo>
                    <a:pt x="54136" y="103700"/>
                    <a:pt x="53941" y="104262"/>
                    <a:pt x="53941" y="104262"/>
                  </a:cubicBezTo>
                  <a:cubicBezTo>
                    <a:pt x="53745" y="105386"/>
                    <a:pt x="53745" y="105386"/>
                    <a:pt x="53745" y="105386"/>
                  </a:cubicBezTo>
                  <a:cubicBezTo>
                    <a:pt x="53745" y="105386"/>
                    <a:pt x="53941" y="105667"/>
                    <a:pt x="54136" y="105948"/>
                  </a:cubicBezTo>
                  <a:cubicBezTo>
                    <a:pt x="54136" y="106229"/>
                    <a:pt x="53745" y="106791"/>
                    <a:pt x="53745" y="106791"/>
                  </a:cubicBezTo>
                  <a:cubicBezTo>
                    <a:pt x="53550" y="106791"/>
                    <a:pt x="52964" y="107634"/>
                    <a:pt x="52964" y="107634"/>
                  </a:cubicBezTo>
                  <a:cubicBezTo>
                    <a:pt x="52964" y="107634"/>
                    <a:pt x="52768" y="107915"/>
                    <a:pt x="52573" y="107915"/>
                  </a:cubicBezTo>
                  <a:cubicBezTo>
                    <a:pt x="52377" y="107915"/>
                    <a:pt x="52768" y="108758"/>
                    <a:pt x="52768" y="108758"/>
                  </a:cubicBezTo>
                  <a:cubicBezTo>
                    <a:pt x="52964" y="109601"/>
                    <a:pt x="52964" y="109601"/>
                    <a:pt x="52964" y="109601"/>
                  </a:cubicBezTo>
                  <a:cubicBezTo>
                    <a:pt x="52964" y="109601"/>
                    <a:pt x="52768" y="109882"/>
                    <a:pt x="52768" y="109882"/>
                  </a:cubicBezTo>
                  <a:cubicBezTo>
                    <a:pt x="52573" y="110163"/>
                    <a:pt x="52573" y="110725"/>
                    <a:pt x="52573" y="110725"/>
                  </a:cubicBezTo>
                  <a:cubicBezTo>
                    <a:pt x="52182" y="110725"/>
                    <a:pt x="52182" y="110725"/>
                    <a:pt x="52182" y="110725"/>
                  </a:cubicBezTo>
                  <a:cubicBezTo>
                    <a:pt x="51986" y="111288"/>
                    <a:pt x="51986" y="111288"/>
                    <a:pt x="51986" y="111288"/>
                  </a:cubicBezTo>
                  <a:cubicBezTo>
                    <a:pt x="51986" y="111288"/>
                    <a:pt x="51986" y="112131"/>
                    <a:pt x="51791" y="112131"/>
                  </a:cubicBezTo>
                  <a:cubicBezTo>
                    <a:pt x="51596" y="112131"/>
                    <a:pt x="51791" y="112693"/>
                    <a:pt x="51791" y="112693"/>
                  </a:cubicBezTo>
                  <a:cubicBezTo>
                    <a:pt x="51596" y="113255"/>
                    <a:pt x="51596" y="113255"/>
                    <a:pt x="51596" y="113255"/>
                  </a:cubicBezTo>
                  <a:cubicBezTo>
                    <a:pt x="52377" y="113817"/>
                    <a:pt x="52377" y="113817"/>
                    <a:pt x="52377" y="113817"/>
                  </a:cubicBezTo>
                  <a:cubicBezTo>
                    <a:pt x="52182" y="114379"/>
                    <a:pt x="52182" y="114379"/>
                    <a:pt x="52182" y="114379"/>
                  </a:cubicBezTo>
                  <a:cubicBezTo>
                    <a:pt x="52182" y="114941"/>
                    <a:pt x="52182" y="114941"/>
                    <a:pt x="52182" y="114941"/>
                  </a:cubicBezTo>
                  <a:cubicBezTo>
                    <a:pt x="52377" y="114941"/>
                    <a:pt x="52377" y="114941"/>
                    <a:pt x="52377" y="114941"/>
                  </a:cubicBezTo>
                  <a:cubicBezTo>
                    <a:pt x="52377" y="114941"/>
                    <a:pt x="51986" y="115222"/>
                    <a:pt x="51791" y="115222"/>
                  </a:cubicBezTo>
                  <a:cubicBezTo>
                    <a:pt x="51596" y="115503"/>
                    <a:pt x="51400" y="115222"/>
                    <a:pt x="51205" y="115503"/>
                  </a:cubicBezTo>
                  <a:cubicBezTo>
                    <a:pt x="51009" y="115503"/>
                    <a:pt x="50423" y="115784"/>
                    <a:pt x="50423" y="115784"/>
                  </a:cubicBezTo>
                  <a:cubicBezTo>
                    <a:pt x="50228" y="116908"/>
                    <a:pt x="50228" y="116908"/>
                    <a:pt x="50228" y="116908"/>
                  </a:cubicBezTo>
                  <a:cubicBezTo>
                    <a:pt x="49837" y="116908"/>
                    <a:pt x="49837" y="116908"/>
                    <a:pt x="49837" y="116908"/>
                  </a:cubicBezTo>
                  <a:cubicBezTo>
                    <a:pt x="49837" y="116346"/>
                    <a:pt x="49837" y="116346"/>
                    <a:pt x="49837" y="116346"/>
                  </a:cubicBezTo>
                  <a:cubicBezTo>
                    <a:pt x="49641" y="116065"/>
                    <a:pt x="49641" y="116065"/>
                    <a:pt x="49641" y="116065"/>
                  </a:cubicBezTo>
                  <a:cubicBezTo>
                    <a:pt x="49641" y="116627"/>
                    <a:pt x="49641" y="116908"/>
                    <a:pt x="49641" y="116908"/>
                  </a:cubicBezTo>
                  <a:cubicBezTo>
                    <a:pt x="51596" y="118875"/>
                    <a:pt x="51596" y="118875"/>
                    <a:pt x="51596" y="118875"/>
                  </a:cubicBezTo>
                  <a:cubicBezTo>
                    <a:pt x="54918" y="120000"/>
                    <a:pt x="54918" y="120000"/>
                    <a:pt x="54918" y="120000"/>
                  </a:cubicBezTo>
                  <a:cubicBezTo>
                    <a:pt x="55700" y="118032"/>
                    <a:pt x="55700" y="118032"/>
                    <a:pt x="55700" y="118032"/>
                  </a:cubicBezTo>
                  <a:cubicBezTo>
                    <a:pt x="55700" y="118032"/>
                    <a:pt x="57459" y="113536"/>
                    <a:pt x="58827" y="113817"/>
                  </a:cubicBezTo>
                  <a:cubicBezTo>
                    <a:pt x="59804" y="114098"/>
                    <a:pt x="61172" y="114660"/>
                    <a:pt x="61368" y="114660"/>
                  </a:cubicBezTo>
                  <a:cubicBezTo>
                    <a:pt x="61172" y="112974"/>
                    <a:pt x="59022" y="110163"/>
                    <a:pt x="59413" y="109601"/>
                  </a:cubicBezTo>
                  <a:cubicBezTo>
                    <a:pt x="59804" y="108758"/>
                    <a:pt x="60781" y="106791"/>
                    <a:pt x="61368" y="105667"/>
                  </a:cubicBezTo>
                  <a:cubicBezTo>
                    <a:pt x="61758" y="104543"/>
                    <a:pt x="63713" y="103700"/>
                    <a:pt x="63713" y="103700"/>
                  </a:cubicBezTo>
                  <a:cubicBezTo>
                    <a:pt x="65276" y="99484"/>
                    <a:pt x="65276" y="99484"/>
                    <a:pt x="65276" y="99484"/>
                  </a:cubicBezTo>
                  <a:cubicBezTo>
                    <a:pt x="64885" y="93021"/>
                    <a:pt x="64495" y="91334"/>
                    <a:pt x="69185" y="90491"/>
                  </a:cubicBezTo>
                  <a:cubicBezTo>
                    <a:pt x="69967" y="90210"/>
                    <a:pt x="70944" y="89367"/>
                    <a:pt x="70944" y="89367"/>
                  </a:cubicBezTo>
                  <a:cubicBezTo>
                    <a:pt x="72508" y="88524"/>
                    <a:pt x="72508" y="88524"/>
                    <a:pt x="72508" y="88524"/>
                  </a:cubicBezTo>
                  <a:cubicBezTo>
                    <a:pt x="75439" y="87962"/>
                    <a:pt x="75439" y="87962"/>
                    <a:pt x="75439" y="87962"/>
                  </a:cubicBezTo>
                  <a:cubicBezTo>
                    <a:pt x="73094" y="89929"/>
                    <a:pt x="73094" y="89929"/>
                    <a:pt x="73094" y="89929"/>
                  </a:cubicBezTo>
                  <a:cubicBezTo>
                    <a:pt x="71335" y="92740"/>
                    <a:pt x="71335" y="92740"/>
                    <a:pt x="71335" y="92740"/>
                  </a:cubicBezTo>
                  <a:cubicBezTo>
                    <a:pt x="73680" y="93583"/>
                    <a:pt x="73680" y="93583"/>
                    <a:pt x="73680" y="93583"/>
                  </a:cubicBezTo>
                  <a:cubicBezTo>
                    <a:pt x="73680" y="93583"/>
                    <a:pt x="73680" y="96112"/>
                    <a:pt x="74853" y="95550"/>
                  </a:cubicBezTo>
                  <a:cubicBezTo>
                    <a:pt x="75830" y="94988"/>
                    <a:pt x="78175" y="93583"/>
                    <a:pt x="78566" y="93583"/>
                  </a:cubicBezTo>
                  <a:cubicBezTo>
                    <a:pt x="78957" y="93302"/>
                    <a:pt x="81107" y="92459"/>
                    <a:pt x="81693" y="92459"/>
                  </a:cubicBezTo>
                  <a:cubicBezTo>
                    <a:pt x="82280" y="92459"/>
                    <a:pt x="85407" y="91896"/>
                    <a:pt x="85407" y="91896"/>
                  </a:cubicBezTo>
                  <a:cubicBezTo>
                    <a:pt x="85798" y="94426"/>
                    <a:pt x="85798" y="94426"/>
                    <a:pt x="85798" y="94426"/>
                  </a:cubicBezTo>
                  <a:cubicBezTo>
                    <a:pt x="84429" y="96955"/>
                    <a:pt x="84429" y="96955"/>
                    <a:pt x="84429" y="96955"/>
                  </a:cubicBezTo>
                  <a:cubicBezTo>
                    <a:pt x="82671" y="99484"/>
                    <a:pt x="82671" y="99484"/>
                    <a:pt x="82671" y="99484"/>
                  </a:cubicBezTo>
                  <a:cubicBezTo>
                    <a:pt x="79934" y="103138"/>
                    <a:pt x="79934" y="103138"/>
                    <a:pt x="79934" y="103138"/>
                  </a:cubicBezTo>
                  <a:cubicBezTo>
                    <a:pt x="79934" y="103138"/>
                    <a:pt x="79153" y="105105"/>
                    <a:pt x="79543" y="105386"/>
                  </a:cubicBezTo>
                  <a:cubicBezTo>
                    <a:pt x="79934" y="105667"/>
                    <a:pt x="82866" y="105105"/>
                    <a:pt x="82866" y="105105"/>
                  </a:cubicBezTo>
                  <a:cubicBezTo>
                    <a:pt x="86188" y="105386"/>
                    <a:pt x="86188" y="105386"/>
                    <a:pt x="86188" y="105386"/>
                  </a:cubicBezTo>
                  <a:cubicBezTo>
                    <a:pt x="86188" y="105386"/>
                    <a:pt x="86775" y="105667"/>
                    <a:pt x="87166" y="107353"/>
                  </a:cubicBezTo>
                  <a:cubicBezTo>
                    <a:pt x="87752" y="109320"/>
                    <a:pt x="88143" y="110163"/>
                    <a:pt x="88338" y="110725"/>
                  </a:cubicBezTo>
                  <a:cubicBezTo>
                    <a:pt x="88729" y="111569"/>
                    <a:pt x="89511" y="113255"/>
                    <a:pt x="89511" y="113255"/>
                  </a:cubicBezTo>
                  <a:cubicBezTo>
                    <a:pt x="89511" y="113255"/>
                    <a:pt x="88729" y="114379"/>
                    <a:pt x="89706" y="114098"/>
                  </a:cubicBezTo>
                  <a:cubicBezTo>
                    <a:pt x="90879" y="114098"/>
                    <a:pt x="91661" y="113817"/>
                    <a:pt x="91661" y="113817"/>
                  </a:cubicBezTo>
                  <a:cubicBezTo>
                    <a:pt x="91661" y="113817"/>
                    <a:pt x="91856" y="112131"/>
                    <a:pt x="92247" y="111569"/>
                  </a:cubicBezTo>
                  <a:cubicBezTo>
                    <a:pt x="92833" y="111288"/>
                    <a:pt x="93420" y="110444"/>
                    <a:pt x="93420" y="110444"/>
                  </a:cubicBezTo>
                  <a:cubicBezTo>
                    <a:pt x="93420" y="110444"/>
                    <a:pt x="93224" y="108758"/>
                    <a:pt x="93811" y="108196"/>
                  </a:cubicBezTo>
                  <a:cubicBezTo>
                    <a:pt x="94397" y="107915"/>
                    <a:pt x="95179" y="107634"/>
                    <a:pt x="95960" y="107353"/>
                  </a:cubicBezTo>
                  <a:cubicBezTo>
                    <a:pt x="96742" y="106791"/>
                    <a:pt x="97524" y="104824"/>
                    <a:pt x="97524" y="104824"/>
                  </a:cubicBezTo>
                  <a:cubicBezTo>
                    <a:pt x="98501" y="103700"/>
                    <a:pt x="98501" y="103700"/>
                    <a:pt x="98501" y="103700"/>
                  </a:cubicBezTo>
                  <a:cubicBezTo>
                    <a:pt x="100846" y="102576"/>
                    <a:pt x="100846" y="102576"/>
                    <a:pt x="100846" y="102576"/>
                  </a:cubicBezTo>
                  <a:cubicBezTo>
                    <a:pt x="100651" y="99765"/>
                    <a:pt x="100651" y="99765"/>
                    <a:pt x="100651" y="99765"/>
                  </a:cubicBezTo>
                  <a:cubicBezTo>
                    <a:pt x="100651" y="99765"/>
                    <a:pt x="100846" y="99203"/>
                    <a:pt x="101433" y="99203"/>
                  </a:cubicBezTo>
                  <a:cubicBezTo>
                    <a:pt x="101824" y="98922"/>
                    <a:pt x="105928" y="96955"/>
                    <a:pt x="105928" y="96955"/>
                  </a:cubicBezTo>
                  <a:cubicBezTo>
                    <a:pt x="107100" y="94145"/>
                    <a:pt x="107100" y="94145"/>
                    <a:pt x="107100" y="94145"/>
                  </a:cubicBezTo>
                  <a:cubicBezTo>
                    <a:pt x="107100" y="91334"/>
                    <a:pt x="107100" y="91334"/>
                    <a:pt x="107100" y="91334"/>
                  </a:cubicBezTo>
                  <a:cubicBezTo>
                    <a:pt x="107100" y="91334"/>
                    <a:pt x="107491" y="89648"/>
                    <a:pt x="106710" y="89648"/>
                  </a:cubicBezTo>
                  <a:cubicBezTo>
                    <a:pt x="105928" y="89648"/>
                    <a:pt x="103973" y="92459"/>
                    <a:pt x="103973" y="92459"/>
                  </a:cubicBezTo>
                  <a:cubicBezTo>
                    <a:pt x="101824" y="92740"/>
                    <a:pt x="101824" y="92740"/>
                    <a:pt x="101824" y="92740"/>
                  </a:cubicBezTo>
                  <a:cubicBezTo>
                    <a:pt x="101824" y="92740"/>
                    <a:pt x="100846" y="95269"/>
                    <a:pt x="100456" y="95269"/>
                  </a:cubicBezTo>
                  <a:cubicBezTo>
                    <a:pt x="100065" y="95550"/>
                    <a:pt x="98892" y="96112"/>
                    <a:pt x="98501" y="95831"/>
                  </a:cubicBezTo>
                  <a:cubicBezTo>
                    <a:pt x="98110" y="95831"/>
                    <a:pt x="98697" y="98922"/>
                    <a:pt x="97328" y="95269"/>
                  </a:cubicBezTo>
                  <a:cubicBezTo>
                    <a:pt x="95960" y="91615"/>
                    <a:pt x="95374" y="91615"/>
                    <a:pt x="95374" y="91615"/>
                  </a:cubicBezTo>
                  <a:cubicBezTo>
                    <a:pt x="94006" y="91615"/>
                    <a:pt x="94006" y="91615"/>
                    <a:pt x="94006" y="91615"/>
                  </a:cubicBezTo>
                  <a:cubicBezTo>
                    <a:pt x="94006" y="91615"/>
                    <a:pt x="92833" y="92459"/>
                    <a:pt x="92638" y="91896"/>
                  </a:cubicBezTo>
                  <a:cubicBezTo>
                    <a:pt x="92638" y="91334"/>
                    <a:pt x="92052" y="89648"/>
                    <a:pt x="92052" y="89648"/>
                  </a:cubicBezTo>
                  <a:cubicBezTo>
                    <a:pt x="90097" y="89648"/>
                    <a:pt x="90097" y="89648"/>
                    <a:pt x="90097" y="89648"/>
                  </a:cubicBezTo>
                  <a:cubicBezTo>
                    <a:pt x="89315" y="90210"/>
                    <a:pt x="89315" y="90210"/>
                    <a:pt x="89315" y="90210"/>
                  </a:cubicBezTo>
                  <a:cubicBezTo>
                    <a:pt x="86384" y="89929"/>
                    <a:pt x="86384" y="89929"/>
                    <a:pt x="86384" y="89929"/>
                  </a:cubicBezTo>
                  <a:cubicBezTo>
                    <a:pt x="85211" y="88805"/>
                    <a:pt x="85211" y="88805"/>
                    <a:pt x="85211" y="88805"/>
                  </a:cubicBezTo>
                  <a:cubicBezTo>
                    <a:pt x="86775" y="87681"/>
                    <a:pt x="86775" y="87681"/>
                    <a:pt x="86775" y="87681"/>
                  </a:cubicBezTo>
                  <a:cubicBezTo>
                    <a:pt x="86775" y="87681"/>
                    <a:pt x="87361" y="88524"/>
                    <a:pt x="87557" y="88524"/>
                  </a:cubicBezTo>
                  <a:cubicBezTo>
                    <a:pt x="87947" y="88243"/>
                    <a:pt x="87557" y="87400"/>
                    <a:pt x="87947" y="87119"/>
                  </a:cubicBezTo>
                  <a:cubicBezTo>
                    <a:pt x="88534" y="86838"/>
                    <a:pt x="89120" y="85995"/>
                    <a:pt x="89706" y="86557"/>
                  </a:cubicBezTo>
                  <a:cubicBezTo>
                    <a:pt x="90293" y="86838"/>
                    <a:pt x="89706" y="88524"/>
                    <a:pt x="90684" y="87400"/>
                  </a:cubicBezTo>
                  <a:cubicBezTo>
                    <a:pt x="91661" y="86276"/>
                    <a:pt x="92638" y="86557"/>
                    <a:pt x="92638" y="86557"/>
                  </a:cubicBezTo>
                  <a:cubicBezTo>
                    <a:pt x="93811" y="83747"/>
                    <a:pt x="93811" y="83747"/>
                    <a:pt x="93811" y="83747"/>
                  </a:cubicBezTo>
                  <a:cubicBezTo>
                    <a:pt x="94592" y="81217"/>
                    <a:pt x="94592" y="81217"/>
                    <a:pt x="94592" y="81217"/>
                  </a:cubicBezTo>
                  <a:cubicBezTo>
                    <a:pt x="94592" y="81217"/>
                    <a:pt x="94983" y="81498"/>
                    <a:pt x="95374" y="81779"/>
                  </a:cubicBezTo>
                  <a:cubicBezTo>
                    <a:pt x="95960" y="81779"/>
                    <a:pt x="97328" y="78407"/>
                    <a:pt x="97328" y="78407"/>
                  </a:cubicBezTo>
                  <a:cubicBezTo>
                    <a:pt x="97328" y="78407"/>
                    <a:pt x="97524" y="75035"/>
                    <a:pt x="97915" y="75035"/>
                  </a:cubicBezTo>
                  <a:cubicBezTo>
                    <a:pt x="98306" y="74754"/>
                    <a:pt x="101237" y="73348"/>
                    <a:pt x="101237" y="73348"/>
                  </a:cubicBezTo>
                  <a:cubicBezTo>
                    <a:pt x="103192" y="71662"/>
                    <a:pt x="103192" y="71662"/>
                    <a:pt x="103192" y="71662"/>
                  </a:cubicBezTo>
                  <a:cubicBezTo>
                    <a:pt x="103192" y="71662"/>
                    <a:pt x="104169" y="69695"/>
                    <a:pt x="104560" y="69414"/>
                  </a:cubicBezTo>
                  <a:cubicBezTo>
                    <a:pt x="104951" y="69414"/>
                    <a:pt x="105342" y="68290"/>
                    <a:pt x="105732" y="66885"/>
                  </a:cubicBezTo>
                  <a:cubicBezTo>
                    <a:pt x="106319" y="65761"/>
                    <a:pt x="106710" y="64918"/>
                    <a:pt x="106710" y="64918"/>
                  </a:cubicBezTo>
                  <a:cubicBezTo>
                    <a:pt x="106710" y="64918"/>
                    <a:pt x="109055" y="64074"/>
                    <a:pt x="108859" y="63793"/>
                  </a:cubicBezTo>
                  <a:cubicBezTo>
                    <a:pt x="108859" y="63231"/>
                    <a:pt x="107882" y="62107"/>
                    <a:pt x="109055" y="62107"/>
                  </a:cubicBezTo>
                  <a:cubicBezTo>
                    <a:pt x="110228" y="62107"/>
                    <a:pt x="110228" y="62107"/>
                    <a:pt x="110814" y="61545"/>
                  </a:cubicBezTo>
                  <a:cubicBezTo>
                    <a:pt x="111205" y="61264"/>
                    <a:pt x="111009" y="60983"/>
                    <a:pt x="111205" y="60140"/>
                  </a:cubicBezTo>
                  <a:cubicBezTo>
                    <a:pt x="111596" y="59578"/>
                    <a:pt x="111791" y="58735"/>
                    <a:pt x="111791" y="58173"/>
                  </a:cubicBezTo>
                  <a:cubicBezTo>
                    <a:pt x="111596" y="57611"/>
                    <a:pt x="110618" y="55362"/>
                    <a:pt x="110618" y="54800"/>
                  </a:cubicBezTo>
                  <a:cubicBezTo>
                    <a:pt x="110423" y="53957"/>
                    <a:pt x="110618" y="52271"/>
                    <a:pt x="110618" y="52271"/>
                  </a:cubicBezTo>
                  <a:cubicBezTo>
                    <a:pt x="110618" y="52271"/>
                    <a:pt x="111205" y="51990"/>
                    <a:pt x="111791" y="51709"/>
                  </a:cubicBezTo>
                  <a:cubicBezTo>
                    <a:pt x="112182" y="51147"/>
                    <a:pt x="112964" y="49180"/>
                    <a:pt x="112964" y="49180"/>
                  </a:cubicBezTo>
                  <a:cubicBezTo>
                    <a:pt x="113159" y="47775"/>
                    <a:pt x="113159" y="47775"/>
                    <a:pt x="113159" y="47775"/>
                  </a:cubicBezTo>
                  <a:cubicBezTo>
                    <a:pt x="113159" y="47775"/>
                    <a:pt x="113941" y="46932"/>
                    <a:pt x="114136" y="46932"/>
                  </a:cubicBezTo>
                  <a:cubicBezTo>
                    <a:pt x="114527" y="46651"/>
                    <a:pt x="117654" y="44964"/>
                    <a:pt x="117850" y="44964"/>
                  </a:cubicBezTo>
                  <a:cubicBezTo>
                    <a:pt x="118045" y="44964"/>
                    <a:pt x="119999" y="45245"/>
                    <a:pt x="119413" y="43840"/>
                  </a:cubicBezTo>
                  <a:cubicBezTo>
                    <a:pt x="118827" y="42716"/>
                    <a:pt x="118631" y="42154"/>
                    <a:pt x="118436" y="41311"/>
                  </a:cubicBezTo>
                  <a:cubicBezTo>
                    <a:pt x="118241" y="40468"/>
                    <a:pt x="118241" y="38501"/>
                    <a:pt x="118241" y="38220"/>
                  </a:cubicBezTo>
                  <a:cubicBezTo>
                    <a:pt x="118436" y="37939"/>
                    <a:pt x="119999" y="37096"/>
                    <a:pt x="118241" y="36814"/>
                  </a:cubicBezTo>
                  <a:cubicBezTo>
                    <a:pt x="116482" y="36533"/>
                    <a:pt x="117850" y="35690"/>
                    <a:pt x="117459" y="35128"/>
                  </a:cubicBezTo>
                  <a:cubicBezTo>
                    <a:pt x="116872" y="34566"/>
                    <a:pt x="115700" y="33442"/>
                    <a:pt x="115700" y="33442"/>
                  </a:cubicBezTo>
                  <a:cubicBezTo>
                    <a:pt x="115114" y="33442"/>
                    <a:pt x="115114" y="33442"/>
                    <a:pt x="115114" y="33442"/>
                  </a:cubicBezTo>
                  <a:cubicBezTo>
                    <a:pt x="115309" y="30632"/>
                    <a:pt x="115309" y="30632"/>
                    <a:pt x="115309" y="30632"/>
                  </a:cubicBezTo>
                  <a:cubicBezTo>
                    <a:pt x="115309" y="30632"/>
                    <a:pt x="115895" y="29508"/>
                    <a:pt x="116091" y="29508"/>
                  </a:cubicBezTo>
                  <a:cubicBezTo>
                    <a:pt x="116286" y="29227"/>
                    <a:pt x="116482" y="28103"/>
                    <a:pt x="116091" y="28103"/>
                  </a:cubicBezTo>
                  <a:cubicBezTo>
                    <a:pt x="115700" y="28384"/>
                    <a:pt x="114527" y="28665"/>
                    <a:pt x="114527" y="28665"/>
                  </a:cubicBezTo>
                  <a:cubicBezTo>
                    <a:pt x="114527" y="28665"/>
                    <a:pt x="113550" y="28665"/>
                    <a:pt x="113745" y="28103"/>
                  </a:cubicBezTo>
                  <a:cubicBezTo>
                    <a:pt x="113745" y="27259"/>
                    <a:pt x="114136" y="27259"/>
                    <a:pt x="114723" y="26416"/>
                  </a:cubicBezTo>
                  <a:cubicBezTo>
                    <a:pt x="115309" y="25573"/>
                    <a:pt x="115504" y="25011"/>
                    <a:pt x="115504" y="25011"/>
                  </a:cubicBezTo>
                  <a:cubicBezTo>
                    <a:pt x="115309" y="23325"/>
                    <a:pt x="115309" y="23325"/>
                    <a:pt x="115309" y="23325"/>
                  </a:cubicBezTo>
                  <a:cubicBezTo>
                    <a:pt x="115309" y="23325"/>
                    <a:pt x="115309" y="22201"/>
                    <a:pt x="115114" y="22201"/>
                  </a:cubicBezTo>
                  <a:cubicBezTo>
                    <a:pt x="115114" y="21920"/>
                    <a:pt x="113941" y="18548"/>
                    <a:pt x="113941" y="18548"/>
                  </a:cubicBezTo>
                  <a:cubicBezTo>
                    <a:pt x="113941" y="18548"/>
                    <a:pt x="112768" y="17985"/>
                    <a:pt x="112573" y="18548"/>
                  </a:cubicBezTo>
                  <a:cubicBezTo>
                    <a:pt x="112573" y="19110"/>
                    <a:pt x="112182" y="20234"/>
                    <a:pt x="112182" y="20234"/>
                  </a:cubicBezTo>
                  <a:cubicBezTo>
                    <a:pt x="110814" y="20234"/>
                    <a:pt x="110814" y="20234"/>
                    <a:pt x="110814" y="20234"/>
                  </a:cubicBezTo>
                  <a:cubicBezTo>
                    <a:pt x="110032" y="19391"/>
                    <a:pt x="110032" y="19391"/>
                    <a:pt x="110032" y="19391"/>
                  </a:cubicBezTo>
                  <a:cubicBezTo>
                    <a:pt x="108469" y="18829"/>
                    <a:pt x="108469" y="18829"/>
                    <a:pt x="108469" y="18829"/>
                  </a:cubicBezTo>
                  <a:cubicBezTo>
                    <a:pt x="108469" y="18829"/>
                    <a:pt x="108273" y="19110"/>
                    <a:pt x="108078" y="19391"/>
                  </a:cubicBezTo>
                  <a:cubicBezTo>
                    <a:pt x="108078" y="19672"/>
                    <a:pt x="106514" y="18266"/>
                    <a:pt x="106514" y="18266"/>
                  </a:cubicBezTo>
                  <a:cubicBezTo>
                    <a:pt x="106514" y="18266"/>
                    <a:pt x="105928" y="19391"/>
                    <a:pt x="105732" y="19672"/>
                  </a:cubicBezTo>
                  <a:cubicBezTo>
                    <a:pt x="105732" y="19672"/>
                    <a:pt x="104169" y="19110"/>
                    <a:pt x="104169" y="19110"/>
                  </a:cubicBezTo>
                  <a:cubicBezTo>
                    <a:pt x="102605" y="19391"/>
                    <a:pt x="102605" y="19391"/>
                    <a:pt x="102605" y="19391"/>
                  </a:cubicBezTo>
                  <a:cubicBezTo>
                    <a:pt x="101237" y="19672"/>
                    <a:pt x="101237" y="19672"/>
                    <a:pt x="101237" y="19672"/>
                  </a:cubicBezTo>
                  <a:cubicBezTo>
                    <a:pt x="100065" y="18829"/>
                    <a:pt x="100065" y="18829"/>
                    <a:pt x="100065" y="18829"/>
                  </a:cubicBezTo>
                  <a:cubicBezTo>
                    <a:pt x="99674" y="19672"/>
                    <a:pt x="99674" y="19672"/>
                    <a:pt x="99674" y="19672"/>
                  </a:cubicBezTo>
                  <a:cubicBezTo>
                    <a:pt x="99869" y="21077"/>
                    <a:pt x="99869" y="21077"/>
                    <a:pt x="99869" y="21077"/>
                  </a:cubicBezTo>
                  <a:cubicBezTo>
                    <a:pt x="98892" y="21920"/>
                    <a:pt x="98892" y="21920"/>
                    <a:pt x="98892" y="21920"/>
                  </a:cubicBezTo>
                  <a:cubicBezTo>
                    <a:pt x="97719" y="20796"/>
                    <a:pt x="97719" y="20796"/>
                    <a:pt x="97719" y="20796"/>
                  </a:cubicBezTo>
                  <a:cubicBezTo>
                    <a:pt x="96742" y="20515"/>
                    <a:pt x="96742" y="20515"/>
                    <a:pt x="96742" y="20515"/>
                  </a:cubicBezTo>
                  <a:cubicBezTo>
                    <a:pt x="95374" y="18548"/>
                    <a:pt x="95374" y="18548"/>
                    <a:pt x="95374" y="18548"/>
                  </a:cubicBezTo>
                  <a:cubicBezTo>
                    <a:pt x="94201" y="17985"/>
                    <a:pt x="94201" y="17985"/>
                    <a:pt x="94201" y="17985"/>
                  </a:cubicBezTo>
                  <a:cubicBezTo>
                    <a:pt x="93029" y="17142"/>
                    <a:pt x="93029" y="17142"/>
                    <a:pt x="93029" y="17142"/>
                  </a:cubicBezTo>
                  <a:cubicBezTo>
                    <a:pt x="93029" y="17142"/>
                    <a:pt x="92442" y="19391"/>
                    <a:pt x="92247" y="19672"/>
                  </a:cubicBezTo>
                  <a:cubicBezTo>
                    <a:pt x="92052" y="19672"/>
                    <a:pt x="91074" y="20234"/>
                    <a:pt x="90879" y="20234"/>
                  </a:cubicBezTo>
                  <a:cubicBezTo>
                    <a:pt x="90488" y="20515"/>
                    <a:pt x="90293" y="21920"/>
                    <a:pt x="90293" y="21920"/>
                  </a:cubicBezTo>
                  <a:cubicBezTo>
                    <a:pt x="89315" y="22763"/>
                    <a:pt x="89315" y="22763"/>
                    <a:pt x="89315" y="22763"/>
                  </a:cubicBezTo>
                  <a:cubicBezTo>
                    <a:pt x="89315" y="22763"/>
                    <a:pt x="88729" y="22201"/>
                    <a:pt x="88338" y="22201"/>
                  </a:cubicBezTo>
                  <a:cubicBezTo>
                    <a:pt x="88143" y="22201"/>
                    <a:pt x="87947" y="22482"/>
                    <a:pt x="87947" y="22482"/>
                  </a:cubicBezTo>
                  <a:cubicBezTo>
                    <a:pt x="87557" y="23325"/>
                    <a:pt x="87557" y="23325"/>
                    <a:pt x="87557" y="23325"/>
                  </a:cubicBezTo>
                  <a:cubicBezTo>
                    <a:pt x="87557" y="23325"/>
                    <a:pt x="87361" y="23325"/>
                    <a:pt x="86775" y="22763"/>
                  </a:cubicBezTo>
                  <a:cubicBezTo>
                    <a:pt x="86384" y="22482"/>
                    <a:pt x="85798" y="21920"/>
                    <a:pt x="85798" y="21920"/>
                  </a:cubicBezTo>
                  <a:cubicBezTo>
                    <a:pt x="85211" y="21639"/>
                    <a:pt x="85211" y="21639"/>
                    <a:pt x="85211" y="21639"/>
                  </a:cubicBezTo>
                  <a:cubicBezTo>
                    <a:pt x="85211" y="21639"/>
                    <a:pt x="83452" y="22763"/>
                    <a:pt x="83257" y="23044"/>
                  </a:cubicBezTo>
                  <a:cubicBezTo>
                    <a:pt x="83257" y="23325"/>
                    <a:pt x="82866" y="24168"/>
                    <a:pt x="82866" y="24168"/>
                  </a:cubicBezTo>
                  <a:cubicBezTo>
                    <a:pt x="81889" y="23044"/>
                    <a:pt x="81889" y="23044"/>
                    <a:pt x="81889" y="23044"/>
                  </a:cubicBezTo>
                  <a:cubicBezTo>
                    <a:pt x="80716" y="21920"/>
                    <a:pt x="80716" y="21920"/>
                    <a:pt x="80716" y="21920"/>
                  </a:cubicBezTo>
                  <a:cubicBezTo>
                    <a:pt x="80521" y="19953"/>
                    <a:pt x="80521" y="19953"/>
                    <a:pt x="80521" y="19953"/>
                  </a:cubicBezTo>
                  <a:cubicBezTo>
                    <a:pt x="78371" y="17142"/>
                    <a:pt x="78371" y="17142"/>
                    <a:pt x="78371" y="17142"/>
                  </a:cubicBezTo>
                  <a:cubicBezTo>
                    <a:pt x="77980" y="14332"/>
                    <a:pt x="77980" y="14332"/>
                    <a:pt x="77980" y="14332"/>
                  </a:cubicBezTo>
                  <a:cubicBezTo>
                    <a:pt x="76416" y="12646"/>
                    <a:pt x="76416" y="12646"/>
                    <a:pt x="76416" y="12646"/>
                  </a:cubicBezTo>
                  <a:cubicBezTo>
                    <a:pt x="75439" y="14332"/>
                    <a:pt x="75439" y="14332"/>
                    <a:pt x="75439" y="14332"/>
                  </a:cubicBezTo>
                  <a:cubicBezTo>
                    <a:pt x="73876" y="14051"/>
                    <a:pt x="73876" y="14051"/>
                    <a:pt x="73876" y="14051"/>
                  </a:cubicBezTo>
                  <a:cubicBezTo>
                    <a:pt x="72312" y="14613"/>
                    <a:pt x="72312" y="14613"/>
                    <a:pt x="72312" y="14613"/>
                  </a:cubicBezTo>
                  <a:cubicBezTo>
                    <a:pt x="72312" y="14613"/>
                    <a:pt x="71335" y="16018"/>
                    <a:pt x="71335" y="15456"/>
                  </a:cubicBezTo>
                  <a:cubicBezTo>
                    <a:pt x="71140" y="14894"/>
                    <a:pt x="71530" y="13770"/>
                    <a:pt x="71530" y="13208"/>
                  </a:cubicBezTo>
                  <a:cubicBezTo>
                    <a:pt x="71335" y="12927"/>
                    <a:pt x="70358" y="13770"/>
                    <a:pt x="70553" y="12646"/>
                  </a:cubicBezTo>
                  <a:cubicBezTo>
                    <a:pt x="70749" y="12084"/>
                    <a:pt x="70553" y="11241"/>
                    <a:pt x="70358" y="10960"/>
                  </a:cubicBezTo>
                  <a:cubicBezTo>
                    <a:pt x="69967" y="10398"/>
                    <a:pt x="68794" y="10398"/>
                    <a:pt x="69185" y="9274"/>
                  </a:cubicBezTo>
                  <a:cubicBezTo>
                    <a:pt x="69576" y="8430"/>
                    <a:pt x="70553" y="7868"/>
                    <a:pt x="70553" y="7868"/>
                  </a:cubicBezTo>
                  <a:cubicBezTo>
                    <a:pt x="70553" y="7306"/>
                    <a:pt x="70553" y="7306"/>
                    <a:pt x="70553" y="7306"/>
                  </a:cubicBezTo>
                  <a:cubicBezTo>
                    <a:pt x="69771" y="6182"/>
                    <a:pt x="69771" y="6182"/>
                    <a:pt x="69771" y="6182"/>
                  </a:cubicBezTo>
                  <a:cubicBezTo>
                    <a:pt x="67622" y="4777"/>
                    <a:pt x="67622" y="4777"/>
                    <a:pt x="67622" y="4777"/>
                  </a:cubicBezTo>
                  <a:cubicBezTo>
                    <a:pt x="67622" y="4777"/>
                    <a:pt x="67426" y="3091"/>
                    <a:pt x="67035" y="3091"/>
                  </a:cubicBezTo>
                  <a:cubicBezTo>
                    <a:pt x="66840" y="2810"/>
                    <a:pt x="66254" y="1967"/>
                    <a:pt x="66254" y="1967"/>
                  </a:cubicBezTo>
                  <a:cubicBezTo>
                    <a:pt x="66254" y="1967"/>
                    <a:pt x="65667" y="843"/>
                    <a:pt x="64885" y="562"/>
                  </a:cubicBezTo>
                  <a:cubicBezTo>
                    <a:pt x="64104" y="0"/>
                    <a:pt x="63517" y="2529"/>
                    <a:pt x="63517" y="2529"/>
                  </a:cubicBezTo>
                  <a:cubicBezTo>
                    <a:pt x="62736" y="1405"/>
                    <a:pt x="62736" y="1405"/>
                    <a:pt x="62736" y="1405"/>
                  </a:cubicBezTo>
                  <a:cubicBezTo>
                    <a:pt x="61172" y="2248"/>
                    <a:pt x="61172" y="2248"/>
                    <a:pt x="61172" y="2248"/>
                  </a:cubicBezTo>
                  <a:cubicBezTo>
                    <a:pt x="59999" y="4777"/>
                    <a:pt x="59999" y="4777"/>
                    <a:pt x="59999" y="4777"/>
                  </a:cubicBezTo>
                  <a:cubicBezTo>
                    <a:pt x="59218" y="5058"/>
                    <a:pt x="59218" y="5058"/>
                    <a:pt x="59218" y="5058"/>
                  </a:cubicBezTo>
                  <a:cubicBezTo>
                    <a:pt x="58045" y="5339"/>
                    <a:pt x="58045" y="5339"/>
                    <a:pt x="58045" y="5339"/>
                  </a:cubicBezTo>
                  <a:cubicBezTo>
                    <a:pt x="56286" y="5901"/>
                    <a:pt x="56286" y="5901"/>
                    <a:pt x="56286" y="5901"/>
                  </a:cubicBezTo>
                  <a:cubicBezTo>
                    <a:pt x="55895" y="7587"/>
                    <a:pt x="55895" y="7587"/>
                    <a:pt x="55895" y="7587"/>
                  </a:cubicBezTo>
                  <a:cubicBezTo>
                    <a:pt x="56091" y="9274"/>
                    <a:pt x="56091" y="9274"/>
                    <a:pt x="56091" y="9274"/>
                  </a:cubicBezTo>
                  <a:cubicBezTo>
                    <a:pt x="55114" y="10398"/>
                    <a:pt x="55114" y="10398"/>
                    <a:pt x="55114" y="10398"/>
                  </a:cubicBezTo>
                  <a:cubicBezTo>
                    <a:pt x="52768" y="10117"/>
                    <a:pt x="52768" y="10117"/>
                    <a:pt x="52768" y="10117"/>
                  </a:cubicBezTo>
                  <a:cubicBezTo>
                    <a:pt x="51205" y="10679"/>
                    <a:pt x="51205" y="10679"/>
                    <a:pt x="51205" y="10679"/>
                  </a:cubicBezTo>
                  <a:cubicBezTo>
                    <a:pt x="50423" y="12365"/>
                    <a:pt x="50423" y="12365"/>
                    <a:pt x="50423" y="12365"/>
                  </a:cubicBezTo>
                  <a:cubicBezTo>
                    <a:pt x="48078" y="12365"/>
                    <a:pt x="48078" y="12365"/>
                    <a:pt x="48078" y="12365"/>
                  </a:cubicBezTo>
                  <a:cubicBezTo>
                    <a:pt x="47687" y="15737"/>
                    <a:pt x="47687" y="15737"/>
                    <a:pt x="47687" y="15737"/>
                  </a:cubicBezTo>
                  <a:cubicBezTo>
                    <a:pt x="47100" y="17985"/>
                    <a:pt x="47100" y="17985"/>
                    <a:pt x="47100" y="17985"/>
                  </a:cubicBezTo>
                  <a:cubicBezTo>
                    <a:pt x="46514" y="20515"/>
                    <a:pt x="46514" y="20515"/>
                    <a:pt x="46514" y="20515"/>
                  </a:cubicBezTo>
                  <a:cubicBezTo>
                    <a:pt x="46905" y="21920"/>
                    <a:pt x="46905" y="21920"/>
                    <a:pt x="46905" y="21920"/>
                  </a:cubicBezTo>
                  <a:cubicBezTo>
                    <a:pt x="47491" y="23887"/>
                    <a:pt x="47491" y="23887"/>
                    <a:pt x="47491" y="23887"/>
                  </a:cubicBezTo>
                  <a:cubicBezTo>
                    <a:pt x="48664" y="25854"/>
                    <a:pt x="48664" y="25854"/>
                    <a:pt x="48664" y="25854"/>
                  </a:cubicBezTo>
                  <a:cubicBezTo>
                    <a:pt x="48664" y="25854"/>
                    <a:pt x="48664" y="25854"/>
                    <a:pt x="48664" y="25854"/>
                  </a:cubicBezTo>
                  <a:cubicBezTo>
                    <a:pt x="47491" y="26416"/>
                    <a:pt x="47491" y="26416"/>
                    <a:pt x="47491" y="26416"/>
                  </a:cubicBezTo>
                  <a:cubicBezTo>
                    <a:pt x="46710" y="26697"/>
                    <a:pt x="46710" y="26697"/>
                    <a:pt x="46710" y="26697"/>
                  </a:cubicBezTo>
                  <a:cubicBezTo>
                    <a:pt x="45928" y="25011"/>
                    <a:pt x="45928" y="25011"/>
                    <a:pt x="45928" y="25011"/>
                  </a:cubicBezTo>
                  <a:cubicBezTo>
                    <a:pt x="44755" y="24449"/>
                    <a:pt x="44755" y="24449"/>
                    <a:pt x="44755" y="24449"/>
                  </a:cubicBezTo>
                  <a:cubicBezTo>
                    <a:pt x="43387" y="25292"/>
                    <a:pt x="43387" y="25292"/>
                    <a:pt x="43387" y="25292"/>
                  </a:cubicBezTo>
                  <a:cubicBezTo>
                    <a:pt x="42019" y="25854"/>
                    <a:pt x="42019" y="25854"/>
                    <a:pt x="42019" y="25854"/>
                  </a:cubicBezTo>
                  <a:cubicBezTo>
                    <a:pt x="41628" y="25854"/>
                    <a:pt x="41628" y="25854"/>
                    <a:pt x="41628" y="25854"/>
                  </a:cubicBezTo>
                  <a:cubicBezTo>
                    <a:pt x="41237" y="26978"/>
                    <a:pt x="41237" y="26978"/>
                    <a:pt x="41237" y="26978"/>
                  </a:cubicBezTo>
                  <a:cubicBezTo>
                    <a:pt x="40065" y="27822"/>
                    <a:pt x="40065" y="27822"/>
                    <a:pt x="40065" y="27822"/>
                  </a:cubicBezTo>
                  <a:cubicBezTo>
                    <a:pt x="40065" y="27822"/>
                    <a:pt x="39674" y="27259"/>
                    <a:pt x="39478" y="26978"/>
                  </a:cubicBezTo>
                  <a:cubicBezTo>
                    <a:pt x="39283" y="26697"/>
                    <a:pt x="38697" y="26135"/>
                    <a:pt x="38697" y="26135"/>
                  </a:cubicBezTo>
                  <a:cubicBezTo>
                    <a:pt x="38697" y="26135"/>
                    <a:pt x="38501" y="25573"/>
                    <a:pt x="38306" y="25292"/>
                  </a:cubicBezTo>
                  <a:cubicBezTo>
                    <a:pt x="38110" y="25292"/>
                    <a:pt x="36938" y="26416"/>
                    <a:pt x="36938" y="26416"/>
                  </a:cubicBezTo>
                  <a:cubicBezTo>
                    <a:pt x="36938" y="26416"/>
                    <a:pt x="35960" y="27259"/>
                    <a:pt x="35960" y="27540"/>
                  </a:cubicBezTo>
                  <a:cubicBezTo>
                    <a:pt x="36156" y="27540"/>
                    <a:pt x="35960" y="28946"/>
                    <a:pt x="35960" y="28946"/>
                  </a:cubicBezTo>
                  <a:cubicBezTo>
                    <a:pt x="34592" y="27259"/>
                    <a:pt x="34592" y="27259"/>
                    <a:pt x="34592" y="27259"/>
                  </a:cubicBezTo>
                  <a:cubicBezTo>
                    <a:pt x="33615" y="28384"/>
                    <a:pt x="33615" y="28384"/>
                    <a:pt x="33615" y="28384"/>
                  </a:cubicBezTo>
                  <a:cubicBezTo>
                    <a:pt x="32833" y="27540"/>
                    <a:pt x="32833" y="27540"/>
                    <a:pt x="32833" y="27540"/>
                  </a:cubicBezTo>
                  <a:cubicBezTo>
                    <a:pt x="32442" y="27259"/>
                    <a:pt x="32442" y="27259"/>
                    <a:pt x="32442" y="27259"/>
                  </a:cubicBezTo>
                  <a:cubicBezTo>
                    <a:pt x="31270" y="29227"/>
                    <a:pt x="31270" y="29227"/>
                    <a:pt x="31270" y="29227"/>
                  </a:cubicBezTo>
                  <a:cubicBezTo>
                    <a:pt x="30488" y="28665"/>
                    <a:pt x="30488" y="28665"/>
                    <a:pt x="30488" y="28665"/>
                  </a:cubicBezTo>
                  <a:cubicBezTo>
                    <a:pt x="30097" y="30632"/>
                    <a:pt x="30097" y="30632"/>
                    <a:pt x="30097" y="30632"/>
                  </a:cubicBezTo>
                  <a:cubicBezTo>
                    <a:pt x="29120" y="29508"/>
                    <a:pt x="29120" y="29508"/>
                    <a:pt x="29120" y="29508"/>
                  </a:cubicBezTo>
                  <a:cubicBezTo>
                    <a:pt x="29120" y="29508"/>
                    <a:pt x="28143" y="29227"/>
                    <a:pt x="27947" y="29227"/>
                  </a:cubicBezTo>
                  <a:cubicBezTo>
                    <a:pt x="27752" y="29227"/>
                    <a:pt x="27166" y="30351"/>
                    <a:pt x="27166" y="30351"/>
                  </a:cubicBezTo>
                  <a:cubicBezTo>
                    <a:pt x="26188" y="29227"/>
                    <a:pt x="26188" y="29227"/>
                    <a:pt x="26188" y="29227"/>
                  </a:cubicBezTo>
                  <a:cubicBezTo>
                    <a:pt x="25407" y="28384"/>
                    <a:pt x="25407" y="28384"/>
                    <a:pt x="25407" y="28384"/>
                  </a:cubicBezTo>
                  <a:cubicBezTo>
                    <a:pt x="25407" y="28384"/>
                    <a:pt x="23257" y="28665"/>
                    <a:pt x="23061" y="28665"/>
                  </a:cubicBezTo>
                  <a:cubicBezTo>
                    <a:pt x="22866" y="28665"/>
                    <a:pt x="21498" y="28384"/>
                    <a:pt x="21498" y="28384"/>
                  </a:cubicBezTo>
                  <a:cubicBezTo>
                    <a:pt x="19739" y="28946"/>
                    <a:pt x="19739" y="28946"/>
                    <a:pt x="19739" y="28946"/>
                  </a:cubicBezTo>
                  <a:cubicBezTo>
                    <a:pt x="17198" y="28946"/>
                    <a:pt x="17198" y="28946"/>
                    <a:pt x="17198" y="28946"/>
                  </a:cubicBezTo>
                  <a:cubicBezTo>
                    <a:pt x="14853" y="29227"/>
                    <a:pt x="14853" y="29227"/>
                    <a:pt x="14853" y="29227"/>
                  </a:cubicBezTo>
                  <a:cubicBezTo>
                    <a:pt x="13094" y="29227"/>
                    <a:pt x="13094" y="29227"/>
                    <a:pt x="13094" y="29227"/>
                  </a:cubicBezTo>
                  <a:cubicBezTo>
                    <a:pt x="11726" y="30632"/>
                    <a:pt x="11726" y="30632"/>
                    <a:pt x="11726" y="30632"/>
                  </a:cubicBezTo>
                  <a:cubicBezTo>
                    <a:pt x="10358" y="30913"/>
                    <a:pt x="10358" y="30913"/>
                    <a:pt x="10358" y="30913"/>
                  </a:cubicBezTo>
                  <a:cubicBezTo>
                    <a:pt x="8794" y="31194"/>
                    <a:pt x="8794" y="31194"/>
                    <a:pt x="8794" y="31194"/>
                  </a:cubicBezTo>
                  <a:cubicBezTo>
                    <a:pt x="8599" y="31194"/>
                    <a:pt x="8599" y="31194"/>
                    <a:pt x="8599" y="31194"/>
                  </a:cubicBezTo>
                  <a:cubicBezTo>
                    <a:pt x="8403" y="31475"/>
                    <a:pt x="8403" y="31475"/>
                    <a:pt x="8403" y="31475"/>
                  </a:cubicBezTo>
                  <a:cubicBezTo>
                    <a:pt x="7817" y="32037"/>
                    <a:pt x="7817" y="32037"/>
                    <a:pt x="7817" y="32037"/>
                  </a:cubicBezTo>
                  <a:cubicBezTo>
                    <a:pt x="7817" y="32318"/>
                    <a:pt x="7817" y="32318"/>
                    <a:pt x="7817" y="32318"/>
                  </a:cubicBezTo>
                  <a:cubicBezTo>
                    <a:pt x="7426" y="32880"/>
                    <a:pt x="7426" y="32880"/>
                    <a:pt x="7426" y="32880"/>
                  </a:cubicBezTo>
                  <a:cubicBezTo>
                    <a:pt x="7231" y="34285"/>
                    <a:pt x="7231" y="34285"/>
                    <a:pt x="7231" y="34285"/>
                  </a:cubicBezTo>
                  <a:cubicBezTo>
                    <a:pt x="7035" y="34847"/>
                    <a:pt x="6644" y="35409"/>
                    <a:pt x="6449" y="35971"/>
                  </a:cubicBezTo>
                  <a:cubicBezTo>
                    <a:pt x="6449" y="35971"/>
                    <a:pt x="6449" y="35971"/>
                    <a:pt x="6449" y="35971"/>
                  </a:cubicBezTo>
                  <a:cubicBezTo>
                    <a:pt x="6449" y="35971"/>
                    <a:pt x="5863" y="35690"/>
                    <a:pt x="5863" y="36252"/>
                  </a:cubicBezTo>
                  <a:cubicBezTo>
                    <a:pt x="5863" y="36533"/>
                    <a:pt x="5863" y="36533"/>
                    <a:pt x="5863" y="36533"/>
                  </a:cubicBezTo>
                  <a:cubicBezTo>
                    <a:pt x="5276" y="36814"/>
                    <a:pt x="4299" y="36252"/>
                    <a:pt x="4299" y="36252"/>
                  </a:cubicBezTo>
                  <a:cubicBezTo>
                    <a:pt x="3322" y="37096"/>
                    <a:pt x="3322" y="37096"/>
                    <a:pt x="3322" y="37096"/>
                  </a:cubicBezTo>
                  <a:cubicBezTo>
                    <a:pt x="3322" y="37377"/>
                    <a:pt x="3322" y="37658"/>
                    <a:pt x="3517" y="37658"/>
                  </a:cubicBezTo>
                  <a:cubicBezTo>
                    <a:pt x="3713" y="37939"/>
                    <a:pt x="3713" y="37939"/>
                    <a:pt x="3713" y="38220"/>
                  </a:cubicBezTo>
                  <a:cubicBezTo>
                    <a:pt x="3908" y="38220"/>
                    <a:pt x="3908" y="38501"/>
                    <a:pt x="3908" y="38501"/>
                  </a:cubicBezTo>
                  <a:cubicBezTo>
                    <a:pt x="4299" y="39906"/>
                    <a:pt x="4299" y="39906"/>
                    <a:pt x="4299" y="39906"/>
                  </a:cubicBezTo>
                  <a:cubicBezTo>
                    <a:pt x="4299" y="41030"/>
                    <a:pt x="4299" y="41030"/>
                    <a:pt x="4299" y="41030"/>
                  </a:cubicBezTo>
                  <a:cubicBezTo>
                    <a:pt x="4299" y="41030"/>
                    <a:pt x="4299" y="41873"/>
                    <a:pt x="4690" y="41873"/>
                  </a:cubicBezTo>
                  <a:cubicBezTo>
                    <a:pt x="5081" y="41873"/>
                    <a:pt x="5276" y="42154"/>
                    <a:pt x="5276" y="42716"/>
                  </a:cubicBezTo>
                  <a:cubicBezTo>
                    <a:pt x="5276" y="43278"/>
                    <a:pt x="6254" y="43840"/>
                    <a:pt x="6254" y="43840"/>
                  </a:cubicBezTo>
                  <a:cubicBezTo>
                    <a:pt x="6254" y="43840"/>
                    <a:pt x="6254" y="44964"/>
                    <a:pt x="6449" y="45245"/>
                  </a:cubicBezTo>
                  <a:cubicBezTo>
                    <a:pt x="6840" y="45526"/>
                    <a:pt x="7231" y="45807"/>
                    <a:pt x="7817" y="45807"/>
                  </a:cubicBezTo>
                  <a:cubicBezTo>
                    <a:pt x="8403" y="46088"/>
                    <a:pt x="8208" y="47213"/>
                    <a:pt x="8599" y="47494"/>
                  </a:cubicBezTo>
                  <a:cubicBezTo>
                    <a:pt x="8990" y="47775"/>
                    <a:pt x="9381" y="48337"/>
                    <a:pt x="8990" y="48337"/>
                  </a:cubicBezTo>
                  <a:cubicBezTo>
                    <a:pt x="8794" y="48618"/>
                    <a:pt x="8208" y="48618"/>
                    <a:pt x="8208" y="48618"/>
                  </a:cubicBezTo>
                  <a:cubicBezTo>
                    <a:pt x="8208" y="48618"/>
                    <a:pt x="8013" y="48899"/>
                    <a:pt x="8013" y="49461"/>
                  </a:cubicBezTo>
                  <a:cubicBezTo>
                    <a:pt x="8208" y="49742"/>
                    <a:pt x="8208" y="49742"/>
                    <a:pt x="8208" y="49742"/>
                  </a:cubicBezTo>
                  <a:cubicBezTo>
                    <a:pt x="8990" y="51147"/>
                    <a:pt x="8990" y="51147"/>
                    <a:pt x="8990" y="51147"/>
                  </a:cubicBezTo>
                  <a:cubicBezTo>
                    <a:pt x="8990" y="52833"/>
                    <a:pt x="8990" y="52833"/>
                    <a:pt x="8990" y="52833"/>
                  </a:cubicBezTo>
                  <a:cubicBezTo>
                    <a:pt x="8990" y="52833"/>
                    <a:pt x="8990" y="53395"/>
                    <a:pt x="8990" y="53957"/>
                  </a:cubicBezTo>
                  <a:cubicBezTo>
                    <a:pt x="8990" y="54238"/>
                    <a:pt x="8794" y="54800"/>
                    <a:pt x="8403" y="54800"/>
                  </a:cubicBezTo>
                  <a:cubicBezTo>
                    <a:pt x="8403" y="54800"/>
                    <a:pt x="8403" y="54800"/>
                    <a:pt x="8403" y="54800"/>
                  </a:cubicBezTo>
                  <a:cubicBezTo>
                    <a:pt x="8403" y="54800"/>
                    <a:pt x="8403" y="54800"/>
                    <a:pt x="8403" y="54800"/>
                  </a:cubicBezTo>
                  <a:cubicBezTo>
                    <a:pt x="8208" y="54800"/>
                    <a:pt x="8208" y="54800"/>
                    <a:pt x="8208" y="54800"/>
                  </a:cubicBezTo>
                  <a:cubicBezTo>
                    <a:pt x="8013" y="55081"/>
                    <a:pt x="8013" y="55644"/>
                    <a:pt x="7817" y="55644"/>
                  </a:cubicBezTo>
                  <a:cubicBezTo>
                    <a:pt x="7622" y="55925"/>
                    <a:pt x="7231" y="55081"/>
                    <a:pt x="7035" y="55925"/>
                  </a:cubicBezTo>
                  <a:cubicBezTo>
                    <a:pt x="6840" y="57049"/>
                    <a:pt x="6449" y="57892"/>
                    <a:pt x="6449" y="58173"/>
                  </a:cubicBezTo>
                  <a:cubicBezTo>
                    <a:pt x="6254" y="58454"/>
                    <a:pt x="5667" y="58735"/>
                    <a:pt x="5667" y="59297"/>
                  </a:cubicBezTo>
                  <a:cubicBezTo>
                    <a:pt x="5472" y="59859"/>
                    <a:pt x="5472" y="59297"/>
                    <a:pt x="5081" y="60702"/>
                  </a:cubicBezTo>
                  <a:cubicBezTo>
                    <a:pt x="4690" y="62107"/>
                    <a:pt x="4495" y="62669"/>
                    <a:pt x="4495" y="62669"/>
                  </a:cubicBezTo>
                  <a:cubicBezTo>
                    <a:pt x="2736" y="66042"/>
                    <a:pt x="2736" y="66042"/>
                    <a:pt x="2736" y="66042"/>
                  </a:cubicBezTo>
                  <a:cubicBezTo>
                    <a:pt x="2736" y="66042"/>
                    <a:pt x="1758" y="68290"/>
                    <a:pt x="1758" y="68571"/>
                  </a:cubicBezTo>
                  <a:cubicBezTo>
                    <a:pt x="1758" y="68852"/>
                    <a:pt x="1758" y="69976"/>
                    <a:pt x="1758" y="69976"/>
                  </a:cubicBezTo>
                  <a:cubicBezTo>
                    <a:pt x="2540" y="71100"/>
                    <a:pt x="2540" y="71100"/>
                    <a:pt x="2540" y="71100"/>
                  </a:cubicBezTo>
                  <a:cubicBezTo>
                    <a:pt x="2540" y="72224"/>
                    <a:pt x="2540" y="72224"/>
                    <a:pt x="2540" y="72224"/>
                  </a:cubicBezTo>
                  <a:cubicBezTo>
                    <a:pt x="2540" y="72224"/>
                    <a:pt x="2540" y="73067"/>
                    <a:pt x="2736" y="73348"/>
                  </a:cubicBezTo>
                  <a:cubicBezTo>
                    <a:pt x="2931" y="73348"/>
                    <a:pt x="2931" y="73348"/>
                    <a:pt x="2931" y="73348"/>
                  </a:cubicBezTo>
                  <a:cubicBezTo>
                    <a:pt x="2736" y="74192"/>
                    <a:pt x="2736" y="74192"/>
                    <a:pt x="2736" y="74192"/>
                  </a:cubicBezTo>
                  <a:cubicBezTo>
                    <a:pt x="2736" y="74192"/>
                    <a:pt x="2931" y="75035"/>
                    <a:pt x="3127" y="75035"/>
                  </a:cubicBezTo>
                  <a:cubicBezTo>
                    <a:pt x="3127" y="75035"/>
                    <a:pt x="3517" y="75316"/>
                    <a:pt x="3517" y="75316"/>
                  </a:cubicBezTo>
                  <a:cubicBezTo>
                    <a:pt x="3517" y="75316"/>
                    <a:pt x="3908" y="75878"/>
                    <a:pt x="3908" y="75878"/>
                  </a:cubicBezTo>
                  <a:cubicBezTo>
                    <a:pt x="4104" y="76159"/>
                    <a:pt x="3908" y="76721"/>
                    <a:pt x="3908" y="76721"/>
                  </a:cubicBezTo>
                  <a:cubicBezTo>
                    <a:pt x="3908" y="76721"/>
                    <a:pt x="3908" y="77002"/>
                    <a:pt x="3713" y="77002"/>
                  </a:cubicBezTo>
                  <a:cubicBezTo>
                    <a:pt x="3517" y="77002"/>
                    <a:pt x="3517" y="77002"/>
                    <a:pt x="3127" y="77002"/>
                  </a:cubicBezTo>
                  <a:cubicBezTo>
                    <a:pt x="3127" y="76721"/>
                    <a:pt x="3127" y="76721"/>
                    <a:pt x="2931" y="76721"/>
                  </a:cubicBezTo>
                  <a:cubicBezTo>
                    <a:pt x="2540" y="76721"/>
                    <a:pt x="2540" y="76721"/>
                    <a:pt x="2540" y="76721"/>
                  </a:cubicBezTo>
                  <a:cubicBezTo>
                    <a:pt x="2345" y="76721"/>
                    <a:pt x="2345" y="76721"/>
                    <a:pt x="2149" y="76721"/>
                  </a:cubicBezTo>
                  <a:cubicBezTo>
                    <a:pt x="1954" y="76721"/>
                    <a:pt x="1954" y="76721"/>
                    <a:pt x="1954" y="76721"/>
                  </a:cubicBezTo>
                  <a:cubicBezTo>
                    <a:pt x="1758" y="76721"/>
                    <a:pt x="1758" y="76721"/>
                    <a:pt x="1563" y="77002"/>
                  </a:cubicBezTo>
                  <a:cubicBezTo>
                    <a:pt x="1563" y="77283"/>
                    <a:pt x="1563" y="77283"/>
                    <a:pt x="1563" y="77283"/>
                  </a:cubicBezTo>
                  <a:cubicBezTo>
                    <a:pt x="1563" y="77283"/>
                    <a:pt x="1368" y="77564"/>
                    <a:pt x="1368" y="77845"/>
                  </a:cubicBezTo>
                  <a:cubicBezTo>
                    <a:pt x="1172" y="77845"/>
                    <a:pt x="1172" y="78407"/>
                    <a:pt x="1172" y="78407"/>
                  </a:cubicBezTo>
                  <a:cubicBezTo>
                    <a:pt x="1172" y="78407"/>
                    <a:pt x="1172" y="78688"/>
                    <a:pt x="1172" y="78688"/>
                  </a:cubicBezTo>
                  <a:cubicBezTo>
                    <a:pt x="1172" y="78688"/>
                    <a:pt x="1172" y="79250"/>
                    <a:pt x="1172" y="79250"/>
                  </a:cubicBezTo>
                  <a:cubicBezTo>
                    <a:pt x="977" y="79812"/>
                    <a:pt x="977" y="79812"/>
                    <a:pt x="977" y="79812"/>
                  </a:cubicBezTo>
                  <a:cubicBezTo>
                    <a:pt x="977" y="79812"/>
                    <a:pt x="781" y="80093"/>
                    <a:pt x="977" y="80374"/>
                  </a:cubicBezTo>
                  <a:cubicBezTo>
                    <a:pt x="977" y="80374"/>
                    <a:pt x="977" y="80655"/>
                    <a:pt x="977" y="80655"/>
                  </a:cubicBezTo>
                  <a:cubicBezTo>
                    <a:pt x="1172" y="80936"/>
                    <a:pt x="1172" y="80936"/>
                    <a:pt x="1172" y="80936"/>
                  </a:cubicBezTo>
                  <a:cubicBezTo>
                    <a:pt x="781" y="81498"/>
                    <a:pt x="781" y="81498"/>
                    <a:pt x="781" y="81498"/>
                  </a:cubicBezTo>
                  <a:cubicBezTo>
                    <a:pt x="781" y="82060"/>
                    <a:pt x="781" y="82060"/>
                    <a:pt x="781" y="82060"/>
                  </a:cubicBezTo>
                  <a:cubicBezTo>
                    <a:pt x="781" y="82060"/>
                    <a:pt x="977" y="82341"/>
                    <a:pt x="781" y="82622"/>
                  </a:cubicBezTo>
                  <a:cubicBezTo>
                    <a:pt x="781" y="82622"/>
                    <a:pt x="586" y="82903"/>
                    <a:pt x="586" y="82903"/>
                  </a:cubicBezTo>
                  <a:cubicBezTo>
                    <a:pt x="586" y="82903"/>
                    <a:pt x="195" y="83466"/>
                    <a:pt x="195" y="83466"/>
                  </a:cubicBezTo>
                  <a:cubicBezTo>
                    <a:pt x="195" y="83466"/>
                    <a:pt x="195" y="83747"/>
                    <a:pt x="195" y="83747"/>
                  </a:cubicBezTo>
                  <a:cubicBezTo>
                    <a:pt x="195" y="83747"/>
                    <a:pt x="0" y="84309"/>
                    <a:pt x="0" y="84309"/>
                  </a:cubicBezTo>
                  <a:cubicBezTo>
                    <a:pt x="0" y="84309"/>
                    <a:pt x="0" y="85152"/>
                    <a:pt x="0" y="85152"/>
                  </a:cubicBezTo>
                  <a:cubicBezTo>
                    <a:pt x="0" y="85152"/>
                    <a:pt x="195" y="85433"/>
                    <a:pt x="195" y="85433"/>
                  </a:cubicBezTo>
                  <a:cubicBezTo>
                    <a:pt x="195" y="85433"/>
                    <a:pt x="195" y="85714"/>
                    <a:pt x="195" y="85995"/>
                  </a:cubicBezTo>
                  <a:cubicBezTo>
                    <a:pt x="0" y="85995"/>
                    <a:pt x="195" y="86276"/>
                    <a:pt x="195" y="86557"/>
                  </a:cubicBezTo>
                  <a:cubicBezTo>
                    <a:pt x="195" y="86557"/>
                    <a:pt x="195" y="86838"/>
                    <a:pt x="195" y="86838"/>
                  </a:cubicBezTo>
                  <a:cubicBezTo>
                    <a:pt x="0" y="87400"/>
                    <a:pt x="0" y="87400"/>
                    <a:pt x="0" y="87400"/>
                  </a:cubicBezTo>
                  <a:cubicBezTo>
                    <a:pt x="0" y="87400"/>
                    <a:pt x="0" y="87400"/>
                    <a:pt x="0" y="87400"/>
                  </a:cubicBezTo>
                  <a:cubicBezTo>
                    <a:pt x="0" y="87681"/>
                    <a:pt x="0" y="87681"/>
                    <a:pt x="0" y="87681"/>
                  </a:cubicBezTo>
                  <a:cubicBezTo>
                    <a:pt x="0" y="88243"/>
                    <a:pt x="0" y="88243"/>
                    <a:pt x="0" y="88243"/>
                  </a:cubicBezTo>
                  <a:cubicBezTo>
                    <a:pt x="390" y="88243"/>
                    <a:pt x="390" y="88243"/>
                    <a:pt x="390" y="88243"/>
                  </a:cubicBezTo>
                  <a:cubicBezTo>
                    <a:pt x="586" y="87962"/>
                    <a:pt x="586" y="87962"/>
                    <a:pt x="586" y="87962"/>
                  </a:cubicBezTo>
                  <a:cubicBezTo>
                    <a:pt x="1563" y="87400"/>
                    <a:pt x="1563" y="87400"/>
                    <a:pt x="1563" y="87400"/>
                  </a:cubicBezTo>
                  <a:cubicBezTo>
                    <a:pt x="2149" y="88243"/>
                    <a:pt x="2149" y="88243"/>
                    <a:pt x="2149" y="88243"/>
                  </a:cubicBezTo>
                  <a:cubicBezTo>
                    <a:pt x="2736" y="89086"/>
                    <a:pt x="2736" y="89086"/>
                    <a:pt x="2736" y="89086"/>
                  </a:cubicBezTo>
                  <a:cubicBezTo>
                    <a:pt x="3713" y="89086"/>
                    <a:pt x="3713" y="89086"/>
                    <a:pt x="3713" y="89086"/>
                  </a:cubicBezTo>
                  <a:cubicBezTo>
                    <a:pt x="4299" y="90210"/>
                    <a:pt x="4299" y="90210"/>
                    <a:pt x="4299" y="90210"/>
                  </a:cubicBezTo>
                  <a:cubicBezTo>
                    <a:pt x="4885" y="91053"/>
                    <a:pt x="4885" y="91053"/>
                    <a:pt x="4885" y="91053"/>
                  </a:cubicBezTo>
                  <a:cubicBezTo>
                    <a:pt x="5863" y="90772"/>
                    <a:pt x="5863" y="90772"/>
                    <a:pt x="5863" y="90772"/>
                  </a:cubicBezTo>
                  <a:cubicBezTo>
                    <a:pt x="6840" y="91615"/>
                    <a:pt x="6840" y="91615"/>
                    <a:pt x="6840" y="91615"/>
                  </a:cubicBezTo>
                  <a:cubicBezTo>
                    <a:pt x="6644" y="92459"/>
                    <a:pt x="6644" y="92459"/>
                    <a:pt x="6644" y="92459"/>
                  </a:cubicBezTo>
                  <a:cubicBezTo>
                    <a:pt x="6644" y="92459"/>
                    <a:pt x="7426" y="91053"/>
                    <a:pt x="7622" y="90772"/>
                  </a:cubicBezTo>
                  <a:cubicBezTo>
                    <a:pt x="7817" y="90491"/>
                    <a:pt x="8599" y="90210"/>
                    <a:pt x="8599" y="90210"/>
                  </a:cubicBezTo>
                  <a:cubicBezTo>
                    <a:pt x="8599" y="90210"/>
                    <a:pt x="8990" y="90772"/>
                    <a:pt x="9381" y="91053"/>
                  </a:cubicBezTo>
                  <a:cubicBezTo>
                    <a:pt x="9967" y="91053"/>
                    <a:pt x="9967" y="91053"/>
                    <a:pt x="9967" y="91053"/>
                  </a:cubicBezTo>
                  <a:cubicBezTo>
                    <a:pt x="10358" y="91053"/>
                    <a:pt x="11921" y="90772"/>
                    <a:pt x="11921" y="90772"/>
                  </a:cubicBezTo>
                  <a:cubicBezTo>
                    <a:pt x="14071" y="91053"/>
                    <a:pt x="14071" y="91053"/>
                    <a:pt x="14071" y="91053"/>
                  </a:cubicBezTo>
                  <a:cubicBezTo>
                    <a:pt x="15244" y="90210"/>
                    <a:pt x="15244" y="90210"/>
                    <a:pt x="15244" y="90210"/>
                  </a:cubicBezTo>
                  <a:cubicBezTo>
                    <a:pt x="17589" y="90491"/>
                    <a:pt x="17589" y="90491"/>
                    <a:pt x="17589" y="90491"/>
                  </a:cubicBezTo>
                  <a:cubicBezTo>
                    <a:pt x="17980" y="90210"/>
                    <a:pt x="17980" y="90210"/>
                    <a:pt x="17980" y="90210"/>
                  </a:cubicBezTo>
                  <a:cubicBezTo>
                    <a:pt x="18175" y="90491"/>
                    <a:pt x="18175" y="90491"/>
                    <a:pt x="18175" y="90491"/>
                  </a:cubicBezTo>
                  <a:cubicBezTo>
                    <a:pt x="18957" y="90210"/>
                    <a:pt x="18957" y="90210"/>
                    <a:pt x="18957" y="90210"/>
                  </a:cubicBezTo>
                  <a:cubicBezTo>
                    <a:pt x="19739" y="91334"/>
                    <a:pt x="19739" y="91334"/>
                    <a:pt x="19739" y="91334"/>
                  </a:cubicBezTo>
                  <a:cubicBezTo>
                    <a:pt x="21302" y="91053"/>
                    <a:pt x="21302" y="91053"/>
                    <a:pt x="21302" y="91053"/>
                  </a:cubicBezTo>
                  <a:cubicBezTo>
                    <a:pt x="22280" y="89086"/>
                    <a:pt x="22280" y="89086"/>
                    <a:pt x="22280" y="89086"/>
                  </a:cubicBezTo>
                  <a:cubicBezTo>
                    <a:pt x="22280" y="89086"/>
                    <a:pt x="22866" y="88243"/>
                    <a:pt x="23648" y="87962"/>
                  </a:cubicBezTo>
                  <a:cubicBezTo>
                    <a:pt x="24429" y="87962"/>
                    <a:pt x="25798" y="87119"/>
                    <a:pt x="25798" y="87119"/>
                  </a:cubicBezTo>
                  <a:lnTo>
                    <a:pt x="27557" y="85714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9" name="Shape 2050"/>
            <p:cNvSpPr/>
            <p:nvPr/>
          </p:nvSpPr>
          <p:spPr>
            <a:xfrm>
              <a:off x="5078737" y="538527"/>
              <a:ext cx="643166" cy="16940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510" y="13785"/>
                  </a:moveTo>
                  <a:cubicBezTo>
                    <a:pt x="108510" y="13629"/>
                    <a:pt x="108510" y="13629"/>
                    <a:pt x="108510" y="13629"/>
                  </a:cubicBezTo>
                  <a:cubicBezTo>
                    <a:pt x="108510" y="13629"/>
                    <a:pt x="107659" y="13002"/>
                    <a:pt x="108085" y="12689"/>
                  </a:cubicBezTo>
                  <a:cubicBezTo>
                    <a:pt x="108085" y="12689"/>
                    <a:pt x="108085" y="12689"/>
                    <a:pt x="108085" y="12532"/>
                  </a:cubicBezTo>
                  <a:cubicBezTo>
                    <a:pt x="108085" y="12375"/>
                    <a:pt x="108085" y="12375"/>
                    <a:pt x="108085" y="12375"/>
                  </a:cubicBezTo>
                  <a:cubicBezTo>
                    <a:pt x="106382" y="12532"/>
                    <a:pt x="106382" y="12532"/>
                    <a:pt x="106382" y="12532"/>
                  </a:cubicBezTo>
                  <a:cubicBezTo>
                    <a:pt x="105106" y="11906"/>
                    <a:pt x="105106" y="11906"/>
                    <a:pt x="105106" y="11906"/>
                  </a:cubicBezTo>
                  <a:cubicBezTo>
                    <a:pt x="105531" y="11122"/>
                    <a:pt x="105531" y="11122"/>
                    <a:pt x="105531" y="11122"/>
                  </a:cubicBezTo>
                  <a:cubicBezTo>
                    <a:pt x="104680" y="9242"/>
                    <a:pt x="104680" y="9242"/>
                    <a:pt x="104680" y="9242"/>
                  </a:cubicBezTo>
                  <a:cubicBezTo>
                    <a:pt x="105531" y="8302"/>
                    <a:pt x="105531" y="8302"/>
                    <a:pt x="105531" y="8302"/>
                  </a:cubicBezTo>
                  <a:cubicBezTo>
                    <a:pt x="102978" y="7832"/>
                    <a:pt x="102978" y="7832"/>
                    <a:pt x="102978" y="7832"/>
                  </a:cubicBezTo>
                  <a:cubicBezTo>
                    <a:pt x="101276" y="6892"/>
                    <a:pt x="101276" y="6892"/>
                    <a:pt x="101276" y="6892"/>
                  </a:cubicBezTo>
                  <a:cubicBezTo>
                    <a:pt x="101276" y="6892"/>
                    <a:pt x="100851" y="7206"/>
                    <a:pt x="100425" y="7049"/>
                  </a:cubicBezTo>
                  <a:cubicBezTo>
                    <a:pt x="100000" y="6892"/>
                    <a:pt x="97872" y="5639"/>
                    <a:pt x="97872" y="5639"/>
                  </a:cubicBezTo>
                  <a:cubicBezTo>
                    <a:pt x="94042" y="5169"/>
                    <a:pt x="94042" y="5169"/>
                    <a:pt x="94042" y="5169"/>
                  </a:cubicBezTo>
                  <a:cubicBezTo>
                    <a:pt x="92340" y="4856"/>
                    <a:pt x="92340" y="4856"/>
                    <a:pt x="92340" y="4856"/>
                  </a:cubicBezTo>
                  <a:cubicBezTo>
                    <a:pt x="90212" y="4699"/>
                    <a:pt x="90212" y="4699"/>
                    <a:pt x="90212" y="4699"/>
                  </a:cubicBezTo>
                  <a:cubicBezTo>
                    <a:pt x="90212" y="4699"/>
                    <a:pt x="89787" y="5013"/>
                    <a:pt x="89361" y="4699"/>
                  </a:cubicBezTo>
                  <a:cubicBezTo>
                    <a:pt x="88936" y="4386"/>
                    <a:pt x="88085" y="4073"/>
                    <a:pt x="88085" y="4073"/>
                  </a:cubicBezTo>
                  <a:cubicBezTo>
                    <a:pt x="86382" y="4229"/>
                    <a:pt x="86382" y="4229"/>
                    <a:pt x="86382" y="4229"/>
                  </a:cubicBezTo>
                  <a:cubicBezTo>
                    <a:pt x="85106" y="3603"/>
                    <a:pt x="85106" y="3603"/>
                    <a:pt x="85106" y="3603"/>
                  </a:cubicBezTo>
                  <a:cubicBezTo>
                    <a:pt x="85106" y="3603"/>
                    <a:pt x="84680" y="3603"/>
                    <a:pt x="84255" y="3603"/>
                  </a:cubicBezTo>
                  <a:cubicBezTo>
                    <a:pt x="83829" y="3446"/>
                    <a:pt x="82978" y="3289"/>
                    <a:pt x="82978" y="3289"/>
                  </a:cubicBezTo>
                  <a:cubicBezTo>
                    <a:pt x="81702" y="2506"/>
                    <a:pt x="81702" y="2506"/>
                    <a:pt x="81702" y="2506"/>
                  </a:cubicBezTo>
                  <a:cubicBezTo>
                    <a:pt x="80000" y="2193"/>
                    <a:pt x="80000" y="2193"/>
                    <a:pt x="80000" y="2193"/>
                  </a:cubicBezTo>
                  <a:cubicBezTo>
                    <a:pt x="77872" y="1879"/>
                    <a:pt x="77872" y="1879"/>
                    <a:pt x="77872" y="1879"/>
                  </a:cubicBezTo>
                  <a:cubicBezTo>
                    <a:pt x="77872" y="1253"/>
                    <a:pt x="77872" y="1253"/>
                    <a:pt x="77872" y="1253"/>
                  </a:cubicBezTo>
                  <a:cubicBezTo>
                    <a:pt x="74893" y="626"/>
                    <a:pt x="74893" y="626"/>
                    <a:pt x="74893" y="626"/>
                  </a:cubicBezTo>
                  <a:cubicBezTo>
                    <a:pt x="74893" y="626"/>
                    <a:pt x="74468" y="313"/>
                    <a:pt x="74893" y="313"/>
                  </a:cubicBezTo>
                  <a:cubicBezTo>
                    <a:pt x="75319" y="156"/>
                    <a:pt x="76595" y="156"/>
                    <a:pt x="77446" y="156"/>
                  </a:cubicBezTo>
                  <a:cubicBezTo>
                    <a:pt x="75319" y="0"/>
                    <a:pt x="75319" y="0"/>
                    <a:pt x="75319" y="0"/>
                  </a:cubicBezTo>
                  <a:cubicBezTo>
                    <a:pt x="72765" y="783"/>
                    <a:pt x="72765" y="783"/>
                    <a:pt x="72765" y="783"/>
                  </a:cubicBezTo>
                  <a:cubicBezTo>
                    <a:pt x="71489" y="783"/>
                    <a:pt x="71489" y="783"/>
                    <a:pt x="71489" y="783"/>
                  </a:cubicBezTo>
                  <a:cubicBezTo>
                    <a:pt x="71489" y="783"/>
                    <a:pt x="70638" y="939"/>
                    <a:pt x="70638" y="1096"/>
                  </a:cubicBezTo>
                  <a:cubicBezTo>
                    <a:pt x="71063" y="1253"/>
                    <a:pt x="71914" y="2663"/>
                    <a:pt x="72340" y="2976"/>
                  </a:cubicBezTo>
                  <a:cubicBezTo>
                    <a:pt x="72765" y="3133"/>
                    <a:pt x="72765" y="4229"/>
                    <a:pt x="71063" y="5013"/>
                  </a:cubicBezTo>
                  <a:cubicBezTo>
                    <a:pt x="72765" y="5639"/>
                    <a:pt x="72765" y="5639"/>
                    <a:pt x="72765" y="5639"/>
                  </a:cubicBezTo>
                  <a:cubicBezTo>
                    <a:pt x="71063" y="6422"/>
                    <a:pt x="71063" y="6422"/>
                    <a:pt x="71063" y="6422"/>
                  </a:cubicBezTo>
                  <a:cubicBezTo>
                    <a:pt x="68510" y="6579"/>
                    <a:pt x="68510" y="6579"/>
                    <a:pt x="68510" y="6579"/>
                  </a:cubicBezTo>
                  <a:cubicBezTo>
                    <a:pt x="68510" y="6579"/>
                    <a:pt x="65957" y="6422"/>
                    <a:pt x="65531" y="6266"/>
                  </a:cubicBezTo>
                  <a:cubicBezTo>
                    <a:pt x="65106" y="6109"/>
                    <a:pt x="62978" y="5796"/>
                    <a:pt x="62553" y="5796"/>
                  </a:cubicBezTo>
                  <a:cubicBezTo>
                    <a:pt x="61702" y="5953"/>
                    <a:pt x="55744" y="5796"/>
                    <a:pt x="55744" y="5796"/>
                  </a:cubicBezTo>
                  <a:cubicBezTo>
                    <a:pt x="54468" y="6422"/>
                    <a:pt x="54893" y="9712"/>
                    <a:pt x="55319" y="10182"/>
                  </a:cubicBezTo>
                  <a:cubicBezTo>
                    <a:pt x="54468" y="10809"/>
                    <a:pt x="54468" y="10809"/>
                    <a:pt x="54468" y="10809"/>
                  </a:cubicBezTo>
                  <a:cubicBezTo>
                    <a:pt x="52340" y="10809"/>
                    <a:pt x="52340" y="10809"/>
                    <a:pt x="52340" y="10809"/>
                  </a:cubicBezTo>
                  <a:cubicBezTo>
                    <a:pt x="48085" y="10026"/>
                    <a:pt x="48085" y="10026"/>
                    <a:pt x="48085" y="10026"/>
                  </a:cubicBezTo>
                  <a:cubicBezTo>
                    <a:pt x="46382" y="11279"/>
                    <a:pt x="46382" y="11279"/>
                    <a:pt x="46382" y="11279"/>
                  </a:cubicBezTo>
                  <a:cubicBezTo>
                    <a:pt x="46382" y="11279"/>
                    <a:pt x="44680" y="11906"/>
                    <a:pt x="44680" y="12219"/>
                  </a:cubicBezTo>
                  <a:cubicBezTo>
                    <a:pt x="44680" y="12375"/>
                    <a:pt x="43829" y="13002"/>
                    <a:pt x="43829" y="13002"/>
                  </a:cubicBezTo>
                  <a:cubicBezTo>
                    <a:pt x="43829" y="13159"/>
                    <a:pt x="43829" y="14255"/>
                    <a:pt x="43829" y="14255"/>
                  </a:cubicBezTo>
                  <a:cubicBezTo>
                    <a:pt x="42978" y="14882"/>
                    <a:pt x="42978" y="14882"/>
                    <a:pt x="42978" y="14882"/>
                  </a:cubicBezTo>
                  <a:cubicBezTo>
                    <a:pt x="40425" y="15509"/>
                    <a:pt x="40425" y="15509"/>
                    <a:pt x="40425" y="15509"/>
                  </a:cubicBezTo>
                  <a:cubicBezTo>
                    <a:pt x="40425" y="16292"/>
                    <a:pt x="40425" y="16292"/>
                    <a:pt x="40425" y="16292"/>
                  </a:cubicBezTo>
                  <a:cubicBezTo>
                    <a:pt x="40425" y="16292"/>
                    <a:pt x="41702" y="17232"/>
                    <a:pt x="42553" y="17389"/>
                  </a:cubicBezTo>
                  <a:cubicBezTo>
                    <a:pt x="42978" y="17702"/>
                    <a:pt x="43829" y="18955"/>
                    <a:pt x="43829" y="18955"/>
                  </a:cubicBezTo>
                  <a:cubicBezTo>
                    <a:pt x="43829" y="18955"/>
                    <a:pt x="42553" y="20052"/>
                    <a:pt x="42127" y="20365"/>
                  </a:cubicBezTo>
                  <a:cubicBezTo>
                    <a:pt x="41702" y="20678"/>
                    <a:pt x="38297" y="22245"/>
                    <a:pt x="38297" y="22245"/>
                  </a:cubicBezTo>
                  <a:cubicBezTo>
                    <a:pt x="36170" y="24281"/>
                    <a:pt x="36170" y="24281"/>
                    <a:pt x="36170" y="24281"/>
                  </a:cubicBezTo>
                  <a:cubicBezTo>
                    <a:pt x="36170" y="25691"/>
                    <a:pt x="36170" y="25691"/>
                    <a:pt x="36170" y="25691"/>
                  </a:cubicBezTo>
                  <a:cubicBezTo>
                    <a:pt x="35744" y="26475"/>
                    <a:pt x="35744" y="26475"/>
                    <a:pt x="35744" y="26475"/>
                  </a:cubicBezTo>
                  <a:cubicBezTo>
                    <a:pt x="32765" y="27571"/>
                    <a:pt x="32765" y="27571"/>
                    <a:pt x="32765" y="27571"/>
                  </a:cubicBezTo>
                  <a:cubicBezTo>
                    <a:pt x="28936" y="27728"/>
                    <a:pt x="28936" y="27728"/>
                    <a:pt x="28936" y="27728"/>
                  </a:cubicBezTo>
                  <a:cubicBezTo>
                    <a:pt x="27659" y="28198"/>
                    <a:pt x="27659" y="28198"/>
                    <a:pt x="27659" y="28198"/>
                  </a:cubicBezTo>
                  <a:cubicBezTo>
                    <a:pt x="29787" y="30861"/>
                    <a:pt x="29787" y="30861"/>
                    <a:pt x="29787" y="30861"/>
                  </a:cubicBezTo>
                  <a:cubicBezTo>
                    <a:pt x="28936" y="32114"/>
                    <a:pt x="28936" y="32114"/>
                    <a:pt x="28936" y="32114"/>
                  </a:cubicBezTo>
                  <a:cubicBezTo>
                    <a:pt x="28510" y="33211"/>
                    <a:pt x="28510" y="33211"/>
                    <a:pt x="28510" y="33211"/>
                  </a:cubicBezTo>
                  <a:cubicBezTo>
                    <a:pt x="28510" y="33211"/>
                    <a:pt x="27659" y="34151"/>
                    <a:pt x="28085" y="34308"/>
                  </a:cubicBezTo>
                  <a:cubicBezTo>
                    <a:pt x="28510" y="34621"/>
                    <a:pt x="28936" y="35248"/>
                    <a:pt x="28936" y="35248"/>
                  </a:cubicBezTo>
                  <a:cubicBezTo>
                    <a:pt x="27234" y="35718"/>
                    <a:pt x="27234" y="35718"/>
                    <a:pt x="27234" y="35718"/>
                  </a:cubicBezTo>
                  <a:cubicBezTo>
                    <a:pt x="27659" y="36657"/>
                    <a:pt x="27659" y="36657"/>
                    <a:pt x="27659" y="36657"/>
                  </a:cubicBezTo>
                  <a:cubicBezTo>
                    <a:pt x="21276" y="40731"/>
                    <a:pt x="21276" y="40731"/>
                    <a:pt x="21276" y="40731"/>
                  </a:cubicBezTo>
                  <a:cubicBezTo>
                    <a:pt x="22127" y="41514"/>
                    <a:pt x="22127" y="41514"/>
                    <a:pt x="22127" y="41514"/>
                  </a:cubicBezTo>
                  <a:cubicBezTo>
                    <a:pt x="25957" y="41827"/>
                    <a:pt x="25957" y="41827"/>
                    <a:pt x="25957" y="41827"/>
                  </a:cubicBezTo>
                  <a:cubicBezTo>
                    <a:pt x="26382" y="44334"/>
                    <a:pt x="26382" y="44334"/>
                    <a:pt x="26382" y="44334"/>
                  </a:cubicBezTo>
                  <a:cubicBezTo>
                    <a:pt x="25106" y="45430"/>
                    <a:pt x="25106" y="45430"/>
                    <a:pt x="25106" y="45430"/>
                  </a:cubicBezTo>
                  <a:cubicBezTo>
                    <a:pt x="24680" y="45744"/>
                    <a:pt x="24680" y="45744"/>
                    <a:pt x="24680" y="45744"/>
                  </a:cubicBezTo>
                  <a:cubicBezTo>
                    <a:pt x="14468" y="45900"/>
                    <a:pt x="14468" y="45900"/>
                    <a:pt x="14468" y="45900"/>
                  </a:cubicBezTo>
                  <a:cubicBezTo>
                    <a:pt x="8936" y="48563"/>
                    <a:pt x="8936" y="48563"/>
                    <a:pt x="8936" y="48563"/>
                  </a:cubicBezTo>
                  <a:cubicBezTo>
                    <a:pt x="8085" y="50130"/>
                    <a:pt x="8085" y="50130"/>
                    <a:pt x="8085" y="50130"/>
                  </a:cubicBezTo>
                  <a:cubicBezTo>
                    <a:pt x="7659" y="51227"/>
                    <a:pt x="7659" y="51227"/>
                    <a:pt x="7659" y="51227"/>
                  </a:cubicBezTo>
                  <a:cubicBezTo>
                    <a:pt x="7659" y="51227"/>
                    <a:pt x="6382" y="51853"/>
                    <a:pt x="6382" y="52167"/>
                  </a:cubicBezTo>
                  <a:cubicBezTo>
                    <a:pt x="6382" y="52323"/>
                    <a:pt x="6382" y="53263"/>
                    <a:pt x="6382" y="53263"/>
                  </a:cubicBezTo>
                  <a:cubicBezTo>
                    <a:pt x="8085" y="54516"/>
                    <a:pt x="8085" y="54516"/>
                    <a:pt x="8085" y="54516"/>
                  </a:cubicBezTo>
                  <a:cubicBezTo>
                    <a:pt x="8085" y="55456"/>
                    <a:pt x="8085" y="55456"/>
                    <a:pt x="8085" y="55456"/>
                  </a:cubicBezTo>
                  <a:cubicBezTo>
                    <a:pt x="7234" y="55926"/>
                    <a:pt x="7234" y="55926"/>
                    <a:pt x="7234" y="55926"/>
                  </a:cubicBezTo>
                  <a:cubicBezTo>
                    <a:pt x="7659" y="57023"/>
                    <a:pt x="7659" y="57023"/>
                    <a:pt x="7659" y="57023"/>
                  </a:cubicBezTo>
                  <a:cubicBezTo>
                    <a:pt x="7659" y="57023"/>
                    <a:pt x="8085" y="57336"/>
                    <a:pt x="7659" y="57493"/>
                  </a:cubicBezTo>
                  <a:cubicBezTo>
                    <a:pt x="6808" y="57806"/>
                    <a:pt x="6808" y="58120"/>
                    <a:pt x="7234" y="58433"/>
                  </a:cubicBezTo>
                  <a:cubicBezTo>
                    <a:pt x="7234" y="58590"/>
                    <a:pt x="10212" y="60626"/>
                    <a:pt x="10212" y="60626"/>
                  </a:cubicBezTo>
                  <a:cubicBezTo>
                    <a:pt x="10638" y="65483"/>
                    <a:pt x="10638" y="65483"/>
                    <a:pt x="10638" y="65483"/>
                  </a:cubicBezTo>
                  <a:cubicBezTo>
                    <a:pt x="11914" y="66736"/>
                    <a:pt x="11914" y="66736"/>
                    <a:pt x="11914" y="66736"/>
                  </a:cubicBezTo>
                  <a:cubicBezTo>
                    <a:pt x="14893" y="67519"/>
                    <a:pt x="14893" y="67519"/>
                    <a:pt x="14893" y="67519"/>
                  </a:cubicBezTo>
                  <a:cubicBezTo>
                    <a:pt x="17446" y="68302"/>
                    <a:pt x="17446" y="68302"/>
                    <a:pt x="17446" y="68302"/>
                  </a:cubicBezTo>
                  <a:cubicBezTo>
                    <a:pt x="17872" y="69712"/>
                    <a:pt x="17872" y="69712"/>
                    <a:pt x="17872" y="69712"/>
                  </a:cubicBezTo>
                  <a:cubicBezTo>
                    <a:pt x="17872" y="69712"/>
                    <a:pt x="17021" y="70809"/>
                    <a:pt x="17021" y="70966"/>
                  </a:cubicBezTo>
                  <a:cubicBezTo>
                    <a:pt x="17446" y="71122"/>
                    <a:pt x="14893" y="71122"/>
                    <a:pt x="14893" y="71122"/>
                  </a:cubicBezTo>
                  <a:cubicBezTo>
                    <a:pt x="12765" y="71279"/>
                    <a:pt x="12765" y="71279"/>
                    <a:pt x="12765" y="71279"/>
                  </a:cubicBezTo>
                  <a:cubicBezTo>
                    <a:pt x="10638" y="72062"/>
                    <a:pt x="10638" y="72062"/>
                    <a:pt x="10638" y="72062"/>
                  </a:cubicBezTo>
                  <a:cubicBezTo>
                    <a:pt x="11489" y="73002"/>
                    <a:pt x="11489" y="73002"/>
                    <a:pt x="11489" y="73002"/>
                  </a:cubicBezTo>
                  <a:cubicBezTo>
                    <a:pt x="12765" y="74412"/>
                    <a:pt x="12765" y="74412"/>
                    <a:pt x="12765" y="74412"/>
                  </a:cubicBezTo>
                  <a:cubicBezTo>
                    <a:pt x="15319" y="75509"/>
                    <a:pt x="15319" y="75509"/>
                    <a:pt x="15319" y="75509"/>
                  </a:cubicBezTo>
                  <a:cubicBezTo>
                    <a:pt x="16170" y="76449"/>
                    <a:pt x="16170" y="76449"/>
                    <a:pt x="16170" y="76449"/>
                  </a:cubicBezTo>
                  <a:cubicBezTo>
                    <a:pt x="14893" y="77389"/>
                    <a:pt x="14893" y="77389"/>
                    <a:pt x="14893" y="77389"/>
                  </a:cubicBezTo>
                  <a:cubicBezTo>
                    <a:pt x="14042" y="77859"/>
                    <a:pt x="14042" y="77859"/>
                    <a:pt x="14042" y="77859"/>
                  </a:cubicBezTo>
                  <a:cubicBezTo>
                    <a:pt x="14893" y="78642"/>
                    <a:pt x="14893" y="78642"/>
                    <a:pt x="14893" y="78642"/>
                  </a:cubicBezTo>
                  <a:cubicBezTo>
                    <a:pt x="14893" y="79425"/>
                    <a:pt x="14893" y="79425"/>
                    <a:pt x="14893" y="79425"/>
                  </a:cubicBezTo>
                  <a:cubicBezTo>
                    <a:pt x="14893" y="79425"/>
                    <a:pt x="14042" y="79895"/>
                    <a:pt x="14042" y="80052"/>
                  </a:cubicBezTo>
                  <a:cubicBezTo>
                    <a:pt x="14042" y="80208"/>
                    <a:pt x="12340" y="80678"/>
                    <a:pt x="12340" y="80678"/>
                  </a:cubicBezTo>
                  <a:cubicBezTo>
                    <a:pt x="11063" y="81148"/>
                    <a:pt x="11063" y="81148"/>
                    <a:pt x="11063" y="81148"/>
                  </a:cubicBezTo>
                  <a:cubicBezTo>
                    <a:pt x="9787" y="81305"/>
                    <a:pt x="9787" y="81305"/>
                    <a:pt x="9787" y="81305"/>
                  </a:cubicBezTo>
                  <a:cubicBezTo>
                    <a:pt x="9787" y="81305"/>
                    <a:pt x="8936" y="81148"/>
                    <a:pt x="8510" y="81305"/>
                  </a:cubicBezTo>
                  <a:cubicBezTo>
                    <a:pt x="8510" y="81305"/>
                    <a:pt x="7659" y="81618"/>
                    <a:pt x="7659" y="81618"/>
                  </a:cubicBezTo>
                  <a:cubicBezTo>
                    <a:pt x="7659" y="82088"/>
                    <a:pt x="7659" y="82088"/>
                    <a:pt x="7659" y="82088"/>
                  </a:cubicBezTo>
                  <a:cubicBezTo>
                    <a:pt x="8510" y="82402"/>
                    <a:pt x="8510" y="82402"/>
                    <a:pt x="8510" y="82402"/>
                  </a:cubicBezTo>
                  <a:cubicBezTo>
                    <a:pt x="8085" y="83185"/>
                    <a:pt x="8085" y="83185"/>
                    <a:pt x="8085" y="83185"/>
                  </a:cubicBezTo>
                  <a:cubicBezTo>
                    <a:pt x="6808" y="83655"/>
                    <a:pt x="6808" y="83655"/>
                    <a:pt x="6808" y="83655"/>
                  </a:cubicBezTo>
                  <a:cubicBezTo>
                    <a:pt x="5531" y="83812"/>
                    <a:pt x="5531" y="83812"/>
                    <a:pt x="5531" y="83812"/>
                  </a:cubicBezTo>
                  <a:cubicBezTo>
                    <a:pt x="6382" y="84751"/>
                    <a:pt x="6382" y="84751"/>
                    <a:pt x="6382" y="84751"/>
                  </a:cubicBezTo>
                  <a:cubicBezTo>
                    <a:pt x="8085" y="85848"/>
                    <a:pt x="8085" y="85848"/>
                    <a:pt x="8085" y="85848"/>
                  </a:cubicBezTo>
                  <a:cubicBezTo>
                    <a:pt x="8085" y="86788"/>
                    <a:pt x="8085" y="86788"/>
                    <a:pt x="8085" y="86788"/>
                  </a:cubicBezTo>
                  <a:cubicBezTo>
                    <a:pt x="6808" y="87728"/>
                    <a:pt x="6808" y="87728"/>
                    <a:pt x="6808" y="87728"/>
                  </a:cubicBezTo>
                  <a:cubicBezTo>
                    <a:pt x="6382" y="88825"/>
                    <a:pt x="6382" y="88825"/>
                    <a:pt x="6382" y="88825"/>
                  </a:cubicBezTo>
                  <a:cubicBezTo>
                    <a:pt x="5957" y="89765"/>
                    <a:pt x="5957" y="89765"/>
                    <a:pt x="5957" y="89765"/>
                  </a:cubicBezTo>
                  <a:cubicBezTo>
                    <a:pt x="5106" y="89921"/>
                    <a:pt x="5106" y="89921"/>
                    <a:pt x="5106" y="89921"/>
                  </a:cubicBezTo>
                  <a:cubicBezTo>
                    <a:pt x="3829" y="89921"/>
                    <a:pt x="3829" y="89921"/>
                    <a:pt x="3829" y="89921"/>
                  </a:cubicBezTo>
                  <a:cubicBezTo>
                    <a:pt x="3829" y="89921"/>
                    <a:pt x="3829" y="88981"/>
                    <a:pt x="3404" y="88825"/>
                  </a:cubicBezTo>
                  <a:cubicBezTo>
                    <a:pt x="3404" y="88825"/>
                    <a:pt x="425" y="87885"/>
                    <a:pt x="425" y="87885"/>
                  </a:cubicBezTo>
                  <a:cubicBezTo>
                    <a:pt x="425" y="88825"/>
                    <a:pt x="425" y="88825"/>
                    <a:pt x="425" y="88825"/>
                  </a:cubicBezTo>
                  <a:cubicBezTo>
                    <a:pt x="0" y="89921"/>
                    <a:pt x="0" y="89921"/>
                    <a:pt x="0" y="89921"/>
                  </a:cubicBezTo>
                  <a:cubicBezTo>
                    <a:pt x="0" y="89921"/>
                    <a:pt x="425" y="90548"/>
                    <a:pt x="851" y="90704"/>
                  </a:cubicBezTo>
                  <a:cubicBezTo>
                    <a:pt x="1276" y="90861"/>
                    <a:pt x="1702" y="91958"/>
                    <a:pt x="1702" y="91958"/>
                  </a:cubicBezTo>
                  <a:cubicBezTo>
                    <a:pt x="1276" y="93054"/>
                    <a:pt x="1276" y="93054"/>
                    <a:pt x="1276" y="93054"/>
                  </a:cubicBezTo>
                  <a:cubicBezTo>
                    <a:pt x="1276" y="93054"/>
                    <a:pt x="2127" y="93838"/>
                    <a:pt x="2127" y="93838"/>
                  </a:cubicBezTo>
                  <a:cubicBezTo>
                    <a:pt x="2127" y="93994"/>
                    <a:pt x="2553" y="94621"/>
                    <a:pt x="2553" y="94621"/>
                  </a:cubicBezTo>
                  <a:cubicBezTo>
                    <a:pt x="4255" y="94464"/>
                    <a:pt x="4255" y="94464"/>
                    <a:pt x="4255" y="94464"/>
                  </a:cubicBezTo>
                  <a:cubicBezTo>
                    <a:pt x="3829" y="93994"/>
                    <a:pt x="3829" y="93994"/>
                    <a:pt x="3829" y="93994"/>
                  </a:cubicBezTo>
                  <a:cubicBezTo>
                    <a:pt x="5106" y="94621"/>
                    <a:pt x="5106" y="94621"/>
                    <a:pt x="5106" y="94621"/>
                  </a:cubicBezTo>
                  <a:cubicBezTo>
                    <a:pt x="5106" y="94621"/>
                    <a:pt x="4255" y="94778"/>
                    <a:pt x="5106" y="94621"/>
                  </a:cubicBezTo>
                  <a:cubicBezTo>
                    <a:pt x="5531" y="94621"/>
                    <a:pt x="6382" y="94308"/>
                    <a:pt x="6382" y="94308"/>
                  </a:cubicBezTo>
                  <a:cubicBezTo>
                    <a:pt x="5957" y="94778"/>
                    <a:pt x="5957" y="94778"/>
                    <a:pt x="5957" y="94778"/>
                  </a:cubicBezTo>
                  <a:cubicBezTo>
                    <a:pt x="5106" y="95404"/>
                    <a:pt x="5106" y="95404"/>
                    <a:pt x="5106" y="95404"/>
                  </a:cubicBezTo>
                  <a:cubicBezTo>
                    <a:pt x="5531" y="95561"/>
                    <a:pt x="5531" y="95561"/>
                    <a:pt x="5531" y="95561"/>
                  </a:cubicBezTo>
                  <a:cubicBezTo>
                    <a:pt x="6808" y="95718"/>
                    <a:pt x="6808" y="95718"/>
                    <a:pt x="6808" y="95718"/>
                  </a:cubicBezTo>
                  <a:cubicBezTo>
                    <a:pt x="5106" y="96501"/>
                    <a:pt x="5106" y="96501"/>
                    <a:pt x="5106" y="96501"/>
                  </a:cubicBezTo>
                  <a:cubicBezTo>
                    <a:pt x="5106" y="96501"/>
                    <a:pt x="5957" y="96971"/>
                    <a:pt x="6382" y="97127"/>
                  </a:cubicBezTo>
                  <a:cubicBezTo>
                    <a:pt x="6382" y="97127"/>
                    <a:pt x="8085" y="96657"/>
                    <a:pt x="8085" y="96657"/>
                  </a:cubicBezTo>
                  <a:cubicBezTo>
                    <a:pt x="8085" y="96657"/>
                    <a:pt x="8085" y="96814"/>
                    <a:pt x="8085" y="96971"/>
                  </a:cubicBezTo>
                  <a:cubicBezTo>
                    <a:pt x="8085" y="96971"/>
                    <a:pt x="6808" y="97441"/>
                    <a:pt x="6808" y="97754"/>
                  </a:cubicBezTo>
                  <a:cubicBezTo>
                    <a:pt x="7234" y="97911"/>
                    <a:pt x="9361" y="97597"/>
                    <a:pt x="8936" y="97754"/>
                  </a:cubicBezTo>
                  <a:cubicBezTo>
                    <a:pt x="8510" y="97911"/>
                    <a:pt x="8510" y="98224"/>
                    <a:pt x="8510" y="98224"/>
                  </a:cubicBezTo>
                  <a:cubicBezTo>
                    <a:pt x="8510" y="98224"/>
                    <a:pt x="7234" y="98694"/>
                    <a:pt x="8085" y="98851"/>
                  </a:cubicBezTo>
                  <a:cubicBezTo>
                    <a:pt x="8510" y="99007"/>
                    <a:pt x="9787" y="99164"/>
                    <a:pt x="9361" y="99164"/>
                  </a:cubicBezTo>
                  <a:cubicBezTo>
                    <a:pt x="9361" y="99321"/>
                    <a:pt x="8085" y="99634"/>
                    <a:pt x="8085" y="99634"/>
                  </a:cubicBezTo>
                  <a:cubicBezTo>
                    <a:pt x="8085" y="99634"/>
                    <a:pt x="7659" y="99947"/>
                    <a:pt x="8085" y="100104"/>
                  </a:cubicBezTo>
                  <a:cubicBezTo>
                    <a:pt x="8510" y="100261"/>
                    <a:pt x="9787" y="100261"/>
                    <a:pt x="9787" y="100261"/>
                  </a:cubicBezTo>
                  <a:cubicBezTo>
                    <a:pt x="9787" y="100261"/>
                    <a:pt x="9787" y="99947"/>
                    <a:pt x="9787" y="100104"/>
                  </a:cubicBezTo>
                  <a:cubicBezTo>
                    <a:pt x="9787" y="100261"/>
                    <a:pt x="9361" y="100574"/>
                    <a:pt x="9361" y="100574"/>
                  </a:cubicBezTo>
                  <a:cubicBezTo>
                    <a:pt x="9361" y="100574"/>
                    <a:pt x="8936" y="100887"/>
                    <a:pt x="9361" y="101044"/>
                  </a:cubicBezTo>
                  <a:cubicBezTo>
                    <a:pt x="9787" y="101044"/>
                    <a:pt x="10638" y="101044"/>
                    <a:pt x="10638" y="101044"/>
                  </a:cubicBezTo>
                  <a:cubicBezTo>
                    <a:pt x="10638" y="101044"/>
                    <a:pt x="10638" y="101201"/>
                    <a:pt x="10638" y="101514"/>
                  </a:cubicBezTo>
                  <a:cubicBezTo>
                    <a:pt x="10638" y="101671"/>
                    <a:pt x="10638" y="102140"/>
                    <a:pt x="10638" y="102140"/>
                  </a:cubicBezTo>
                  <a:cubicBezTo>
                    <a:pt x="10638" y="102297"/>
                    <a:pt x="10638" y="102610"/>
                    <a:pt x="10638" y="102610"/>
                  </a:cubicBezTo>
                  <a:cubicBezTo>
                    <a:pt x="10638" y="102610"/>
                    <a:pt x="10212" y="102767"/>
                    <a:pt x="11489" y="102767"/>
                  </a:cubicBezTo>
                  <a:cubicBezTo>
                    <a:pt x="12340" y="102767"/>
                    <a:pt x="12340" y="102610"/>
                    <a:pt x="12765" y="102610"/>
                  </a:cubicBezTo>
                  <a:cubicBezTo>
                    <a:pt x="13191" y="102610"/>
                    <a:pt x="13191" y="102767"/>
                    <a:pt x="13617" y="102924"/>
                  </a:cubicBezTo>
                  <a:cubicBezTo>
                    <a:pt x="13617" y="103237"/>
                    <a:pt x="13617" y="103394"/>
                    <a:pt x="13617" y="103550"/>
                  </a:cubicBezTo>
                  <a:cubicBezTo>
                    <a:pt x="14042" y="103707"/>
                    <a:pt x="15744" y="105274"/>
                    <a:pt x="15744" y="105274"/>
                  </a:cubicBezTo>
                  <a:cubicBezTo>
                    <a:pt x="15744" y="105274"/>
                    <a:pt x="16170" y="105900"/>
                    <a:pt x="16595" y="106057"/>
                  </a:cubicBezTo>
                  <a:cubicBezTo>
                    <a:pt x="16595" y="106214"/>
                    <a:pt x="17021" y="106370"/>
                    <a:pt x="17446" y="106527"/>
                  </a:cubicBezTo>
                  <a:cubicBezTo>
                    <a:pt x="17446" y="106527"/>
                    <a:pt x="18297" y="106997"/>
                    <a:pt x="18297" y="106997"/>
                  </a:cubicBezTo>
                  <a:cubicBezTo>
                    <a:pt x="19574" y="107310"/>
                    <a:pt x="19574" y="107310"/>
                    <a:pt x="19574" y="107310"/>
                  </a:cubicBezTo>
                  <a:cubicBezTo>
                    <a:pt x="21276" y="108407"/>
                    <a:pt x="21276" y="108407"/>
                    <a:pt x="21276" y="108407"/>
                  </a:cubicBezTo>
                  <a:cubicBezTo>
                    <a:pt x="21276" y="108407"/>
                    <a:pt x="22553" y="108877"/>
                    <a:pt x="22553" y="108877"/>
                  </a:cubicBezTo>
                  <a:cubicBezTo>
                    <a:pt x="22978" y="108877"/>
                    <a:pt x="23829" y="108563"/>
                    <a:pt x="23829" y="108563"/>
                  </a:cubicBezTo>
                  <a:cubicBezTo>
                    <a:pt x="23829" y="108563"/>
                    <a:pt x="25106" y="108720"/>
                    <a:pt x="25106" y="108877"/>
                  </a:cubicBezTo>
                  <a:cubicBezTo>
                    <a:pt x="24680" y="108877"/>
                    <a:pt x="24255" y="109503"/>
                    <a:pt x="24255" y="109660"/>
                  </a:cubicBezTo>
                  <a:cubicBezTo>
                    <a:pt x="24680" y="109817"/>
                    <a:pt x="24680" y="110130"/>
                    <a:pt x="24680" y="110130"/>
                  </a:cubicBezTo>
                  <a:cubicBezTo>
                    <a:pt x="23829" y="110287"/>
                    <a:pt x="23829" y="110287"/>
                    <a:pt x="23829" y="110287"/>
                  </a:cubicBezTo>
                  <a:cubicBezTo>
                    <a:pt x="22978" y="110443"/>
                    <a:pt x="22978" y="110443"/>
                    <a:pt x="22978" y="110443"/>
                  </a:cubicBezTo>
                  <a:cubicBezTo>
                    <a:pt x="21276" y="110443"/>
                    <a:pt x="21276" y="110443"/>
                    <a:pt x="21276" y="110443"/>
                  </a:cubicBezTo>
                  <a:cubicBezTo>
                    <a:pt x="20851" y="111070"/>
                    <a:pt x="20851" y="111070"/>
                    <a:pt x="20851" y="111070"/>
                  </a:cubicBezTo>
                  <a:cubicBezTo>
                    <a:pt x="22553" y="111383"/>
                    <a:pt x="22553" y="111383"/>
                    <a:pt x="22553" y="111383"/>
                  </a:cubicBezTo>
                  <a:cubicBezTo>
                    <a:pt x="22553" y="111383"/>
                    <a:pt x="23404" y="111697"/>
                    <a:pt x="23829" y="111697"/>
                  </a:cubicBezTo>
                  <a:cubicBezTo>
                    <a:pt x="23829" y="111853"/>
                    <a:pt x="23829" y="112480"/>
                    <a:pt x="23829" y="112480"/>
                  </a:cubicBezTo>
                  <a:cubicBezTo>
                    <a:pt x="23404" y="112480"/>
                    <a:pt x="21702" y="112480"/>
                    <a:pt x="21702" y="112480"/>
                  </a:cubicBezTo>
                  <a:cubicBezTo>
                    <a:pt x="21702" y="112480"/>
                    <a:pt x="20851" y="112950"/>
                    <a:pt x="20851" y="112950"/>
                  </a:cubicBezTo>
                  <a:cubicBezTo>
                    <a:pt x="20851" y="113107"/>
                    <a:pt x="20425" y="113107"/>
                    <a:pt x="21276" y="113577"/>
                  </a:cubicBezTo>
                  <a:cubicBezTo>
                    <a:pt x="21702" y="113890"/>
                    <a:pt x="23829" y="114830"/>
                    <a:pt x="23829" y="114830"/>
                  </a:cubicBezTo>
                  <a:cubicBezTo>
                    <a:pt x="23829" y="114830"/>
                    <a:pt x="25531" y="115770"/>
                    <a:pt x="25531" y="115770"/>
                  </a:cubicBezTo>
                  <a:cubicBezTo>
                    <a:pt x="25531" y="115926"/>
                    <a:pt x="26808" y="116553"/>
                    <a:pt x="26808" y="116553"/>
                  </a:cubicBezTo>
                  <a:cubicBezTo>
                    <a:pt x="27234" y="116553"/>
                    <a:pt x="27234" y="117180"/>
                    <a:pt x="27234" y="117180"/>
                  </a:cubicBezTo>
                  <a:cubicBezTo>
                    <a:pt x="26808" y="117493"/>
                    <a:pt x="26808" y="117493"/>
                    <a:pt x="26808" y="117493"/>
                  </a:cubicBezTo>
                  <a:cubicBezTo>
                    <a:pt x="26382" y="117963"/>
                    <a:pt x="26382" y="117963"/>
                    <a:pt x="26382" y="117963"/>
                  </a:cubicBezTo>
                  <a:cubicBezTo>
                    <a:pt x="25957" y="118433"/>
                    <a:pt x="25957" y="118433"/>
                    <a:pt x="25957" y="118433"/>
                  </a:cubicBezTo>
                  <a:cubicBezTo>
                    <a:pt x="26382" y="118746"/>
                    <a:pt x="26382" y="118746"/>
                    <a:pt x="26382" y="118746"/>
                  </a:cubicBezTo>
                  <a:cubicBezTo>
                    <a:pt x="25957" y="119060"/>
                    <a:pt x="25957" y="119060"/>
                    <a:pt x="25957" y="119060"/>
                  </a:cubicBezTo>
                  <a:cubicBezTo>
                    <a:pt x="25106" y="119530"/>
                    <a:pt x="25106" y="119530"/>
                    <a:pt x="25106" y="119530"/>
                  </a:cubicBezTo>
                  <a:cubicBezTo>
                    <a:pt x="27234" y="119686"/>
                    <a:pt x="27234" y="119686"/>
                    <a:pt x="27234" y="119686"/>
                  </a:cubicBezTo>
                  <a:cubicBezTo>
                    <a:pt x="29787" y="119530"/>
                    <a:pt x="29787" y="119530"/>
                    <a:pt x="29787" y="119530"/>
                  </a:cubicBezTo>
                  <a:cubicBezTo>
                    <a:pt x="29787" y="119530"/>
                    <a:pt x="30212" y="119843"/>
                    <a:pt x="30212" y="119843"/>
                  </a:cubicBezTo>
                  <a:cubicBezTo>
                    <a:pt x="30638" y="120000"/>
                    <a:pt x="32765" y="119843"/>
                    <a:pt x="32765" y="119843"/>
                  </a:cubicBezTo>
                  <a:cubicBezTo>
                    <a:pt x="34468" y="119530"/>
                    <a:pt x="34468" y="119530"/>
                    <a:pt x="34468" y="119530"/>
                  </a:cubicBezTo>
                  <a:cubicBezTo>
                    <a:pt x="35744" y="119216"/>
                    <a:pt x="35744" y="119216"/>
                    <a:pt x="35744" y="119216"/>
                  </a:cubicBezTo>
                  <a:cubicBezTo>
                    <a:pt x="35744" y="118903"/>
                    <a:pt x="35744" y="118903"/>
                    <a:pt x="35744" y="118903"/>
                  </a:cubicBezTo>
                  <a:cubicBezTo>
                    <a:pt x="35744" y="118903"/>
                    <a:pt x="36595" y="118433"/>
                    <a:pt x="36595" y="118433"/>
                  </a:cubicBezTo>
                  <a:cubicBezTo>
                    <a:pt x="37021" y="118433"/>
                    <a:pt x="38297" y="118590"/>
                    <a:pt x="38297" y="118590"/>
                  </a:cubicBezTo>
                  <a:cubicBezTo>
                    <a:pt x="38297" y="118590"/>
                    <a:pt x="39574" y="118590"/>
                    <a:pt x="39574" y="118746"/>
                  </a:cubicBezTo>
                  <a:cubicBezTo>
                    <a:pt x="39574" y="118903"/>
                    <a:pt x="40425" y="119060"/>
                    <a:pt x="40425" y="119060"/>
                  </a:cubicBezTo>
                  <a:cubicBezTo>
                    <a:pt x="41702" y="119060"/>
                    <a:pt x="41702" y="119060"/>
                    <a:pt x="41702" y="119060"/>
                  </a:cubicBezTo>
                  <a:cubicBezTo>
                    <a:pt x="42978" y="118903"/>
                    <a:pt x="42978" y="118903"/>
                    <a:pt x="42978" y="118903"/>
                  </a:cubicBezTo>
                  <a:cubicBezTo>
                    <a:pt x="44680" y="118746"/>
                    <a:pt x="44680" y="118746"/>
                    <a:pt x="44680" y="118746"/>
                  </a:cubicBezTo>
                  <a:cubicBezTo>
                    <a:pt x="44680" y="118746"/>
                    <a:pt x="44255" y="118433"/>
                    <a:pt x="44680" y="118433"/>
                  </a:cubicBezTo>
                  <a:cubicBezTo>
                    <a:pt x="45106" y="118433"/>
                    <a:pt x="46382" y="118433"/>
                    <a:pt x="46382" y="118433"/>
                  </a:cubicBezTo>
                  <a:cubicBezTo>
                    <a:pt x="46382" y="118433"/>
                    <a:pt x="46808" y="118746"/>
                    <a:pt x="47234" y="118746"/>
                  </a:cubicBezTo>
                  <a:cubicBezTo>
                    <a:pt x="47234" y="118746"/>
                    <a:pt x="48085" y="118433"/>
                    <a:pt x="47659" y="118276"/>
                  </a:cubicBezTo>
                  <a:cubicBezTo>
                    <a:pt x="47234" y="118120"/>
                    <a:pt x="45531" y="117806"/>
                    <a:pt x="45531" y="117806"/>
                  </a:cubicBezTo>
                  <a:cubicBezTo>
                    <a:pt x="45531" y="117806"/>
                    <a:pt x="44680" y="117336"/>
                    <a:pt x="44680" y="117180"/>
                  </a:cubicBezTo>
                  <a:cubicBezTo>
                    <a:pt x="44255" y="117023"/>
                    <a:pt x="44255" y="116553"/>
                    <a:pt x="43829" y="116396"/>
                  </a:cubicBezTo>
                  <a:cubicBezTo>
                    <a:pt x="43404" y="116396"/>
                    <a:pt x="42978" y="116240"/>
                    <a:pt x="42978" y="115926"/>
                  </a:cubicBezTo>
                  <a:cubicBezTo>
                    <a:pt x="43404" y="115456"/>
                    <a:pt x="43404" y="115300"/>
                    <a:pt x="43404" y="115300"/>
                  </a:cubicBezTo>
                  <a:cubicBezTo>
                    <a:pt x="43404" y="115143"/>
                    <a:pt x="43404" y="114516"/>
                    <a:pt x="43404" y="114516"/>
                  </a:cubicBezTo>
                  <a:cubicBezTo>
                    <a:pt x="43404" y="114516"/>
                    <a:pt x="42978" y="114203"/>
                    <a:pt x="44255" y="113890"/>
                  </a:cubicBezTo>
                  <a:cubicBezTo>
                    <a:pt x="45531" y="113577"/>
                    <a:pt x="45531" y="113263"/>
                    <a:pt x="45957" y="113420"/>
                  </a:cubicBezTo>
                  <a:cubicBezTo>
                    <a:pt x="46382" y="113577"/>
                    <a:pt x="47234" y="113890"/>
                    <a:pt x="47659" y="113890"/>
                  </a:cubicBezTo>
                  <a:cubicBezTo>
                    <a:pt x="47659" y="114046"/>
                    <a:pt x="48085" y="114046"/>
                    <a:pt x="48510" y="114203"/>
                  </a:cubicBezTo>
                  <a:cubicBezTo>
                    <a:pt x="48510" y="114360"/>
                    <a:pt x="48085" y="114516"/>
                    <a:pt x="48936" y="114516"/>
                  </a:cubicBezTo>
                  <a:cubicBezTo>
                    <a:pt x="49361" y="114516"/>
                    <a:pt x="50212" y="114516"/>
                    <a:pt x="50212" y="114516"/>
                  </a:cubicBezTo>
                  <a:cubicBezTo>
                    <a:pt x="50212" y="114516"/>
                    <a:pt x="50638" y="114516"/>
                    <a:pt x="50638" y="114360"/>
                  </a:cubicBezTo>
                  <a:cubicBezTo>
                    <a:pt x="50638" y="114203"/>
                    <a:pt x="50638" y="113733"/>
                    <a:pt x="50212" y="113733"/>
                  </a:cubicBezTo>
                  <a:cubicBezTo>
                    <a:pt x="49787" y="113577"/>
                    <a:pt x="49361" y="113420"/>
                    <a:pt x="49361" y="113420"/>
                  </a:cubicBezTo>
                  <a:cubicBezTo>
                    <a:pt x="49361" y="113420"/>
                    <a:pt x="50212" y="113263"/>
                    <a:pt x="48936" y="113107"/>
                  </a:cubicBezTo>
                  <a:cubicBezTo>
                    <a:pt x="47659" y="112793"/>
                    <a:pt x="47659" y="112637"/>
                    <a:pt x="48085" y="112480"/>
                  </a:cubicBezTo>
                  <a:cubicBezTo>
                    <a:pt x="48936" y="112323"/>
                    <a:pt x="50638" y="112480"/>
                    <a:pt x="50638" y="112480"/>
                  </a:cubicBezTo>
                  <a:cubicBezTo>
                    <a:pt x="51914" y="112323"/>
                    <a:pt x="51914" y="112323"/>
                    <a:pt x="51914" y="112323"/>
                  </a:cubicBezTo>
                  <a:cubicBezTo>
                    <a:pt x="51914" y="112323"/>
                    <a:pt x="52765" y="112010"/>
                    <a:pt x="53617" y="112167"/>
                  </a:cubicBezTo>
                  <a:cubicBezTo>
                    <a:pt x="54042" y="112323"/>
                    <a:pt x="55744" y="112167"/>
                    <a:pt x="55744" y="112167"/>
                  </a:cubicBezTo>
                  <a:cubicBezTo>
                    <a:pt x="57872" y="112323"/>
                    <a:pt x="57872" y="112323"/>
                    <a:pt x="57872" y="112323"/>
                  </a:cubicBezTo>
                  <a:cubicBezTo>
                    <a:pt x="58723" y="112010"/>
                    <a:pt x="58723" y="112010"/>
                    <a:pt x="58723" y="112010"/>
                  </a:cubicBezTo>
                  <a:cubicBezTo>
                    <a:pt x="60851" y="112323"/>
                    <a:pt x="60851" y="112323"/>
                    <a:pt x="60851" y="112323"/>
                  </a:cubicBezTo>
                  <a:cubicBezTo>
                    <a:pt x="60851" y="112323"/>
                    <a:pt x="60425" y="112323"/>
                    <a:pt x="61702" y="112480"/>
                  </a:cubicBezTo>
                  <a:cubicBezTo>
                    <a:pt x="62553" y="112480"/>
                    <a:pt x="63829" y="112167"/>
                    <a:pt x="63829" y="112010"/>
                  </a:cubicBezTo>
                  <a:cubicBezTo>
                    <a:pt x="64255" y="112010"/>
                    <a:pt x="65957" y="110913"/>
                    <a:pt x="65957" y="110913"/>
                  </a:cubicBezTo>
                  <a:cubicBezTo>
                    <a:pt x="67234" y="107780"/>
                    <a:pt x="67234" y="107780"/>
                    <a:pt x="67234" y="107780"/>
                  </a:cubicBezTo>
                  <a:cubicBezTo>
                    <a:pt x="67234" y="107780"/>
                    <a:pt x="68936" y="107310"/>
                    <a:pt x="68510" y="107310"/>
                  </a:cubicBezTo>
                  <a:cubicBezTo>
                    <a:pt x="68510" y="107154"/>
                    <a:pt x="68510" y="106057"/>
                    <a:pt x="68510" y="105900"/>
                  </a:cubicBezTo>
                  <a:cubicBezTo>
                    <a:pt x="68510" y="105744"/>
                    <a:pt x="69361" y="104647"/>
                    <a:pt x="69361" y="104647"/>
                  </a:cubicBezTo>
                  <a:cubicBezTo>
                    <a:pt x="69361" y="104647"/>
                    <a:pt x="71063" y="104177"/>
                    <a:pt x="70212" y="103707"/>
                  </a:cubicBezTo>
                  <a:cubicBezTo>
                    <a:pt x="69787" y="103237"/>
                    <a:pt x="69361" y="102454"/>
                    <a:pt x="69361" y="102454"/>
                  </a:cubicBezTo>
                  <a:cubicBezTo>
                    <a:pt x="69361" y="102454"/>
                    <a:pt x="68936" y="101671"/>
                    <a:pt x="68936" y="101514"/>
                  </a:cubicBezTo>
                  <a:cubicBezTo>
                    <a:pt x="68936" y="101357"/>
                    <a:pt x="70638" y="100574"/>
                    <a:pt x="70638" y="100574"/>
                  </a:cubicBezTo>
                  <a:cubicBezTo>
                    <a:pt x="69361" y="99164"/>
                    <a:pt x="69361" y="99164"/>
                    <a:pt x="69361" y="99164"/>
                  </a:cubicBezTo>
                  <a:cubicBezTo>
                    <a:pt x="69361" y="99164"/>
                    <a:pt x="70212" y="98694"/>
                    <a:pt x="70212" y="98537"/>
                  </a:cubicBezTo>
                  <a:cubicBezTo>
                    <a:pt x="70212" y="98381"/>
                    <a:pt x="69361" y="96971"/>
                    <a:pt x="69361" y="96971"/>
                  </a:cubicBezTo>
                  <a:cubicBezTo>
                    <a:pt x="69361" y="96657"/>
                    <a:pt x="69361" y="96657"/>
                    <a:pt x="69361" y="96657"/>
                  </a:cubicBezTo>
                  <a:cubicBezTo>
                    <a:pt x="69361" y="96657"/>
                    <a:pt x="70638" y="95874"/>
                    <a:pt x="70212" y="95718"/>
                  </a:cubicBezTo>
                  <a:cubicBezTo>
                    <a:pt x="70212" y="95561"/>
                    <a:pt x="70212" y="94778"/>
                    <a:pt x="70212" y="94778"/>
                  </a:cubicBezTo>
                  <a:cubicBezTo>
                    <a:pt x="69361" y="93838"/>
                    <a:pt x="69361" y="93838"/>
                    <a:pt x="69361" y="93838"/>
                  </a:cubicBezTo>
                  <a:cubicBezTo>
                    <a:pt x="69361" y="93838"/>
                    <a:pt x="70212" y="93681"/>
                    <a:pt x="69787" y="93524"/>
                  </a:cubicBezTo>
                  <a:cubicBezTo>
                    <a:pt x="69361" y="93211"/>
                    <a:pt x="68936" y="93054"/>
                    <a:pt x="68936" y="93054"/>
                  </a:cubicBezTo>
                  <a:cubicBezTo>
                    <a:pt x="68936" y="92741"/>
                    <a:pt x="68936" y="92741"/>
                    <a:pt x="68936" y="92741"/>
                  </a:cubicBezTo>
                  <a:cubicBezTo>
                    <a:pt x="69361" y="92428"/>
                    <a:pt x="69361" y="92428"/>
                    <a:pt x="69361" y="92428"/>
                  </a:cubicBezTo>
                  <a:cubicBezTo>
                    <a:pt x="70212" y="92114"/>
                    <a:pt x="70212" y="92114"/>
                    <a:pt x="70212" y="92114"/>
                  </a:cubicBezTo>
                  <a:cubicBezTo>
                    <a:pt x="69787" y="91174"/>
                    <a:pt x="69787" y="91174"/>
                    <a:pt x="69787" y="91174"/>
                  </a:cubicBezTo>
                  <a:cubicBezTo>
                    <a:pt x="68085" y="91018"/>
                    <a:pt x="68085" y="91018"/>
                    <a:pt x="68085" y="91018"/>
                  </a:cubicBezTo>
                  <a:cubicBezTo>
                    <a:pt x="68085" y="91018"/>
                    <a:pt x="68085" y="90704"/>
                    <a:pt x="68510" y="90704"/>
                  </a:cubicBezTo>
                  <a:cubicBezTo>
                    <a:pt x="69361" y="90548"/>
                    <a:pt x="72340" y="90078"/>
                    <a:pt x="72340" y="90078"/>
                  </a:cubicBezTo>
                  <a:cubicBezTo>
                    <a:pt x="72340" y="90078"/>
                    <a:pt x="73191" y="89608"/>
                    <a:pt x="73617" y="89608"/>
                  </a:cubicBezTo>
                  <a:cubicBezTo>
                    <a:pt x="73617" y="89451"/>
                    <a:pt x="77021" y="88668"/>
                    <a:pt x="77021" y="88668"/>
                  </a:cubicBezTo>
                  <a:cubicBezTo>
                    <a:pt x="77021" y="88668"/>
                    <a:pt x="77021" y="88198"/>
                    <a:pt x="77021" y="88041"/>
                  </a:cubicBezTo>
                  <a:cubicBezTo>
                    <a:pt x="77446" y="88041"/>
                    <a:pt x="77446" y="87885"/>
                    <a:pt x="77446" y="87571"/>
                  </a:cubicBezTo>
                  <a:cubicBezTo>
                    <a:pt x="77872" y="87571"/>
                    <a:pt x="77021" y="86161"/>
                    <a:pt x="77021" y="85691"/>
                  </a:cubicBezTo>
                  <a:cubicBezTo>
                    <a:pt x="77446" y="85378"/>
                    <a:pt x="78297" y="86005"/>
                    <a:pt x="78297" y="86005"/>
                  </a:cubicBezTo>
                  <a:cubicBezTo>
                    <a:pt x="78723" y="86475"/>
                    <a:pt x="78723" y="86475"/>
                    <a:pt x="78723" y="86475"/>
                  </a:cubicBezTo>
                  <a:cubicBezTo>
                    <a:pt x="78723" y="87415"/>
                    <a:pt x="78723" y="87415"/>
                    <a:pt x="78723" y="87415"/>
                  </a:cubicBezTo>
                  <a:cubicBezTo>
                    <a:pt x="80000" y="87571"/>
                    <a:pt x="80000" y="87571"/>
                    <a:pt x="80000" y="87571"/>
                  </a:cubicBezTo>
                  <a:cubicBezTo>
                    <a:pt x="80425" y="88041"/>
                    <a:pt x="80425" y="88041"/>
                    <a:pt x="80425" y="88041"/>
                  </a:cubicBezTo>
                  <a:cubicBezTo>
                    <a:pt x="80425" y="88041"/>
                    <a:pt x="80000" y="88511"/>
                    <a:pt x="80425" y="88511"/>
                  </a:cubicBezTo>
                  <a:cubicBezTo>
                    <a:pt x="80851" y="88355"/>
                    <a:pt x="80851" y="88355"/>
                    <a:pt x="80851" y="88355"/>
                  </a:cubicBezTo>
                  <a:cubicBezTo>
                    <a:pt x="81276" y="87415"/>
                    <a:pt x="81276" y="87415"/>
                    <a:pt x="81276" y="87415"/>
                  </a:cubicBezTo>
                  <a:cubicBezTo>
                    <a:pt x="81276" y="87415"/>
                    <a:pt x="82978" y="87415"/>
                    <a:pt x="82553" y="87101"/>
                  </a:cubicBezTo>
                  <a:cubicBezTo>
                    <a:pt x="82553" y="86945"/>
                    <a:pt x="82127" y="86631"/>
                    <a:pt x="82553" y="86631"/>
                  </a:cubicBezTo>
                  <a:cubicBezTo>
                    <a:pt x="85106" y="86475"/>
                    <a:pt x="84255" y="86475"/>
                    <a:pt x="85531" y="86161"/>
                  </a:cubicBezTo>
                  <a:cubicBezTo>
                    <a:pt x="85531" y="86161"/>
                    <a:pt x="86382" y="85535"/>
                    <a:pt x="86382" y="85535"/>
                  </a:cubicBezTo>
                  <a:cubicBezTo>
                    <a:pt x="86382" y="85378"/>
                    <a:pt x="86808" y="85065"/>
                    <a:pt x="86808" y="85065"/>
                  </a:cubicBezTo>
                  <a:cubicBezTo>
                    <a:pt x="85957" y="84908"/>
                    <a:pt x="85957" y="84908"/>
                    <a:pt x="85957" y="84908"/>
                  </a:cubicBezTo>
                  <a:cubicBezTo>
                    <a:pt x="85531" y="84438"/>
                    <a:pt x="85531" y="84438"/>
                    <a:pt x="85531" y="84438"/>
                  </a:cubicBezTo>
                  <a:cubicBezTo>
                    <a:pt x="85531" y="84438"/>
                    <a:pt x="85957" y="84125"/>
                    <a:pt x="86382" y="84281"/>
                  </a:cubicBezTo>
                  <a:cubicBezTo>
                    <a:pt x="86382" y="84438"/>
                    <a:pt x="86808" y="84751"/>
                    <a:pt x="87234" y="84751"/>
                  </a:cubicBezTo>
                  <a:cubicBezTo>
                    <a:pt x="87659" y="84751"/>
                    <a:pt x="88936" y="84281"/>
                    <a:pt x="88936" y="84281"/>
                  </a:cubicBezTo>
                  <a:cubicBezTo>
                    <a:pt x="88936" y="83812"/>
                    <a:pt x="85957" y="83185"/>
                    <a:pt x="85106" y="83028"/>
                  </a:cubicBezTo>
                  <a:cubicBezTo>
                    <a:pt x="85106" y="82402"/>
                    <a:pt x="89361" y="81618"/>
                    <a:pt x="89361" y="81462"/>
                  </a:cubicBezTo>
                  <a:cubicBezTo>
                    <a:pt x="89787" y="81305"/>
                    <a:pt x="89787" y="81305"/>
                    <a:pt x="89787" y="81148"/>
                  </a:cubicBezTo>
                  <a:cubicBezTo>
                    <a:pt x="89787" y="80992"/>
                    <a:pt x="89361" y="80835"/>
                    <a:pt x="88936" y="80992"/>
                  </a:cubicBezTo>
                  <a:cubicBezTo>
                    <a:pt x="88936" y="80992"/>
                    <a:pt x="88510" y="81305"/>
                    <a:pt x="88085" y="81305"/>
                  </a:cubicBezTo>
                  <a:cubicBezTo>
                    <a:pt x="88085" y="81305"/>
                    <a:pt x="87234" y="81305"/>
                    <a:pt x="87234" y="81305"/>
                  </a:cubicBezTo>
                  <a:cubicBezTo>
                    <a:pt x="87234" y="81305"/>
                    <a:pt x="86808" y="80992"/>
                    <a:pt x="87234" y="80835"/>
                  </a:cubicBezTo>
                  <a:cubicBezTo>
                    <a:pt x="87659" y="80678"/>
                    <a:pt x="87234" y="80678"/>
                    <a:pt x="88085" y="80522"/>
                  </a:cubicBezTo>
                  <a:cubicBezTo>
                    <a:pt x="88510" y="80365"/>
                    <a:pt x="88936" y="80365"/>
                    <a:pt x="89361" y="80365"/>
                  </a:cubicBezTo>
                  <a:cubicBezTo>
                    <a:pt x="89361" y="80208"/>
                    <a:pt x="89787" y="80052"/>
                    <a:pt x="90212" y="80052"/>
                  </a:cubicBezTo>
                  <a:cubicBezTo>
                    <a:pt x="90638" y="80052"/>
                    <a:pt x="92765" y="79582"/>
                    <a:pt x="92765" y="79582"/>
                  </a:cubicBezTo>
                  <a:cubicBezTo>
                    <a:pt x="93191" y="79268"/>
                    <a:pt x="93191" y="79268"/>
                    <a:pt x="93191" y="79268"/>
                  </a:cubicBezTo>
                  <a:cubicBezTo>
                    <a:pt x="93191" y="79268"/>
                    <a:pt x="91914" y="78798"/>
                    <a:pt x="91914" y="78798"/>
                  </a:cubicBezTo>
                  <a:cubicBezTo>
                    <a:pt x="91914" y="78798"/>
                    <a:pt x="89787" y="78172"/>
                    <a:pt x="89787" y="78172"/>
                  </a:cubicBezTo>
                  <a:cubicBezTo>
                    <a:pt x="89787" y="78172"/>
                    <a:pt x="88936" y="78172"/>
                    <a:pt x="88936" y="78015"/>
                  </a:cubicBezTo>
                  <a:cubicBezTo>
                    <a:pt x="88936" y="78015"/>
                    <a:pt x="88085" y="77702"/>
                    <a:pt x="88085" y="77702"/>
                  </a:cubicBezTo>
                  <a:cubicBezTo>
                    <a:pt x="87234" y="76919"/>
                    <a:pt x="86382" y="77545"/>
                    <a:pt x="84680" y="77232"/>
                  </a:cubicBezTo>
                  <a:cubicBezTo>
                    <a:pt x="84680" y="77232"/>
                    <a:pt x="83829" y="76605"/>
                    <a:pt x="83829" y="76605"/>
                  </a:cubicBezTo>
                  <a:cubicBezTo>
                    <a:pt x="83829" y="76605"/>
                    <a:pt x="84680" y="76605"/>
                    <a:pt x="84680" y="76449"/>
                  </a:cubicBezTo>
                  <a:cubicBezTo>
                    <a:pt x="84680" y="76135"/>
                    <a:pt x="83829" y="75822"/>
                    <a:pt x="83829" y="75822"/>
                  </a:cubicBezTo>
                  <a:cubicBezTo>
                    <a:pt x="82978" y="75509"/>
                    <a:pt x="82978" y="75509"/>
                    <a:pt x="82978" y="75509"/>
                  </a:cubicBezTo>
                  <a:cubicBezTo>
                    <a:pt x="81276" y="74882"/>
                    <a:pt x="81702" y="76292"/>
                    <a:pt x="80425" y="75039"/>
                  </a:cubicBezTo>
                  <a:cubicBezTo>
                    <a:pt x="80425" y="75039"/>
                    <a:pt x="80000" y="75039"/>
                    <a:pt x="79574" y="74725"/>
                  </a:cubicBezTo>
                  <a:cubicBezTo>
                    <a:pt x="79148" y="74569"/>
                    <a:pt x="77872" y="74099"/>
                    <a:pt x="77872" y="74099"/>
                  </a:cubicBezTo>
                  <a:cubicBezTo>
                    <a:pt x="77872" y="74099"/>
                    <a:pt x="77446" y="73629"/>
                    <a:pt x="77446" y="73629"/>
                  </a:cubicBezTo>
                  <a:cubicBezTo>
                    <a:pt x="77021" y="73629"/>
                    <a:pt x="76595" y="73159"/>
                    <a:pt x="76595" y="73159"/>
                  </a:cubicBezTo>
                  <a:cubicBezTo>
                    <a:pt x="74468" y="73629"/>
                    <a:pt x="74468" y="73629"/>
                    <a:pt x="74468" y="73629"/>
                  </a:cubicBezTo>
                  <a:cubicBezTo>
                    <a:pt x="73191" y="74099"/>
                    <a:pt x="73191" y="74099"/>
                    <a:pt x="73191" y="74099"/>
                  </a:cubicBezTo>
                  <a:cubicBezTo>
                    <a:pt x="73191" y="74099"/>
                    <a:pt x="72765" y="73785"/>
                    <a:pt x="72765" y="73785"/>
                  </a:cubicBezTo>
                  <a:cubicBezTo>
                    <a:pt x="72765" y="73785"/>
                    <a:pt x="72765" y="73159"/>
                    <a:pt x="72765" y="73159"/>
                  </a:cubicBezTo>
                  <a:cubicBezTo>
                    <a:pt x="72765" y="73159"/>
                    <a:pt x="71489" y="73002"/>
                    <a:pt x="71063" y="73002"/>
                  </a:cubicBezTo>
                  <a:cubicBezTo>
                    <a:pt x="71063" y="73002"/>
                    <a:pt x="69787" y="73002"/>
                    <a:pt x="69787" y="73002"/>
                  </a:cubicBezTo>
                  <a:cubicBezTo>
                    <a:pt x="68085" y="72845"/>
                    <a:pt x="68085" y="72845"/>
                    <a:pt x="68085" y="72845"/>
                  </a:cubicBezTo>
                  <a:cubicBezTo>
                    <a:pt x="68085" y="72375"/>
                    <a:pt x="68085" y="72375"/>
                    <a:pt x="68085" y="72375"/>
                  </a:cubicBezTo>
                  <a:cubicBezTo>
                    <a:pt x="68085" y="72375"/>
                    <a:pt x="68936" y="72062"/>
                    <a:pt x="68510" y="71906"/>
                  </a:cubicBezTo>
                  <a:cubicBezTo>
                    <a:pt x="68510" y="71749"/>
                    <a:pt x="67234" y="71436"/>
                    <a:pt x="67234" y="71436"/>
                  </a:cubicBezTo>
                  <a:cubicBezTo>
                    <a:pt x="67234" y="71122"/>
                    <a:pt x="67234" y="71122"/>
                    <a:pt x="67234" y="71122"/>
                  </a:cubicBezTo>
                  <a:cubicBezTo>
                    <a:pt x="65957" y="70496"/>
                    <a:pt x="65957" y="70496"/>
                    <a:pt x="65957" y="70496"/>
                  </a:cubicBezTo>
                  <a:cubicBezTo>
                    <a:pt x="65957" y="70496"/>
                    <a:pt x="66808" y="70026"/>
                    <a:pt x="66808" y="70026"/>
                  </a:cubicBezTo>
                  <a:cubicBezTo>
                    <a:pt x="66808" y="69869"/>
                    <a:pt x="65106" y="68459"/>
                    <a:pt x="65106" y="68459"/>
                  </a:cubicBezTo>
                  <a:cubicBezTo>
                    <a:pt x="65106" y="68459"/>
                    <a:pt x="65957" y="67832"/>
                    <a:pt x="65957" y="67676"/>
                  </a:cubicBezTo>
                  <a:cubicBezTo>
                    <a:pt x="65957" y="67676"/>
                    <a:pt x="65106" y="67049"/>
                    <a:pt x="65106" y="67049"/>
                  </a:cubicBezTo>
                  <a:cubicBezTo>
                    <a:pt x="64255" y="67049"/>
                    <a:pt x="64255" y="67049"/>
                    <a:pt x="64255" y="67049"/>
                  </a:cubicBezTo>
                  <a:cubicBezTo>
                    <a:pt x="64255" y="66422"/>
                    <a:pt x="64255" y="66422"/>
                    <a:pt x="64255" y="66422"/>
                  </a:cubicBezTo>
                  <a:cubicBezTo>
                    <a:pt x="64680" y="65953"/>
                    <a:pt x="64680" y="65953"/>
                    <a:pt x="64680" y="65953"/>
                  </a:cubicBezTo>
                  <a:cubicBezTo>
                    <a:pt x="63829" y="65639"/>
                    <a:pt x="63829" y="65639"/>
                    <a:pt x="63829" y="65639"/>
                  </a:cubicBezTo>
                  <a:cubicBezTo>
                    <a:pt x="63829" y="65639"/>
                    <a:pt x="64255" y="65326"/>
                    <a:pt x="64680" y="65326"/>
                  </a:cubicBezTo>
                  <a:cubicBezTo>
                    <a:pt x="64680" y="65326"/>
                    <a:pt x="64680" y="64699"/>
                    <a:pt x="64680" y="64699"/>
                  </a:cubicBezTo>
                  <a:cubicBezTo>
                    <a:pt x="64680" y="64699"/>
                    <a:pt x="65106" y="64386"/>
                    <a:pt x="65531" y="64386"/>
                  </a:cubicBezTo>
                  <a:cubicBezTo>
                    <a:pt x="65531" y="64386"/>
                    <a:pt x="66808" y="64699"/>
                    <a:pt x="66808" y="64699"/>
                  </a:cubicBezTo>
                  <a:cubicBezTo>
                    <a:pt x="66808" y="64699"/>
                    <a:pt x="68085" y="64856"/>
                    <a:pt x="68085" y="64699"/>
                  </a:cubicBezTo>
                  <a:cubicBezTo>
                    <a:pt x="68085" y="64699"/>
                    <a:pt x="67659" y="64229"/>
                    <a:pt x="67659" y="64229"/>
                  </a:cubicBezTo>
                  <a:cubicBezTo>
                    <a:pt x="67659" y="64073"/>
                    <a:pt x="66808" y="63759"/>
                    <a:pt x="66808" y="63759"/>
                  </a:cubicBezTo>
                  <a:cubicBezTo>
                    <a:pt x="66382" y="63603"/>
                    <a:pt x="66382" y="62819"/>
                    <a:pt x="66382" y="62819"/>
                  </a:cubicBezTo>
                  <a:cubicBezTo>
                    <a:pt x="66382" y="62819"/>
                    <a:pt x="65531" y="62193"/>
                    <a:pt x="65957" y="62193"/>
                  </a:cubicBezTo>
                  <a:cubicBezTo>
                    <a:pt x="65957" y="62193"/>
                    <a:pt x="66382" y="61879"/>
                    <a:pt x="66382" y="61879"/>
                  </a:cubicBezTo>
                  <a:cubicBezTo>
                    <a:pt x="66808" y="60783"/>
                    <a:pt x="66808" y="60783"/>
                    <a:pt x="66808" y="60783"/>
                  </a:cubicBezTo>
                  <a:cubicBezTo>
                    <a:pt x="67234" y="59843"/>
                    <a:pt x="67234" y="59843"/>
                    <a:pt x="67234" y="59843"/>
                  </a:cubicBezTo>
                  <a:cubicBezTo>
                    <a:pt x="65957" y="59373"/>
                    <a:pt x="65957" y="59373"/>
                    <a:pt x="65957" y="59373"/>
                  </a:cubicBezTo>
                  <a:cubicBezTo>
                    <a:pt x="65531" y="59060"/>
                    <a:pt x="65531" y="59060"/>
                    <a:pt x="65531" y="59060"/>
                  </a:cubicBezTo>
                  <a:cubicBezTo>
                    <a:pt x="64680" y="58746"/>
                    <a:pt x="64680" y="58746"/>
                    <a:pt x="64680" y="58746"/>
                  </a:cubicBezTo>
                  <a:cubicBezTo>
                    <a:pt x="65531" y="57806"/>
                    <a:pt x="65531" y="57806"/>
                    <a:pt x="65531" y="57806"/>
                  </a:cubicBezTo>
                  <a:cubicBezTo>
                    <a:pt x="67234" y="57806"/>
                    <a:pt x="67234" y="57806"/>
                    <a:pt x="67234" y="57806"/>
                  </a:cubicBezTo>
                  <a:cubicBezTo>
                    <a:pt x="68085" y="57336"/>
                    <a:pt x="68085" y="57336"/>
                    <a:pt x="68085" y="57336"/>
                  </a:cubicBezTo>
                  <a:cubicBezTo>
                    <a:pt x="68085" y="57336"/>
                    <a:pt x="69361" y="57023"/>
                    <a:pt x="69361" y="56866"/>
                  </a:cubicBezTo>
                  <a:cubicBezTo>
                    <a:pt x="69361" y="56866"/>
                    <a:pt x="69787" y="56240"/>
                    <a:pt x="69787" y="56240"/>
                  </a:cubicBezTo>
                  <a:cubicBezTo>
                    <a:pt x="69361" y="55770"/>
                    <a:pt x="69361" y="55770"/>
                    <a:pt x="69361" y="55770"/>
                  </a:cubicBezTo>
                  <a:cubicBezTo>
                    <a:pt x="70212" y="55926"/>
                    <a:pt x="70212" y="55926"/>
                    <a:pt x="70212" y="55926"/>
                  </a:cubicBezTo>
                  <a:cubicBezTo>
                    <a:pt x="70212" y="55456"/>
                    <a:pt x="70212" y="55456"/>
                    <a:pt x="70212" y="55456"/>
                  </a:cubicBezTo>
                  <a:cubicBezTo>
                    <a:pt x="70212" y="55456"/>
                    <a:pt x="70638" y="54986"/>
                    <a:pt x="70638" y="54986"/>
                  </a:cubicBezTo>
                  <a:cubicBezTo>
                    <a:pt x="71063" y="54986"/>
                    <a:pt x="71489" y="54830"/>
                    <a:pt x="71489" y="54830"/>
                  </a:cubicBezTo>
                  <a:cubicBezTo>
                    <a:pt x="71489" y="54830"/>
                    <a:pt x="72340" y="54203"/>
                    <a:pt x="72340" y="54203"/>
                  </a:cubicBezTo>
                  <a:cubicBezTo>
                    <a:pt x="72340" y="54203"/>
                    <a:pt x="72765" y="54360"/>
                    <a:pt x="73191" y="54203"/>
                  </a:cubicBezTo>
                  <a:cubicBezTo>
                    <a:pt x="73617" y="54046"/>
                    <a:pt x="73617" y="54046"/>
                    <a:pt x="73617" y="53890"/>
                  </a:cubicBezTo>
                  <a:cubicBezTo>
                    <a:pt x="74042" y="53577"/>
                    <a:pt x="74893" y="52950"/>
                    <a:pt x="74893" y="52950"/>
                  </a:cubicBezTo>
                  <a:cubicBezTo>
                    <a:pt x="74893" y="52950"/>
                    <a:pt x="74893" y="52793"/>
                    <a:pt x="74893" y="52637"/>
                  </a:cubicBezTo>
                  <a:cubicBezTo>
                    <a:pt x="75319" y="52637"/>
                    <a:pt x="76170" y="52637"/>
                    <a:pt x="76170" y="52480"/>
                  </a:cubicBezTo>
                  <a:cubicBezTo>
                    <a:pt x="75744" y="52323"/>
                    <a:pt x="74893" y="51853"/>
                    <a:pt x="74893" y="51853"/>
                  </a:cubicBezTo>
                  <a:cubicBezTo>
                    <a:pt x="76170" y="51383"/>
                    <a:pt x="76170" y="51383"/>
                    <a:pt x="76170" y="51383"/>
                  </a:cubicBezTo>
                  <a:cubicBezTo>
                    <a:pt x="76170" y="51383"/>
                    <a:pt x="77446" y="50913"/>
                    <a:pt x="77446" y="50913"/>
                  </a:cubicBezTo>
                  <a:cubicBezTo>
                    <a:pt x="77446" y="51070"/>
                    <a:pt x="77872" y="51070"/>
                    <a:pt x="78297" y="50913"/>
                  </a:cubicBezTo>
                  <a:cubicBezTo>
                    <a:pt x="78297" y="50913"/>
                    <a:pt x="78723" y="50757"/>
                    <a:pt x="79148" y="50600"/>
                  </a:cubicBezTo>
                  <a:cubicBezTo>
                    <a:pt x="79148" y="50600"/>
                    <a:pt x="79574" y="50443"/>
                    <a:pt x="80000" y="50443"/>
                  </a:cubicBezTo>
                  <a:cubicBezTo>
                    <a:pt x="80000" y="50287"/>
                    <a:pt x="80425" y="49973"/>
                    <a:pt x="80425" y="49817"/>
                  </a:cubicBezTo>
                  <a:cubicBezTo>
                    <a:pt x="80425" y="49817"/>
                    <a:pt x="81276" y="49033"/>
                    <a:pt x="81276" y="49033"/>
                  </a:cubicBezTo>
                  <a:cubicBezTo>
                    <a:pt x="81276" y="48563"/>
                    <a:pt x="81276" y="48563"/>
                    <a:pt x="81276" y="48563"/>
                  </a:cubicBezTo>
                  <a:cubicBezTo>
                    <a:pt x="81702" y="48407"/>
                    <a:pt x="81702" y="48407"/>
                    <a:pt x="81702" y="48407"/>
                  </a:cubicBezTo>
                  <a:cubicBezTo>
                    <a:pt x="82553" y="48093"/>
                    <a:pt x="82553" y="48093"/>
                    <a:pt x="82553" y="48093"/>
                  </a:cubicBezTo>
                  <a:cubicBezTo>
                    <a:pt x="82553" y="48093"/>
                    <a:pt x="83404" y="47937"/>
                    <a:pt x="83404" y="48093"/>
                  </a:cubicBezTo>
                  <a:cubicBezTo>
                    <a:pt x="83404" y="48093"/>
                    <a:pt x="82978" y="48407"/>
                    <a:pt x="82978" y="48407"/>
                  </a:cubicBezTo>
                  <a:cubicBezTo>
                    <a:pt x="84255" y="48407"/>
                    <a:pt x="84255" y="48407"/>
                    <a:pt x="84255" y="48407"/>
                  </a:cubicBezTo>
                  <a:cubicBezTo>
                    <a:pt x="84255" y="48407"/>
                    <a:pt x="84255" y="48093"/>
                    <a:pt x="84255" y="48250"/>
                  </a:cubicBezTo>
                  <a:cubicBezTo>
                    <a:pt x="84680" y="48250"/>
                    <a:pt x="85106" y="48407"/>
                    <a:pt x="85106" y="48407"/>
                  </a:cubicBezTo>
                  <a:cubicBezTo>
                    <a:pt x="85106" y="48250"/>
                    <a:pt x="85531" y="47937"/>
                    <a:pt x="85531" y="47937"/>
                  </a:cubicBezTo>
                  <a:cubicBezTo>
                    <a:pt x="85531" y="47467"/>
                    <a:pt x="85531" y="47467"/>
                    <a:pt x="85531" y="47467"/>
                  </a:cubicBezTo>
                  <a:cubicBezTo>
                    <a:pt x="85531" y="47467"/>
                    <a:pt x="86382" y="47154"/>
                    <a:pt x="86808" y="46997"/>
                  </a:cubicBezTo>
                  <a:cubicBezTo>
                    <a:pt x="86808" y="46840"/>
                    <a:pt x="88085" y="46370"/>
                    <a:pt x="88085" y="46370"/>
                  </a:cubicBezTo>
                  <a:cubicBezTo>
                    <a:pt x="89361" y="46214"/>
                    <a:pt x="89361" y="46214"/>
                    <a:pt x="89361" y="46214"/>
                  </a:cubicBezTo>
                  <a:cubicBezTo>
                    <a:pt x="89361" y="46214"/>
                    <a:pt x="89787" y="46057"/>
                    <a:pt x="90212" y="46057"/>
                  </a:cubicBezTo>
                  <a:cubicBezTo>
                    <a:pt x="90212" y="46057"/>
                    <a:pt x="91489" y="45430"/>
                    <a:pt x="91489" y="45430"/>
                  </a:cubicBezTo>
                  <a:cubicBezTo>
                    <a:pt x="91489" y="45430"/>
                    <a:pt x="91489" y="45274"/>
                    <a:pt x="91914" y="45117"/>
                  </a:cubicBezTo>
                  <a:cubicBezTo>
                    <a:pt x="91914" y="44960"/>
                    <a:pt x="92765" y="44960"/>
                    <a:pt x="92765" y="44804"/>
                  </a:cubicBezTo>
                  <a:cubicBezTo>
                    <a:pt x="93191" y="44804"/>
                    <a:pt x="94042" y="44020"/>
                    <a:pt x="94042" y="44020"/>
                  </a:cubicBezTo>
                  <a:cubicBezTo>
                    <a:pt x="94042" y="44020"/>
                    <a:pt x="94468" y="44020"/>
                    <a:pt x="94468" y="43864"/>
                  </a:cubicBezTo>
                  <a:cubicBezTo>
                    <a:pt x="94468" y="43550"/>
                    <a:pt x="94893" y="43237"/>
                    <a:pt x="94893" y="43237"/>
                  </a:cubicBezTo>
                  <a:cubicBezTo>
                    <a:pt x="95744" y="42610"/>
                    <a:pt x="95744" y="42610"/>
                    <a:pt x="95744" y="42610"/>
                  </a:cubicBezTo>
                  <a:cubicBezTo>
                    <a:pt x="95744" y="41671"/>
                    <a:pt x="95744" y="41671"/>
                    <a:pt x="95744" y="41671"/>
                  </a:cubicBezTo>
                  <a:cubicBezTo>
                    <a:pt x="96595" y="40887"/>
                    <a:pt x="96595" y="40887"/>
                    <a:pt x="96595" y="40887"/>
                  </a:cubicBezTo>
                  <a:cubicBezTo>
                    <a:pt x="96595" y="40887"/>
                    <a:pt x="97021" y="40731"/>
                    <a:pt x="97021" y="40574"/>
                  </a:cubicBezTo>
                  <a:cubicBezTo>
                    <a:pt x="97446" y="40574"/>
                    <a:pt x="97872" y="40104"/>
                    <a:pt x="97872" y="40104"/>
                  </a:cubicBezTo>
                  <a:cubicBezTo>
                    <a:pt x="97872" y="40104"/>
                    <a:pt x="99148" y="39477"/>
                    <a:pt x="99148" y="39477"/>
                  </a:cubicBezTo>
                  <a:cubicBezTo>
                    <a:pt x="99148" y="39477"/>
                    <a:pt x="99574" y="39007"/>
                    <a:pt x="99574" y="38851"/>
                  </a:cubicBezTo>
                  <a:cubicBezTo>
                    <a:pt x="100000" y="38851"/>
                    <a:pt x="100000" y="38851"/>
                    <a:pt x="100000" y="38851"/>
                  </a:cubicBezTo>
                  <a:cubicBezTo>
                    <a:pt x="100000" y="38381"/>
                    <a:pt x="100000" y="38381"/>
                    <a:pt x="100000" y="38381"/>
                  </a:cubicBezTo>
                  <a:cubicBezTo>
                    <a:pt x="99148" y="37754"/>
                    <a:pt x="99148" y="37754"/>
                    <a:pt x="99148" y="37754"/>
                  </a:cubicBezTo>
                  <a:cubicBezTo>
                    <a:pt x="97446" y="37284"/>
                    <a:pt x="97446" y="37284"/>
                    <a:pt x="97446" y="37284"/>
                  </a:cubicBezTo>
                  <a:cubicBezTo>
                    <a:pt x="96170" y="37284"/>
                    <a:pt x="96170" y="37284"/>
                    <a:pt x="96170" y="37284"/>
                  </a:cubicBezTo>
                  <a:cubicBezTo>
                    <a:pt x="95319" y="36971"/>
                    <a:pt x="95319" y="36971"/>
                    <a:pt x="95319" y="36971"/>
                  </a:cubicBezTo>
                  <a:cubicBezTo>
                    <a:pt x="95744" y="36657"/>
                    <a:pt x="95744" y="36657"/>
                    <a:pt x="95744" y="36657"/>
                  </a:cubicBezTo>
                  <a:cubicBezTo>
                    <a:pt x="94893" y="36187"/>
                    <a:pt x="94893" y="36187"/>
                    <a:pt x="94893" y="36187"/>
                  </a:cubicBezTo>
                  <a:cubicBezTo>
                    <a:pt x="94468" y="35874"/>
                    <a:pt x="94468" y="35874"/>
                    <a:pt x="94468" y="35874"/>
                  </a:cubicBezTo>
                  <a:cubicBezTo>
                    <a:pt x="93617" y="35561"/>
                    <a:pt x="93617" y="35561"/>
                    <a:pt x="93617" y="35561"/>
                  </a:cubicBezTo>
                  <a:cubicBezTo>
                    <a:pt x="93617" y="35561"/>
                    <a:pt x="94468" y="35091"/>
                    <a:pt x="94468" y="35091"/>
                  </a:cubicBezTo>
                  <a:cubicBezTo>
                    <a:pt x="94468" y="35091"/>
                    <a:pt x="94893" y="34934"/>
                    <a:pt x="94893" y="34778"/>
                  </a:cubicBezTo>
                  <a:cubicBezTo>
                    <a:pt x="94893" y="34778"/>
                    <a:pt x="95744" y="34308"/>
                    <a:pt x="95744" y="34308"/>
                  </a:cubicBezTo>
                  <a:cubicBezTo>
                    <a:pt x="95744" y="34308"/>
                    <a:pt x="96595" y="33838"/>
                    <a:pt x="96595" y="33838"/>
                  </a:cubicBezTo>
                  <a:cubicBezTo>
                    <a:pt x="96595" y="33838"/>
                    <a:pt x="97021" y="33681"/>
                    <a:pt x="97021" y="33524"/>
                  </a:cubicBezTo>
                  <a:cubicBezTo>
                    <a:pt x="97021" y="33368"/>
                    <a:pt x="96595" y="32741"/>
                    <a:pt x="96595" y="32741"/>
                  </a:cubicBezTo>
                  <a:cubicBezTo>
                    <a:pt x="96595" y="32741"/>
                    <a:pt x="96595" y="32271"/>
                    <a:pt x="97021" y="32271"/>
                  </a:cubicBezTo>
                  <a:cubicBezTo>
                    <a:pt x="97021" y="32114"/>
                    <a:pt x="97446" y="31958"/>
                    <a:pt x="97446" y="31958"/>
                  </a:cubicBezTo>
                  <a:cubicBezTo>
                    <a:pt x="97446" y="31958"/>
                    <a:pt x="97872" y="31958"/>
                    <a:pt x="98297" y="32114"/>
                  </a:cubicBezTo>
                  <a:cubicBezTo>
                    <a:pt x="98723" y="32114"/>
                    <a:pt x="98723" y="31801"/>
                    <a:pt x="98723" y="31801"/>
                  </a:cubicBezTo>
                  <a:cubicBezTo>
                    <a:pt x="98723" y="31801"/>
                    <a:pt x="98723" y="31331"/>
                    <a:pt x="98297" y="31331"/>
                  </a:cubicBezTo>
                  <a:cubicBezTo>
                    <a:pt x="97872" y="31331"/>
                    <a:pt x="97446" y="31018"/>
                    <a:pt x="97446" y="31018"/>
                  </a:cubicBezTo>
                  <a:cubicBezTo>
                    <a:pt x="97446" y="31018"/>
                    <a:pt x="97872" y="30861"/>
                    <a:pt x="97872" y="30861"/>
                  </a:cubicBezTo>
                  <a:cubicBezTo>
                    <a:pt x="97872" y="30704"/>
                    <a:pt x="98723" y="30548"/>
                    <a:pt x="98723" y="30548"/>
                  </a:cubicBezTo>
                  <a:cubicBezTo>
                    <a:pt x="100000" y="30391"/>
                    <a:pt x="100000" y="30391"/>
                    <a:pt x="100000" y="30391"/>
                  </a:cubicBezTo>
                  <a:cubicBezTo>
                    <a:pt x="99574" y="29921"/>
                    <a:pt x="99574" y="29921"/>
                    <a:pt x="99574" y="29921"/>
                  </a:cubicBezTo>
                  <a:cubicBezTo>
                    <a:pt x="99574" y="29451"/>
                    <a:pt x="99574" y="29451"/>
                    <a:pt x="99574" y="29451"/>
                  </a:cubicBezTo>
                  <a:cubicBezTo>
                    <a:pt x="99574" y="29451"/>
                    <a:pt x="101276" y="29608"/>
                    <a:pt x="101276" y="29608"/>
                  </a:cubicBezTo>
                  <a:cubicBezTo>
                    <a:pt x="101276" y="29765"/>
                    <a:pt x="101702" y="30078"/>
                    <a:pt x="102127" y="30078"/>
                  </a:cubicBezTo>
                  <a:cubicBezTo>
                    <a:pt x="102127" y="29921"/>
                    <a:pt x="102127" y="29608"/>
                    <a:pt x="102127" y="29608"/>
                  </a:cubicBezTo>
                  <a:cubicBezTo>
                    <a:pt x="102127" y="29608"/>
                    <a:pt x="102553" y="29138"/>
                    <a:pt x="102978" y="29295"/>
                  </a:cubicBezTo>
                  <a:cubicBezTo>
                    <a:pt x="103829" y="29451"/>
                    <a:pt x="104255" y="29138"/>
                    <a:pt x="104680" y="29138"/>
                  </a:cubicBezTo>
                  <a:cubicBezTo>
                    <a:pt x="104680" y="28981"/>
                    <a:pt x="105106" y="28668"/>
                    <a:pt x="105106" y="28668"/>
                  </a:cubicBezTo>
                  <a:cubicBezTo>
                    <a:pt x="105106" y="28668"/>
                    <a:pt x="105531" y="28198"/>
                    <a:pt x="105106" y="28041"/>
                  </a:cubicBezTo>
                  <a:cubicBezTo>
                    <a:pt x="104680" y="28041"/>
                    <a:pt x="104255" y="28041"/>
                    <a:pt x="104255" y="27885"/>
                  </a:cubicBezTo>
                  <a:cubicBezTo>
                    <a:pt x="104255" y="27885"/>
                    <a:pt x="104680" y="27571"/>
                    <a:pt x="105106" y="27571"/>
                  </a:cubicBezTo>
                  <a:cubicBezTo>
                    <a:pt x="105531" y="27571"/>
                    <a:pt x="105531" y="27571"/>
                    <a:pt x="106382" y="27415"/>
                  </a:cubicBezTo>
                  <a:cubicBezTo>
                    <a:pt x="106808" y="27258"/>
                    <a:pt x="106808" y="27101"/>
                    <a:pt x="106808" y="27101"/>
                  </a:cubicBezTo>
                  <a:cubicBezTo>
                    <a:pt x="106808" y="27101"/>
                    <a:pt x="108085" y="26945"/>
                    <a:pt x="108085" y="26945"/>
                  </a:cubicBezTo>
                  <a:cubicBezTo>
                    <a:pt x="109787" y="26631"/>
                    <a:pt x="109787" y="26631"/>
                    <a:pt x="109787" y="26631"/>
                  </a:cubicBezTo>
                  <a:cubicBezTo>
                    <a:pt x="109787" y="26318"/>
                    <a:pt x="109787" y="26318"/>
                    <a:pt x="109787" y="26318"/>
                  </a:cubicBezTo>
                  <a:cubicBezTo>
                    <a:pt x="109787" y="26318"/>
                    <a:pt x="110638" y="26318"/>
                    <a:pt x="110638" y="26318"/>
                  </a:cubicBezTo>
                  <a:cubicBezTo>
                    <a:pt x="111063" y="26318"/>
                    <a:pt x="111489" y="26475"/>
                    <a:pt x="111489" y="26475"/>
                  </a:cubicBezTo>
                  <a:cubicBezTo>
                    <a:pt x="111489" y="26475"/>
                    <a:pt x="112340" y="26475"/>
                    <a:pt x="112340" y="26475"/>
                  </a:cubicBezTo>
                  <a:cubicBezTo>
                    <a:pt x="112340" y="26318"/>
                    <a:pt x="111914" y="26161"/>
                    <a:pt x="112340" y="26161"/>
                  </a:cubicBezTo>
                  <a:cubicBezTo>
                    <a:pt x="112765" y="26318"/>
                    <a:pt x="112765" y="26318"/>
                    <a:pt x="112765" y="26475"/>
                  </a:cubicBezTo>
                  <a:cubicBezTo>
                    <a:pt x="113191" y="26475"/>
                    <a:pt x="113191" y="26475"/>
                    <a:pt x="113191" y="26475"/>
                  </a:cubicBezTo>
                  <a:cubicBezTo>
                    <a:pt x="113617" y="26475"/>
                    <a:pt x="114042" y="26631"/>
                    <a:pt x="114468" y="26788"/>
                  </a:cubicBezTo>
                  <a:cubicBezTo>
                    <a:pt x="114468" y="26788"/>
                    <a:pt x="114468" y="26945"/>
                    <a:pt x="114468" y="27101"/>
                  </a:cubicBezTo>
                  <a:cubicBezTo>
                    <a:pt x="114468" y="27258"/>
                    <a:pt x="114468" y="27258"/>
                    <a:pt x="114468" y="27415"/>
                  </a:cubicBezTo>
                  <a:cubicBezTo>
                    <a:pt x="114468" y="27571"/>
                    <a:pt x="114468" y="27571"/>
                    <a:pt x="114468" y="27571"/>
                  </a:cubicBezTo>
                  <a:cubicBezTo>
                    <a:pt x="114468" y="27571"/>
                    <a:pt x="115744" y="27885"/>
                    <a:pt x="115744" y="27728"/>
                  </a:cubicBezTo>
                  <a:cubicBezTo>
                    <a:pt x="115744" y="27571"/>
                    <a:pt x="115744" y="27728"/>
                    <a:pt x="115744" y="27415"/>
                  </a:cubicBezTo>
                  <a:cubicBezTo>
                    <a:pt x="115319" y="27258"/>
                    <a:pt x="115744" y="27101"/>
                    <a:pt x="115744" y="26945"/>
                  </a:cubicBezTo>
                  <a:cubicBezTo>
                    <a:pt x="115319" y="26788"/>
                    <a:pt x="114893" y="26475"/>
                    <a:pt x="114893" y="26318"/>
                  </a:cubicBezTo>
                  <a:cubicBezTo>
                    <a:pt x="114893" y="26318"/>
                    <a:pt x="115319" y="26161"/>
                    <a:pt x="115744" y="26161"/>
                  </a:cubicBezTo>
                  <a:cubicBezTo>
                    <a:pt x="116170" y="26161"/>
                    <a:pt x="115744" y="26005"/>
                    <a:pt x="116170" y="26161"/>
                  </a:cubicBezTo>
                  <a:cubicBezTo>
                    <a:pt x="116595" y="26318"/>
                    <a:pt x="116595" y="26475"/>
                    <a:pt x="117021" y="26475"/>
                  </a:cubicBezTo>
                  <a:cubicBezTo>
                    <a:pt x="117446" y="26475"/>
                    <a:pt x="117446" y="26475"/>
                    <a:pt x="117446" y="26475"/>
                  </a:cubicBezTo>
                  <a:cubicBezTo>
                    <a:pt x="117446" y="26631"/>
                    <a:pt x="117872" y="26788"/>
                    <a:pt x="117872" y="26945"/>
                  </a:cubicBezTo>
                  <a:cubicBezTo>
                    <a:pt x="117872" y="27101"/>
                    <a:pt x="117872" y="27101"/>
                    <a:pt x="117872" y="27258"/>
                  </a:cubicBezTo>
                  <a:cubicBezTo>
                    <a:pt x="117872" y="27258"/>
                    <a:pt x="118723" y="27728"/>
                    <a:pt x="118723" y="27728"/>
                  </a:cubicBezTo>
                  <a:cubicBezTo>
                    <a:pt x="118723" y="27728"/>
                    <a:pt x="119574" y="27415"/>
                    <a:pt x="119574" y="27415"/>
                  </a:cubicBezTo>
                  <a:cubicBezTo>
                    <a:pt x="119574" y="27258"/>
                    <a:pt x="119574" y="27101"/>
                    <a:pt x="119574" y="27101"/>
                  </a:cubicBezTo>
                  <a:cubicBezTo>
                    <a:pt x="119574" y="26945"/>
                    <a:pt x="119574" y="26788"/>
                    <a:pt x="119574" y="26788"/>
                  </a:cubicBezTo>
                  <a:cubicBezTo>
                    <a:pt x="119574" y="26631"/>
                    <a:pt x="118297" y="26161"/>
                    <a:pt x="118297" y="26161"/>
                  </a:cubicBezTo>
                  <a:cubicBezTo>
                    <a:pt x="118297" y="26161"/>
                    <a:pt x="118297" y="26005"/>
                    <a:pt x="118723" y="25848"/>
                  </a:cubicBezTo>
                  <a:cubicBezTo>
                    <a:pt x="118723" y="25848"/>
                    <a:pt x="119148" y="25691"/>
                    <a:pt x="120000" y="25535"/>
                  </a:cubicBezTo>
                  <a:cubicBezTo>
                    <a:pt x="117446" y="23498"/>
                    <a:pt x="117446" y="23498"/>
                    <a:pt x="117446" y="23498"/>
                  </a:cubicBezTo>
                  <a:cubicBezTo>
                    <a:pt x="114893" y="23028"/>
                    <a:pt x="114893" y="23028"/>
                    <a:pt x="114893" y="23028"/>
                  </a:cubicBezTo>
                  <a:cubicBezTo>
                    <a:pt x="113191" y="22402"/>
                    <a:pt x="113191" y="22402"/>
                    <a:pt x="113191" y="22402"/>
                  </a:cubicBezTo>
                  <a:cubicBezTo>
                    <a:pt x="113191" y="21618"/>
                    <a:pt x="113191" y="21618"/>
                    <a:pt x="113191" y="21618"/>
                  </a:cubicBezTo>
                  <a:cubicBezTo>
                    <a:pt x="111914" y="20992"/>
                    <a:pt x="111914" y="20992"/>
                    <a:pt x="111914" y="20992"/>
                  </a:cubicBezTo>
                  <a:cubicBezTo>
                    <a:pt x="111914" y="20992"/>
                    <a:pt x="112340" y="20522"/>
                    <a:pt x="112340" y="20365"/>
                  </a:cubicBezTo>
                  <a:cubicBezTo>
                    <a:pt x="112765" y="20208"/>
                    <a:pt x="113617" y="19425"/>
                    <a:pt x="113617" y="19425"/>
                  </a:cubicBezTo>
                  <a:cubicBezTo>
                    <a:pt x="113617" y="19425"/>
                    <a:pt x="113191" y="18798"/>
                    <a:pt x="113191" y="18642"/>
                  </a:cubicBezTo>
                  <a:cubicBezTo>
                    <a:pt x="113191" y="18485"/>
                    <a:pt x="113617" y="17702"/>
                    <a:pt x="113617" y="17702"/>
                  </a:cubicBezTo>
                  <a:cubicBezTo>
                    <a:pt x="113191" y="16919"/>
                    <a:pt x="113191" y="16919"/>
                    <a:pt x="113191" y="16919"/>
                  </a:cubicBezTo>
                  <a:cubicBezTo>
                    <a:pt x="108085" y="14725"/>
                    <a:pt x="108085" y="14725"/>
                    <a:pt x="108085" y="14725"/>
                  </a:cubicBezTo>
                  <a:cubicBezTo>
                    <a:pt x="108510" y="13785"/>
                    <a:pt x="108510" y="13785"/>
                    <a:pt x="108510" y="13785"/>
                  </a:cubicBezTo>
                  <a:cubicBezTo>
                    <a:pt x="108510" y="13785"/>
                    <a:pt x="108510" y="13785"/>
                    <a:pt x="108510" y="13785"/>
                  </a:cubicBezTo>
                  <a:close/>
                  <a:moveTo>
                    <a:pt x="70212" y="111227"/>
                  </a:moveTo>
                  <a:cubicBezTo>
                    <a:pt x="70212" y="111227"/>
                    <a:pt x="70212" y="111227"/>
                    <a:pt x="70212" y="111227"/>
                  </a:cubicBezTo>
                  <a:cubicBezTo>
                    <a:pt x="70638" y="109973"/>
                    <a:pt x="70638" y="109973"/>
                    <a:pt x="70638" y="109973"/>
                  </a:cubicBezTo>
                  <a:cubicBezTo>
                    <a:pt x="70638" y="109973"/>
                    <a:pt x="69787" y="109503"/>
                    <a:pt x="69787" y="109503"/>
                  </a:cubicBezTo>
                  <a:cubicBezTo>
                    <a:pt x="69787" y="109347"/>
                    <a:pt x="69361" y="109033"/>
                    <a:pt x="69361" y="108563"/>
                  </a:cubicBezTo>
                  <a:cubicBezTo>
                    <a:pt x="69787" y="108093"/>
                    <a:pt x="69787" y="107937"/>
                    <a:pt x="70212" y="107624"/>
                  </a:cubicBezTo>
                  <a:cubicBezTo>
                    <a:pt x="70212" y="107310"/>
                    <a:pt x="71063" y="107154"/>
                    <a:pt x="71063" y="106840"/>
                  </a:cubicBezTo>
                  <a:cubicBezTo>
                    <a:pt x="71063" y="106370"/>
                    <a:pt x="71063" y="106214"/>
                    <a:pt x="71489" y="105900"/>
                  </a:cubicBezTo>
                  <a:cubicBezTo>
                    <a:pt x="71489" y="105587"/>
                    <a:pt x="71914" y="105274"/>
                    <a:pt x="72340" y="105274"/>
                  </a:cubicBezTo>
                  <a:cubicBezTo>
                    <a:pt x="72340" y="105117"/>
                    <a:pt x="73191" y="104490"/>
                    <a:pt x="73191" y="104490"/>
                  </a:cubicBezTo>
                  <a:cubicBezTo>
                    <a:pt x="73617" y="103707"/>
                    <a:pt x="73617" y="103707"/>
                    <a:pt x="73617" y="103707"/>
                  </a:cubicBezTo>
                  <a:cubicBezTo>
                    <a:pt x="73617" y="103707"/>
                    <a:pt x="74468" y="102924"/>
                    <a:pt x="74468" y="102767"/>
                  </a:cubicBezTo>
                  <a:cubicBezTo>
                    <a:pt x="74468" y="102610"/>
                    <a:pt x="74042" y="101984"/>
                    <a:pt x="74042" y="101827"/>
                  </a:cubicBezTo>
                  <a:cubicBezTo>
                    <a:pt x="74468" y="101671"/>
                    <a:pt x="75319" y="101357"/>
                    <a:pt x="75319" y="101357"/>
                  </a:cubicBezTo>
                  <a:cubicBezTo>
                    <a:pt x="76595" y="101357"/>
                    <a:pt x="76595" y="101357"/>
                    <a:pt x="76595" y="101357"/>
                  </a:cubicBezTo>
                  <a:cubicBezTo>
                    <a:pt x="76595" y="101357"/>
                    <a:pt x="76595" y="101827"/>
                    <a:pt x="76170" y="101984"/>
                  </a:cubicBezTo>
                  <a:cubicBezTo>
                    <a:pt x="75744" y="101984"/>
                    <a:pt x="75319" y="102140"/>
                    <a:pt x="75319" y="102140"/>
                  </a:cubicBezTo>
                  <a:cubicBezTo>
                    <a:pt x="75319" y="102297"/>
                    <a:pt x="76170" y="102610"/>
                    <a:pt x="76170" y="102610"/>
                  </a:cubicBezTo>
                  <a:cubicBezTo>
                    <a:pt x="76170" y="103237"/>
                    <a:pt x="76170" y="103237"/>
                    <a:pt x="76170" y="103237"/>
                  </a:cubicBezTo>
                  <a:cubicBezTo>
                    <a:pt x="75319" y="103864"/>
                    <a:pt x="75319" y="103864"/>
                    <a:pt x="75319" y="103864"/>
                  </a:cubicBezTo>
                  <a:cubicBezTo>
                    <a:pt x="74468" y="104647"/>
                    <a:pt x="74468" y="104647"/>
                    <a:pt x="74468" y="104647"/>
                  </a:cubicBezTo>
                  <a:cubicBezTo>
                    <a:pt x="74468" y="105430"/>
                    <a:pt x="74468" y="105430"/>
                    <a:pt x="74468" y="105430"/>
                  </a:cubicBezTo>
                  <a:cubicBezTo>
                    <a:pt x="74042" y="105900"/>
                    <a:pt x="74042" y="105900"/>
                    <a:pt x="74042" y="105900"/>
                  </a:cubicBezTo>
                  <a:cubicBezTo>
                    <a:pt x="73617" y="106370"/>
                    <a:pt x="73617" y="106370"/>
                    <a:pt x="73617" y="106370"/>
                  </a:cubicBezTo>
                  <a:cubicBezTo>
                    <a:pt x="72765" y="107310"/>
                    <a:pt x="72765" y="107310"/>
                    <a:pt x="72765" y="107310"/>
                  </a:cubicBezTo>
                  <a:cubicBezTo>
                    <a:pt x="73191" y="108093"/>
                    <a:pt x="73191" y="108093"/>
                    <a:pt x="73191" y="108093"/>
                  </a:cubicBezTo>
                  <a:cubicBezTo>
                    <a:pt x="71914" y="109033"/>
                    <a:pt x="71914" y="109033"/>
                    <a:pt x="71914" y="109033"/>
                  </a:cubicBezTo>
                  <a:cubicBezTo>
                    <a:pt x="71914" y="109033"/>
                    <a:pt x="71914" y="109503"/>
                    <a:pt x="71914" y="109660"/>
                  </a:cubicBezTo>
                  <a:cubicBezTo>
                    <a:pt x="71914" y="109817"/>
                    <a:pt x="71914" y="110757"/>
                    <a:pt x="71914" y="110757"/>
                  </a:cubicBezTo>
                  <a:cubicBezTo>
                    <a:pt x="71914" y="110757"/>
                    <a:pt x="71914" y="111227"/>
                    <a:pt x="71489" y="111227"/>
                  </a:cubicBezTo>
                  <a:cubicBezTo>
                    <a:pt x="71063" y="111227"/>
                    <a:pt x="70212" y="111227"/>
                    <a:pt x="70212" y="111227"/>
                  </a:cubicBezTo>
                  <a:close/>
                  <a:moveTo>
                    <a:pt x="87659" y="101671"/>
                  </a:moveTo>
                  <a:cubicBezTo>
                    <a:pt x="87659" y="101671"/>
                    <a:pt x="87659" y="101671"/>
                    <a:pt x="87659" y="101671"/>
                  </a:cubicBezTo>
                  <a:cubicBezTo>
                    <a:pt x="87234" y="101357"/>
                    <a:pt x="87234" y="101357"/>
                    <a:pt x="87234" y="101357"/>
                  </a:cubicBezTo>
                  <a:cubicBezTo>
                    <a:pt x="88510" y="101201"/>
                    <a:pt x="88510" y="101201"/>
                    <a:pt x="88510" y="101201"/>
                  </a:cubicBezTo>
                  <a:cubicBezTo>
                    <a:pt x="88510" y="101201"/>
                    <a:pt x="88085" y="100574"/>
                    <a:pt x="88085" y="100417"/>
                  </a:cubicBezTo>
                  <a:cubicBezTo>
                    <a:pt x="88085" y="100261"/>
                    <a:pt x="87659" y="100417"/>
                    <a:pt x="87234" y="100104"/>
                  </a:cubicBezTo>
                  <a:cubicBezTo>
                    <a:pt x="86808" y="99947"/>
                    <a:pt x="86808" y="99477"/>
                    <a:pt x="86808" y="99477"/>
                  </a:cubicBezTo>
                  <a:cubicBezTo>
                    <a:pt x="86808" y="99321"/>
                    <a:pt x="87234" y="98851"/>
                    <a:pt x="87234" y="98851"/>
                  </a:cubicBezTo>
                  <a:cubicBezTo>
                    <a:pt x="87234" y="98851"/>
                    <a:pt x="88510" y="98224"/>
                    <a:pt x="89361" y="97911"/>
                  </a:cubicBezTo>
                  <a:cubicBezTo>
                    <a:pt x="90638" y="97441"/>
                    <a:pt x="90212" y="97441"/>
                    <a:pt x="90212" y="97127"/>
                  </a:cubicBezTo>
                  <a:cubicBezTo>
                    <a:pt x="89787" y="96971"/>
                    <a:pt x="90638" y="96814"/>
                    <a:pt x="90638" y="96814"/>
                  </a:cubicBezTo>
                  <a:cubicBezTo>
                    <a:pt x="91914" y="96344"/>
                    <a:pt x="91914" y="96344"/>
                    <a:pt x="91914" y="96344"/>
                  </a:cubicBezTo>
                  <a:cubicBezTo>
                    <a:pt x="92765" y="95561"/>
                    <a:pt x="92765" y="95561"/>
                    <a:pt x="92765" y="95561"/>
                  </a:cubicBezTo>
                  <a:cubicBezTo>
                    <a:pt x="92765" y="95561"/>
                    <a:pt x="94042" y="96031"/>
                    <a:pt x="94042" y="96031"/>
                  </a:cubicBezTo>
                  <a:cubicBezTo>
                    <a:pt x="94468" y="96031"/>
                    <a:pt x="94468" y="95874"/>
                    <a:pt x="94468" y="95718"/>
                  </a:cubicBezTo>
                  <a:cubicBezTo>
                    <a:pt x="94468" y="95561"/>
                    <a:pt x="95319" y="95561"/>
                    <a:pt x="95319" y="95561"/>
                  </a:cubicBezTo>
                  <a:cubicBezTo>
                    <a:pt x="95744" y="95561"/>
                    <a:pt x="97021" y="95404"/>
                    <a:pt x="97021" y="95404"/>
                  </a:cubicBezTo>
                  <a:cubicBezTo>
                    <a:pt x="97446" y="95091"/>
                    <a:pt x="97446" y="95091"/>
                    <a:pt x="97446" y="95091"/>
                  </a:cubicBezTo>
                  <a:cubicBezTo>
                    <a:pt x="97446" y="95091"/>
                    <a:pt x="99148" y="94934"/>
                    <a:pt x="100000" y="95091"/>
                  </a:cubicBezTo>
                  <a:cubicBezTo>
                    <a:pt x="100425" y="95248"/>
                    <a:pt x="99574" y="95248"/>
                    <a:pt x="99574" y="95404"/>
                  </a:cubicBezTo>
                  <a:cubicBezTo>
                    <a:pt x="99574" y="95561"/>
                    <a:pt x="99574" y="95561"/>
                    <a:pt x="99574" y="95718"/>
                  </a:cubicBezTo>
                  <a:cubicBezTo>
                    <a:pt x="99574" y="95874"/>
                    <a:pt x="99148" y="96031"/>
                    <a:pt x="97872" y="96031"/>
                  </a:cubicBezTo>
                  <a:cubicBezTo>
                    <a:pt x="96595" y="96187"/>
                    <a:pt x="97446" y="96501"/>
                    <a:pt x="97446" y="96501"/>
                  </a:cubicBezTo>
                  <a:cubicBezTo>
                    <a:pt x="97446" y="96501"/>
                    <a:pt x="97446" y="97127"/>
                    <a:pt x="97446" y="97127"/>
                  </a:cubicBezTo>
                  <a:cubicBezTo>
                    <a:pt x="97021" y="97284"/>
                    <a:pt x="96170" y="97597"/>
                    <a:pt x="95319" y="97597"/>
                  </a:cubicBezTo>
                  <a:cubicBezTo>
                    <a:pt x="94893" y="97754"/>
                    <a:pt x="94893" y="98067"/>
                    <a:pt x="94893" y="98067"/>
                  </a:cubicBezTo>
                  <a:cubicBezTo>
                    <a:pt x="94893" y="98224"/>
                    <a:pt x="95319" y="98537"/>
                    <a:pt x="95319" y="98851"/>
                  </a:cubicBezTo>
                  <a:cubicBezTo>
                    <a:pt x="95319" y="99007"/>
                    <a:pt x="95319" y="99007"/>
                    <a:pt x="95744" y="99321"/>
                  </a:cubicBezTo>
                  <a:cubicBezTo>
                    <a:pt x="95744" y="99477"/>
                    <a:pt x="96595" y="99477"/>
                    <a:pt x="97021" y="99477"/>
                  </a:cubicBezTo>
                  <a:cubicBezTo>
                    <a:pt x="97021" y="99634"/>
                    <a:pt x="97872" y="99947"/>
                    <a:pt x="97446" y="100104"/>
                  </a:cubicBezTo>
                  <a:cubicBezTo>
                    <a:pt x="97021" y="100261"/>
                    <a:pt x="96595" y="100417"/>
                    <a:pt x="96170" y="100417"/>
                  </a:cubicBezTo>
                  <a:cubicBezTo>
                    <a:pt x="96170" y="100574"/>
                    <a:pt x="95319" y="101044"/>
                    <a:pt x="95319" y="101044"/>
                  </a:cubicBezTo>
                  <a:cubicBezTo>
                    <a:pt x="95319" y="101044"/>
                    <a:pt x="95744" y="101357"/>
                    <a:pt x="95319" y="101671"/>
                  </a:cubicBezTo>
                  <a:cubicBezTo>
                    <a:pt x="95319" y="101984"/>
                    <a:pt x="94468" y="101827"/>
                    <a:pt x="94042" y="101984"/>
                  </a:cubicBezTo>
                  <a:cubicBezTo>
                    <a:pt x="94042" y="101984"/>
                    <a:pt x="92765" y="102454"/>
                    <a:pt x="92765" y="102454"/>
                  </a:cubicBezTo>
                  <a:cubicBezTo>
                    <a:pt x="92340" y="102454"/>
                    <a:pt x="91914" y="103080"/>
                    <a:pt x="91914" y="103394"/>
                  </a:cubicBezTo>
                  <a:cubicBezTo>
                    <a:pt x="91914" y="103550"/>
                    <a:pt x="91914" y="103864"/>
                    <a:pt x="91914" y="104020"/>
                  </a:cubicBezTo>
                  <a:cubicBezTo>
                    <a:pt x="91914" y="104177"/>
                    <a:pt x="91914" y="104020"/>
                    <a:pt x="91063" y="104490"/>
                  </a:cubicBezTo>
                  <a:cubicBezTo>
                    <a:pt x="89787" y="104960"/>
                    <a:pt x="90212" y="104647"/>
                    <a:pt x="88936" y="104490"/>
                  </a:cubicBezTo>
                  <a:cubicBezTo>
                    <a:pt x="87234" y="104490"/>
                    <a:pt x="88936" y="104334"/>
                    <a:pt x="89361" y="104020"/>
                  </a:cubicBezTo>
                  <a:cubicBezTo>
                    <a:pt x="89787" y="103707"/>
                    <a:pt x="90212" y="103394"/>
                    <a:pt x="90212" y="103394"/>
                  </a:cubicBezTo>
                  <a:cubicBezTo>
                    <a:pt x="89787" y="102767"/>
                    <a:pt x="89787" y="102767"/>
                    <a:pt x="89787" y="102767"/>
                  </a:cubicBezTo>
                  <a:cubicBezTo>
                    <a:pt x="88936" y="102297"/>
                    <a:pt x="88936" y="102297"/>
                    <a:pt x="88936" y="102297"/>
                  </a:cubicBezTo>
                  <a:lnTo>
                    <a:pt x="87659" y="101671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0" name="Shape 2051"/>
            <p:cNvSpPr/>
            <p:nvPr/>
          </p:nvSpPr>
          <p:spPr>
            <a:xfrm>
              <a:off x="4686242" y="235947"/>
              <a:ext cx="1226963" cy="168016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527" y="9000"/>
                  </a:moveTo>
                  <a:cubicBezTo>
                    <a:pt x="82081" y="9000"/>
                    <a:pt x="81412" y="9157"/>
                    <a:pt x="81412" y="8842"/>
                  </a:cubicBezTo>
                  <a:cubicBezTo>
                    <a:pt x="81412" y="8684"/>
                    <a:pt x="80743" y="8210"/>
                    <a:pt x="80743" y="8210"/>
                  </a:cubicBezTo>
                  <a:cubicBezTo>
                    <a:pt x="80743" y="8052"/>
                    <a:pt x="80297" y="7736"/>
                    <a:pt x="80966" y="7578"/>
                  </a:cubicBezTo>
                  <a:cubicBezTo>
                    <a:pt x="81412" y="7263"/>
                    <a:pt x="82973" y="6789"/>
                    <a:pt x="83197" y="6789"/>
                  </a:cubicBezTo>
                  <a:cubicBezTo>
                    <a:pt x="83197" y="6789"/>
                    <a:pt x="83866" y="6000"/>
                    <a:pt x="84089" y="5842"/>
                  </a:cubicBezTo>
                  <a:cubicBezTo>
                    <a:pt x="84312" y="5842"/>
                    <a:pt x="85650" y="5842"/>
                    <a:pt x="85650" y="5842"/>
                  </a:cubicBezTo>
                  <a:cubicBezTo>
                    <a:pt x="85650" y="5842"/>
                    <a:pt x="85873" y="6000"/>
                    <a:pt x="86319" y="6000"/>
                  </a:cubicBezTo>
                  <a:cubicBezTo>
                    <a:pt x="86765" y="6157"/>
                    <a:pt x="87657" y="5684"/>
                    <a:pt x="87211" y="6157"/>
                  </a:cubicBezTo>
                  <a:cubicBezTo>
                    <a:pt x="86542" y="6473"/>
                    <a:pt x="86319" y="6631"/>
                    <a:pt x="86096" y="6631"/>
                  </a:cubicBezTo>
                  <a:cubicBezTo>
                    <a:pt x="85873" y="6789"/>
                    <a:pt x="84758" y="7421"/>
                    <a:pt x="84758" y="7736"/>
                  </a:cubicBezTo>
                  <a:cubicBezTo>
                    <a:pt x="84535" y="8052"/>
                    <a:pt x="84758" y="8052"/>
                    <a:pt x="84535" y="8210"/>
                  </a:cubicBezTo>
                  <a:cubicBezTo>
                    <a:pt x="84089" y="8368"/>
                    <a:pt x="82750" y="8842"/>
                    <a:pt x="82527" y="9000"/>
                  </a:cubicBezTo>
                  <a:close/>
                  <a:moveTo>
                    <a:pt x="85427" y="9631"/>
                  </a:moveTo>
                  <a:cubicBezTo>
                    <a:pt x="85427" y="9631"/>
                    <a:pt x="85427" y="9631"/>
                    <a:pt x="85427" y="9631"/>
                  </a:cubicBezTo>
                  <a:cubicBezTo>
                    <a:pt x="85427" y="9631"/>
                    <a:pt x="86096" y="9789"/>
                    <a:pt x="86096" y="9631"/>
                  </a:cubicBezTo>
                  <a:cubicBezTo>
                    <a:pt x="86096" y="9631"/>
                    <a:pt x="86319" y="9315"/>
                    <a:pt x="86319" y="8842"/>
                  </a:cubicBezTo>
                  <a:cubicBezTo>
                    <a:pt x="86542" y="8368"/>
                    <a:pt x="86988" y="8368"/>
                    <a:pt x="87211" y="8210"/>
                  </a:cubicBezTo>
                  <a:cubicBezTo>
                    <a:pt x="87434" y="8052"/>
                    <a:pt x="87211" y="8052"/>
                    <a:pt x="87434" y="7736"/>
                  </a:cubicBezTo>
                  <a:cubicBezTo>
                    <a:pt x="87434" y="7421"/>
                    <a:pt x="87211" y="7421"/>
                    <a:pt x="86765" y="7263"/>
                  </a:cubicBezTo>
                  <a:cubicBezTo>
                    <a:pt x="86096" y="7263"/>
                    <a:pt x="86096" y="7578"/>
                    <a:pt x="85650" y="7578"/>
                  </a:cubicBezTo>
                  <a:cubicBezTo>
                    <a:pt x="85427" y="7736"/>
                    <a:pt x="85427" y="8052"/>
                    <a:pt x="85650" y="8210"/>
                  </a:cubicBezTo>
                  <a:cubicBezTo>
                    <a:pt x="85650" y="8368"/>
                    <a:pt x="85204" y="8526"/>
                    <a:pt x="84758" y="8684"/>
                  </a:cubicBezTo>
                  <a:cubicBezTo>
                    <a:pt x="84312" y="9000"/>
                    <a:pt x="84312" y="9315"/>
                    <a:pt x="84312" y="9315"/>
                  </a:cubicBezTo>
                  <a:cubicBezTo>
                    <a:pt x="85427" y="9631"/>
                    <a:pt x="85427" y="9631"/>
                    <a:pt x="85427" y="9631"/>
                  </a:cubicBezTo>
                  <a:close/>
                  <a:moveTo>
                    <a:pt x="80966" y="19894"/>
                  </a:moveTo>
                  <a:cubicBezTo>
                    <a:pt x="80966" y="19894"/>
                    <a:pt x="80966" y="19894"/>
                    <a:pt x="80966" y="19894"/>
                  </a:cubicBezTo>
                  <a:cubicBezTo>
                    <a:pt x="81858" y="20052"/>
                    <a:pt x="81858" y="20052"/>
                    <a:pt x="81858" y="20052"/>
                  </a:cubicBezTo>
                  <a:cubicBezTo>
                    <a:pt x="83420" y="21315"/>
                    <a:pt x="83420" y="21315"/>
                    <a:pt x="83420" y="21315"/>
                  </a:cubicBezTo>
                  <a:cubicBezTo>
                    <a:pt x="84758" y="22421"/>
                    <a:pt x="84758" y="22421"/>
                    <a:pt x="84758" y="22421"/>
                  </a:cubicBezTo>
                  <a:cubicBezTo>
                    <a:pt x="84758" y="22421"/>
                    <a:pt x="86765" y="23526"/>
                    <a:pt x="87211" y="23684"/>
                  </a:cubicBezTo>
                  <a:cubicBezTo>
                    <a:pt x="87657" y="23842"/>
                    <a:pt x="90111" y="24157"/>
                    <a:pt x="90334" y="24315"/>
                  </a:cubicBezTo>
                  <a:cubicBezTo>
                    <a:pt x="91003" y="23684"/>
                    <a:pt x="91003" y="23684"/>
                    <a:pt x="91003" y="23684"/>
                  </a:cubicBezTo>
                  <a:cubicBezTo>
                    <a:pt x="91895" y="23210"/>
                    <a:pt x="91895" y="23210"/>
                    <a:pt x="91895" y="23210"/>
                  </a:cubicBezTo>
                  <a:cubicBezTo>
                    <a:pt x="91672" y="22894"/>
                    <a:pt x="91672" y="22894"/>
                    <a:pt x="91672" y="22894"/>
                  </a:cubicBezTo>
                  <a:cubicBezTo>
                    <a:pt x="92788" y="22421"/>
                    <a:pt x="92788" y="22421"/>
                    <a:pt x="92788" y="22421"/>
                  </a:cubicBezTo>
                  <a:cubicBezTo>
                    <a:pt x="93680" y="22894"/>
                    <a:pt x="93680" y="22894"/>
                    <a:pt x="93680" y="22894"/>
                  </a:cubicBezTo>
                  <a:cubicBezTo>
                    <a:pt x="95910" y="23210"/>
                    <a:pt x="95910" y="23210"/>
                    <a:pt x="95910" y="23210"/>
                  </a:cubicBezTo>
                  <a:cubicBezTo>
                    <a:pt x="96802" y="23684"/>
                    <a:pt x="96802" y="23684"/>
                    <a:pt x="96802" y="23684"/>
                  </a:cubicBezTo>
                  <a:cubicBezTo>
                    <a:pt x="96802" y="23684"/>
                    <a:pt x="96802" y="23684"/>
                    <a:pt x="97026" y="23684"/>
                  </a:cubicBezTo>
                  <a:cubicBezTo>
                    <a:pt x="97026" y="23684"/>
                    <a:pt x="97026" y="23684"/>
                    <a:pt x="97026" y="23684"/>
                  </a:cubicBezTo>
                  <a:cubicBezTo>
                    <a:pt x="97026" y="23684"/>
                    <a:pt x="97026" y="23684"/>
                    <a:pt x="97026" y="23684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210"/>
                    <a:pt x="97695" y="23210"/>
                    <a:pt x="97695" y="23210"/>
                  </a:cubicBezTo>
                  <a:cubicBezTo>
                    <a:pt x="97695" y="23052"/>
                    <a:pt x="97695" y="22105"/>
                    <a:pt x="97695" y="22105"/>
                  </a:cubicBezTo>
                  <a:cubicBezTo>
                    <a:pt x="97695" y="22105"/>
                    <a:pt x="97026" y="21789"/>
                    <a:pt x="97695" y="21473"/>
                  </a:cubicBezTo>
                  <a:cubicBezTo>
                    <a:pt x="98364" y="21000"/>
                    <a:pt x="99256" y="20526"/>
                    <a:pt x="99256" y="20526"/>
                  </a:cubicBezTo>
                  <a:cubicBezTo>
                    <a:pt x="99256" y="20526"/>
                    <a:pt x="99702" y="20368"/>
                    <a:pt x="99702" y="19894"/>
                  </a:cubicBezTo>
                  <a:cubicBezTo>
                    <a:pt x="99702" y="19421"/>
                    <a:pt x="99256" y="18157"/>
                    <a:pt x="99256" y="18157"/>
                  </a:cubicBezTo>
                  <a:cubicBezTo>
                    <a:pt x="99256" y="18157"/>
                    <a:pt x="98810" y="17368"/>
                    <a:pt x="98810" y="17052"/>
                  </a:cubicBezTo>
                  <a:cubicBezTo>
                    <a:pt x="99256" y="15157"/>
                    <a:pt x="98141" y="13894"/>
                    <a:pt x="98810" y="13578"/>
                  </a:cubicBezTo>
                  <a:cubicBezTo>
                    <a:pt x="98810" y="13578"/>
                    <a:pt x="98810" y="13578"/>
                    <a:pt x="98810" y="13578"/>
                  </a:cubicBezTo>
                  <a:cubicBezTo>
                    <a:pt x="98810" y="13578"/>
                    <a:pt x="98810" y="13578"/>
                    <a:pt x="98810" y="13578"/>
                  </a:cubicBezTo>
                  <a:cubicBezTo>
                    <a:pt x="99256" y="13421"/>
                    <a:pt x="99256" y="13421"/>
                    <a:pt x="99256" y="13421"/>
                  </a:cubicBezTo>
                  <a:cubicBezTo>
                    <a:pt x="99925" y="13105"/>
                    <a:pt x="99925" y="13105"/>
                    <a:pt x="99925" y="13105"/>
                  </a:cubicBezTo>
                  <a:cubicBezTo>
                    <a:pt x="99925" y="13105"/>
                    <a:pt x="99925" y="12947"/>
                    <a:pt x="99925" y="12947"/>
                  </a:cubicBezTo>
                  <a:cubicBezTo>
                    <a:pt x="99925" y="12157"/>
                    <a:pt x="98587" y="11368"/>
                    <a:pt x="100148" y="11210"/>
                  </a:cubicBezTo>
                  <a:cubicBezTo>
                    <a:pt x="100817" y="10894"/>
                    <a:pt x="100817" y="10894"/>
                    <a:pt x="100817" y="10894"/>
                  </a:cubicBezTo>
                  <a:cubicBezTo>
                    <a:pt x="102825" y="10894"/>
                    <a:pt x="102825" y="10894"/>
                    <a:pt x="102825" y="10894"/>
                  </a:cubicBezTo>
                  <a:cubicBezTo>
                    <a:pt x="103271" y="9947"/>
                    <a:pt x="103271" y="9947"/>
                    <a:pt x="103271" y="9947"/>
                  </a:cubicBezTo>
                  <a:cubicBezTo>
                    <a:pt x="104163" y="9315"/>
                    <a:pt x="104163" y="9315"/>
                    <a:pt x="104163" y="9315"/>
                  </a:cubicBezTo>
                  <a:cubicBezTo>
                    <a:pt x="104832" y="9315"/>
                    <a:pt x="105724" y="9157"/>
                    <a:pt x="106171" y="9315"/>
                  </a:cubicBezTo>
                  <a:cubicBezTo>
                    <a:pt x="106617" y="9789"/>
                    <a:pt x="106617" y="10105"/>
                    <a:pt x="107509" y="10263"/>
                  </a:cubicBezTo>
                  <a:cubicBezTo>
                    <a:pt x="110185" y="10894"/>
                    <a:pt x="110185" y="10894"/>
                    <a:pt x="110185" y="10894"/>
                  </a:cubicBezTo>
                  <a:cubicBezTo>
                    <a:pt x="111524" y="11052"/>
                    <a:pt x="111524" y="11052"/>
                    <a:pt x="111524" y="11052"/>
                  </a:cubicBezTo>
                  <a:cubicBezTo>
                    <a:pt x="111524" y="11052"/>
                    <a:pt x="111524" y="11052"/>
                    <a:pt x="111524" y="11052"/>
                  </a:cubicBezTo>
                  <a:cubicBezTo>
                    <a:pt x="111747" y="11052"/>
                    <a:pt x="111747" y="11052"/>
                    <a:pt x="111747" y="11052"/>
                  </a:cubicBezTo>
                  <a:cubicBezTo>
                    <a:pt x="111747" y="11052"/>
                    <a:pt x="111747" y="11052"/>
                    <a:pt x="111747" y="11052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684"/>
                    <a:pt x="112193" y="12000"/>
                    <a:pt x="112416" y="12157"/>
                  </a:cubicBezTo>
                  <a:cubicBezTo>
                    <a:pt x="112416" y="12473"/>
                    <a:pt x="112639" y="12947"/>
                    <a:pt x="112639" y="12947"/>
                  </a:cubicBezTo>
                  <a:cubicBezTo>
                    <a:pt x="112639" y="12947"/>
                    <a:pt x="112416" y="13421"/>
                    <a:pt x="112416" y="13736"/>
                  </a:cubicBezTo>
                  <a:cubicBezTo>
                    <a:pt x="112193" y="13894"/>
                    <a:pt x="112193" y="14368"/>
                    <a:pt x="112193" y="14526"/>
                  </a:cubicBezTo>
                  <a:cubicBezTo>
                    <a:pt x="112193" y="14684"/>
                    <a:pt x="112193" y="14842"/>
                    <a:pt x="112193" y="15000"/>
                  </a:cubicBezTo>
                  <a:cubicBezTo>
                    <a:pt x="112193" y="15315"/>
                    <a:pt x="112416" y="15789"/>
                    <a:pt x="112639" y="15947"/>
                  </a:cubicBezTo>
                  <a:cubicBezTo>
                    <a:pt x="112639" y="16105"/>
                    <a:pt x="113754" y="16578"/>
                    <a:pt x="113754" y="16578"/>
                  </a:cubicBezTo>
                  <a:cubicBezTo>
                    <a:pt x="113754" y="16578"/>
                    <a:pt x="113754" y="16578"/>
                    <a:pt x="113531" y="16736"/>
                  </a:cubicBezTo>
                  <a:cubicBezTo>
                    <a:pt x="113531" y="16736"/>
                    <a:pt x="113531" y="16894"/>
                    <a:pt x="113754" y="16894"/>
                  </a:cubicBezTo>
                  <a:cubicBezTo>
                    <a:pt x="114200" y="16894"/>
                    <a:pt x="114869" y="16736"/>
                    <a:pt x="114869" y="16736"/>
                  </a:cubicBezTo>
                  <a:cubicBezTo>
                    <a:pt x="114869" y="16736"/>
                    <a:pt x="114869" y="15315"/>
                    <a:pt x="114646" y="14842"/>
                  </a:cubicBezTo>
                  <a:cubicBezTo>
                    <a:pt x="114423" y="14210"/>
                    <a:pt x="115539" y="13578"/>
                    <a:pt x="115539" y="13578"/>
                  </a:cubicBezTo>
                  <a:cubicBezTo>
                    <a:pt x="117100" y="12473"/>
                    <a:pt x="117100" y="12473"/>
                    <a:pt x="117100" y="12473"/>
                  </a:cubicBezTo>
                  <a:cubicBezTo>
                    <a:pt x="116877" y="11210"/>
                    <a:pt x="116877" y="11210"/>
                    <a:pt x="116877" y="11210"/>
                  </a:cubicBezTo>
                  <a:cubicBezTo>
                    <a:pt x="118661" y="11368"/>
                    <a:pt x="118661" y="11368"/>
                    <a:pt x="118661" y="11368"/>
                  </a:cubicBezTo>
                  <a:cubicBezTo>
                    <a:pt x="118661" y="11368"/>
                    <a:pt x="120000" y="10894"/>
                    <a:pt x="119553" y="10263"/>
                  </a:cubicBezTo>
                  <a:cubicBezTo>
                    <a:pt x="119107" y="9473"/>
                    <a:pt x="118661" y="8210"/>
                    <a:pt x="118215" y="8526"/>
                  </a:cubicBezTo>
                  <a:cubicBezTo>
                    <a:pt x="117546" y="8842"/>
                    <a:pt x="116431" y="9789"/>
                    <a:pt x="116431" y="9789"/>
                  </a:cubicBezTo>
                  <a:cubicBezTo>
                    <a:pt x="116208" y="8210"/>
                    <a:pt x="116208" y="8210"/>
                    <a:pt x="116208" y="8210"/>
                  </a:cubicBezTo>
                  <a:cubicBezTo>
                    <a:pt x="114423" y="8684"/>
                    <a:pt x="114423" y="8684"/>
                    <a:pt x="114423" y="8684"/>
                  </a:cubicBezTo>
                  <a:cubicBezTo>
                    <a:pt x="112639" y="8368"/>
                    <a:pt x="112639" y="8368"/>
                    <a:pt x="112639" y="8368"/>
                  </a:cubicBezTo>
                  <a:cubicBezTo>
                    <a:pt x="112639" y="8368"/>
                    <a:pt x="111970" y="7736"/>
                    <a:pt x="111301" y="7894"/>
                  </a:cubicBezTo>
                  <a:cubicBezTo>
                    <a:pt x="110631" y="7894"/>
                    <a:pt x="109516" y="7894"/>
                    <a:pt x="109516" y="7894"/>
                  </a:cubicBezTo>
                  <a:cubicBezTo>
                    <a:pt x="109516" y="7894"/>
                    <a:pt x="108624" y="7421"/>
                    <a:pt x="109070" y="7263"/>
                  </a:cubicBezTo>
                  <a:cubicBezTo>
                    <a:pt x="109739" y="7263"/>
                    <a:pt x="111078" y="7421"/>
                    <a:pt x="111747" y="7263"/>
                  </a:cubicBezTo>
                  <a:cubicBezTo>
                    <a:pt x="112193" y="7263"/>
                    <a:pt x="115762" y="6631"/>
                    <a:pt x="115762" y="6631"/>
                  </a:cubicBezTo>
                  <a:cubicBezTo>
                    <a:pt x="115985" y="5526"/>
                    <a:pt x="115985" y="5526"/>
                    <a:pt x="115985" y="5526"/>
                  </a:cubicBezTo>
                  <a:cubicBezTo>
                    <a:pt x="117546" y="4578"/>
                    <a:pt x="117546" y="4578"/>
                    <a:pt x="117546" y="4578"/>
                  </a:cubicBezTo>
                  <a:cubicBezTo>
                    <a:pt x="114869" y="3157"/>
                    <a:pt x="114869" y="3157"/>
                    <a:pt x="114869" y="3157"/>
                  </a:cubicBezTo>
                  <a:cubicBezTo>
                    <a:pt x="113754" y="1894"/>
                    <a:pt x="113754" y="1894"/>
                    <a:pt x="113754" y="1894"/>
                  </a:cubicBezTo>
                  <a:cubicBezTo>
                    <a:pt x="113754" y="1894"/>
                    <a:pt x="113531" y="1421"/>
                    <a:pt x="113085" y="1421"/>
                  </a:cubicBezTo>
                  <a:cubicBezTo>
                    <a:pt x="112416" y="1421"/>
                    <a:pt x="110631" y="2052"/>
                    <a:pt x="110631" y="2052"/>
                  </a:cubicBezTo>
                  <a:cubicBezTo>
                    <a:pt x="109293" y="1421"/>
                    <a:pt x="109293" y="1421"/>
                    <a:pt x="109293" y="1421"/>
                  </a:cubicBezTo>
                  <a:cubicBezTo>
                    <a:pt x="107286" y="1578"/>
                    <a:pt x="107286" y="1578"/>
                    <a:pt x="107286" y="1578"/>
                  </a:cubicBezTo>
                  <a:cubicBezTo>
                    <a:pt x="104386" y="947"/>
                    <a:pt x="104386" y="947"/>
                    <a:pt x="104386" y="947"/>
                  </a:cubicBezTo>
                  <a:cubicBezTo>
                    <a:pt x="104386" y="1421"/>
                    <a:pt x="104386" y="1421"/>
                    <a:pt x="104386" y="1421"/>
                  </a:cubicBezTo>
                  <a:cubicBezTo>
                    <a:pt x="104386" y="1421"/>
                    <a:pt x="103494" y="1263"/>
                    <a:pt x="103271" y="947"/>
                  </a:cubicBezTo>
                  <a:cubicBezTo>
                    <a:pt x="103271" y="631"/>
                    <a:pt x="103271" y="315"/>
                    <a:pt x="103271" y="315"/>
                  </a:cubicBezTo>
                  <a:cubicBezTo>
                    <a:pt x="102156" y="473"/>
                    <a:pt x="102156" y="473"/>
                    <a:pt x="102156" y="473"/>
                  </a:cubicBezTo>
                  <a:cubicBezTo>
                    <a:pt x="101710" y="473"/>
                    <a:pt x="101710" y="473"/>
                    <a:pt x="101710" y="473"/>
                  </a:cubicBezTo>
                  <a:cubicBezTo>
                    <a:pt x="100371" y="0"/>
                    <a:pt x="100371" y="0"/>
                    <a:pt x="100371" y="0"/>
                  </a:cubicBezTo>
                  <a:cubicBezTo>
                    <a:pt x="99702" y="947"/>
                    <a:pt x="99702" y="947"/>
                    <a:pt x="99702" y="947"/>
                  </a:cubicBezTo>
                  <a:cubicBezTo>
                    <a:pt x="100594" y="2052"/>
                    <a:pt x="100594" y="2052"/>
                    <a:pt x="100594" y="2052"/>
                  </a:cubicBezTo>
                  <a:cubicBezTo>
                    <a:pt x="99702" y="3315"/>
                    <a:pt x="99702" y="3315"/>
                    <a:pt x="99702" y="3315"/>
                  </a:cubicBezTo>
                  <a:cubicBezTo>
                    <a:pt x="100371" y="4105"/>
                    <a:pt x="100371" y="4105"/>
                    <a:pt x="100371" y="4105"/>
                  </a:cubicBezTo>
                  <a:cubicBezTo>
                    <a:pt x="100371" y="5210"/>
                    <a:pt x="100371" y="5210"/>
                    <a:pt x="100371" y="5210"/>
                  </a:cubicBezTo>
                  <a:cubicBezTo>
                    <a:pt x="99479" y="6473"/>
                    <a:pt x="99479" y="6473"/>
                    <a:pt x="99479" y="6473"/>
                  </a:cubicBezTo>
                  <a:cubicBezTo>
                    <a:pt x="98141" y="5684"/>
                    <a:pt x="98141" y="5684"/>
                    <a:pt x="98141" y="5684"/>
                  </a:cubicBezTo>
                  <a:cubicBezTo>
                    <a:pt x="98364" y="4578"/>
                    <a:pt x="98364" y="4578"/>
                    <a:pt x="98364" y="4578"/>
                  </a:cubicBezTo>
                  <a:cubicBezTo>
                    <a:pt x="99033" y="3315"/>
                    <a:pt x="99033" y="3315"/>
                    <a:pt x="99033" y="3315"/>
                  </a:cubicBezTo>
                  <a:cubicBezTo>
                    <a:pt x="98141" y="2052"/>
                    <a:pt x="98141" y="2052"/>
                    <a:pt x="98141" y="2052"/>
                  </a:cubicBezTo>
                  <a:cubicBezTo>
                    <a:pt x="96356" y="3157"/>
                    <a:pt x="96356" y="3157"/>
                    <a:pt x="96356" y="3157"/>
                  </a:cubicBezTo>
                  <a:cubicBezTo>
                    <a:pt x="96356" y="4736"/>
                    <a:pt x="96356" y="4736"/>
                    <a:pt x="96356" y="4736"/>
                  </a:cubicBezTo>
                  <a:cubicBezTo>
                    <a:pt x="95464" y="5842"/>
                    <a:pt x="95464" y="5842"/>
                    <a:pt x="95464" y="5842"/>
                  </a:cubicBezTo>
                  <a:cubicBezTo>
                    <a:pt x="95464" y="7263"/>
                    <a:pt x="95464" y="7263"/>
                    <a:pt x="95464" y="7263"/>
                  </a:cubicBezTo>
                  <a:cubicBezTo>
                    <a:pt x="95018" y="8368"/>
                    <a:pt x="95018" y="8368"/>
                    <a:pt x="95018" y="8368"/>
                  </a:cubicBezTo>
                  <a:cubicBezTo>
                    <a:pt x="94795" y="9789"/>
                    <a:pt x="94795" y="9789"/>
                    <a:pt x="94795" y="9789"/>
                  </a:cubicBezTo>
                  <a:cubicBezTo>
                    <a:pt x="94795" y="9789"/>
                    <a:pt x="94795" y="10105"/>
                    <a:pt x="94349" y="10105"/>
                  </a:cubicBezTo>
                  <a:cubicBezTo>
                    <a:pt x="93903" y="10263"/>
                    <a:pt x="93011" y="9947"/>
                    <a:pt x="93011" y="9947"/>
                  </a:cubicBezTo>
                  <a:cubicBezTo>
                    <a:pt x="93011" y="7894"/>
                    <a:pt x="93011" y="7894"/>
                    <a:pt x="93011" y="7894"/>
                  </a:cubicBezTo>
                  <a:cubicBezTo>
                    <a:pt x="93457" y="6789"/>
                    <a:pt x="93457" y="6789"/>
                    <a:pt x="93457" y="6789"/>
                  </a:cubicBezTo>
                  <a:cubicBezTo>
                    <a:pt x="94126" y="5842"/>
                    <a:pt x="94126" y="5842"/>
                    <a:pt x="94126" y="5842"/>
                  </a:cubicBezTo>
                  <a:cubicBezTo>
                    <a:pt x="95018" y="4578"/>
                    <a:pt x="95018" y="4578"/>
                    <a:pt x="95018" y="4578"/>
                  </a:cubicBezTo>
                  <a:cubicBezTo>
                    <a:pt x="95018" y="4578"/>
                    <a:pt x="95018" y="3789"/>
                    <a:pt x="94795" y="3631"/>
                  </a:cubicBezTo>
                  <a:cubicBezTo>
                    <a:pt x="94795" y="3631"/>
                    <a:pt x="94349" y="3473"/>
                    <a:pt x="94572" y="3473"/>
                  </a:cubicBezTo>
                  <a:cubicBezTo>
                    <a:pt x="94572" y="3315"/>
                    <a:pt x="95464" y="2684"/>
                    <a:pt x="95464" y="2684"/>
                  </a:cubicBezTo>
                  <a:cubicBezTo>
                    <a:pt x="95464" y="2684"/>
                    <a:pt x="95464" y="2210"/>
                    <a:pt x="94795" y="1894"/>
                  </a:cubicBezTo>
                  <a:cubicBezTo>
                    <a:pt x="94349" y="1736"/>
                    <a:pt x="93903" y="1421"/>
                    <a:pt x="93457" y="1578"/>
                  </a:cubicBezTo>
                  <a:cubicBezTo>
                    <a:pt x="93234" y="1736"/>
                    <a:pt x="92118" y="2052"/>
                    <a:pt x="92118" y="2210"/>
                  </a:cubicBezTo>
                  <a:cubicBezTo>
                    <a:pt x="91895" y="2368"/>
                    <a:pt x="92118" y="2684"/>
                    <a:pt x="92342" y="2842"/>
                  </a:cubicBezTo>
                  <a:cubicBezTo>
                    <a:pt x="92565" y="2842"/>
                    <a:pt x="92788" y="3000"/>
                    <a:pt x="93011" y="3000"/>
                  </a:cubicBezTo>
                  <a:cubicBezTo>
                    <a:pt x="93011" y="3157"/>
                    <a:pt x="93234" y="3631"/>
                    <a:pt x="93011" y="3789"/>
                  </a:cubicBezTo>
                  <a:cubicBezTo>
                    <a:pt x="92788" y="3947"/>
                    <a:pt x="93011" y="4421"/>
                    <a:pt x="92342" y="4263"/>
                  </a:cubicBezTo>
                  <a:cubicBezTo>
                    <a:pt x="91895" y="4105"/>
                    <a:pt x="90557" y="3473"/>
                    <a:pt x="90557" y="3473"/>
                  </a:cubicBezTo>
                  <a:cubicBezTo>
                    <a:pt x="90334" y="3473"/>
                    <a:pt x="90557" y="2842"/>
                    <a:pt x="90111" y="3473"/>
                  </a:cubicBezTo>
                  <a:cubicBezTo>
                    <a:pt x="89665" y="3947"/>
                    <a:pt x="89442" y="4105"/>
                    <a:pt x="89665" y="4421"/>
                  </a:cubicBezTo>
                  <a:cubicBezTo>
                    <a:pt x="89888" y="4736"/>
                    <a:pt x="90111" y="4736"/>
                    <a:pt x="90111" y="4894"/>
                  </a:cubicBezTo>
                  <a:cubicBezTo>
                    <a:pt x="90111" y="5052"/>
                    <a:pt x="89219" y="5052"/>
                    <a:pt x="89219" y="5210"/>
                  </a:cubicBezTo>
                  <a:cubicBezTo>
                    <a:pt x="89219" y="5368"/>
                    <a:pt x="88996" y="5526"/>
                    <a:pt x="89442" y="5842"/>
                  </a:cubicBezTo>
                  <a:cubicBezTo>
                    <a:pt x="89888" y="6000"/>
                    <a:pt x="90334" y="6157"/>
                    <a:pt x="90334" y="6157"/>
                  </a:cubicBezTo>
                  <a:cubicBezTo>
                    <a:pt x="90334" y="6157"/>
                    <a:pt x="90780" y="6631"/>
                    <a:pt x="90557" y="6631"/>
                  </a:cubicBezTo>
                  <a:cubicBezTo>
                    <a:pt x="90557" y="6789"/>
                    <a:pt x="89219" y="6631"/>
                    <a:pt x="89219" y="6789"/>
                  </a:cubicBezTo>
                  <a:cubicBezTo>
                    <a:pt x="89219" y="6947"/>
                    <a:pt x="89219" y="7263"/>
                    <a:pt x="89219" y="7421"/>
                  </a:cubicBezTo>
                  <a:cubicBezTo>
                    <a:pt x="89219" y="7578"/>
                    <a:pt x="89219" y="7894"/>
                    <a:pt x="89219" y="7894"/>
                  </a:cubicBezTo>
                  <a:cubicBezTo>
                    <a:pt x="89219" y="8052"/>
                    <a:pt x="88327" y="8052"/>
                    <a:pt x="88104" y="8210"/>
                  </a:cubicBezTo>
                  <a:cubicBezTo>
                    <a:pt x="87657" y="8368"/>
                    <a:pt x="87434" y="8842"/>
                    <a:pt x="87434" y="9157"/>
                  </a:cubicBezTo>
                  <a:cubicBezTo>
                    <a:pt x="87211" y="9473"/>
                    <a:pt x="87211" y="9789"/>
                    <a:pt x="87211" y="9947"/>
                  </a:cubicBezTo>
                  <a:cubicBezTo>
                    <a:pt x="87211" y="10105"/>
                    <a:pt x="86765" y="10421"/>
                    <a:pt x="86765" y="10421"/>
                  </a:cubicBezTo>
                  <a:cubicBezTo>
                    <a:pt x="86765" y="10421"/>
                    <a:pt x="86765" y="10578"/>
                    <a:pt x="86319" y="10421"/>
                  </a:cubicBezTo>
                  <a:cubicBezTo>
                    <a:pt x="85873" y="10421"/>
                    <a:pt x="84312" y="9789"/>
                    <a:pt x="84089" y="9789"/>
                  </a:cubicBezTo>
                  <a:cubicBezTo>
                    <a:pt x="83643" y="9789"/>
                    <a:pt x="83197" y="9947"/>
                    <a:pt x="83197" y="10263"/>
                  </a:cubicBezTo>
                  <a:cubicBezTo>
                    <a:pt x="83197" y="10421"/>
                    <a:pt x="83866" y="10894"/>
                    <a:pt x="84089" y="10894"/>
                  </a:cubicBezTo>
                  <a:cubicBezTo>
                    <a:pt x="84089" y="10894"/>
                    <a:pt x="85204" y="11052"/>
                    <a:pt x="85427" y="11210"/>
                  </a:cubicBezTo>
                  <a:cubicBezTo>
                    <a:pt x="85427" y="11368"/>
                    <a:pt x="85427" y="12473"/>
                    <a:pt x="85427" y="12473"/>
                  </a:cubicBezTo>
                  <a:cubicBezTo>
                    <a:pt x="85427" y="12473"/>
                    <a:pt x="86319" y="13736"/>
                    <a:pt x="84758" y="12631"/>
                  </a:cubicBezTo>
                  <a:cubicBezTo>
                    <a:pt x="82973" y="11526"/>
                    <a:pt x="82973" y="11368"/>
                    <a:pt x="82750" y="11210"/>
                  </a:cubicBezTo>
                  <a:cubicBezTo>
                    <a:pt x="82527" y="11210"/>
                    <a:pt x="80966" y="10894"/>
                    <a:pt x="80966" y="10894"/>
                  </a:cubicBezTo>
                  <a:cubicBezTo>
                    <a:pt x="80966" y="10894"/>
                    <a:pt x="80743" y="10421"/>
                    <a:pt x="80520" y="10894"/>
                  </a:cubicBezTo>
                  <a:cubicBezTo>
                    <a:pt x="80297" y="11210"/>
                    <a:pt x="80966" y="12000"/>
                    <a:pt x="80966" y="12000"/>
                  </a:cubicBezTo>
                  <a:cubicBezTo>
                    <a:pt x="80743" y="11842"/>
                    <a:pt x="80743" y="11842"/>
                    <a:pt x="80743" y="11842"/>
                  </a:cubicBezTo>
                  <a:cubicBezTo>
                    <a:pt x="80743" y="11842"/>
                    <a:pt x="80074" y="11526"/>
                    <a:pt x="79628" y="11368"/>
                  </a:cubicBezTo>
                  <a:cubicBezTo>
                    <a:pt x="79405" y="11052"/>
                    <a:pt x="78736" y="11368"/>
                    <a:pt x="78736" y="11368"/>
                  </a:cubicBezTo>
                  <a:cubicBezTo>
                    <a:pt x="78736" y="11368"/>
                    <a:pt x="78513" y="11526"/>
                    <a:pt x="78066" y="11842"/>
                  </a:cubicBezTo>
                  <a:cubicBezTo>
                    <a:pt x="77843" y="12000"/>
                    <a:pt x="76951" y="11368"/>
                    <a:pt x="77843" y="12157"/>
                  </a:cubicBezTo>
                  <a:cubicBezTo>
                    <a:pt x="78513" y="12789"/>
                    <a:pt x="79182" y="12947"/>
                    <a:pt x="79405" y="13105"/>
                  </a:cubicBezTo>
                  <a:cubicBezTo>
                    <a:pt x="79405" y="13105"/>
                    <a:pt x="80297" y="13263"/>
                    <a:pt x="80520" y="13421"/>
                  </a:cubicBezTo>
                  <a:cubicBezTo>
                    <a:pt x="80743" y="13578"/>
                    <a:pt x="80743" y="14052"/>
                    <a:pt x="80743" y="14210"/>
                  </a:cubicBezTo>
                  <a:cubicBezTo>
                    <a:pt x="80743" y="14210"/>
                    <a:pt x="81412" y="14842"/>
                    <a:pt x="80297" y="14368"/>
                  </a:cubicBezTo>
                  <a:cubicBezTo>
                    <a:pt x="79182" y="13736"/>
                    <a:pt x="79182" y="13578"/>
                    <a:pt x="78736" y="13578"/>
                  </a:cubicBezTo>
                  <a:cubicBezTo>
                    <a:pt x="78513" y="13578"/>
                    <a:pt x="78066" y="13894"/>
                    <a:pt x="78066" y="13894"/>
                  </a:cubicBezTo>
                  <a:cubicBezTo>
                    <a:pt x="78066" y="13894"/>
                    <a:pt x="76728" y="13736"/>
                    <a:pt x="76728" y="13263"/>
                  </a:cubicBezTo>
                  <a:cubicBezTo>
                    <a:pt x="76505" y="12789"/>
                    <a:pt x="76951" y="12000"/>
                    <a:pt x="76059" y="12157"/>
                  </a:cubicBezTo>
                  <a:cubicBezTo>
                    <a:pt x="74944" y="12157"/>
                    <a:pt x="74721" y="12473"/>
                    <a:pt x="74721" y="12631"/>
                  </a:cubicBezTo>
                  <a:cubicBezTo>
                    <a:pt x="74721" y="12789"/>
                    <a:pt x="74052" y="12947"/>
                    <a:pt x="74721" y="13421"/>
                  </a:cubicBezTo>
                  <a:cubicBezTo>
                    <a:pt x="75390" y="13894"/>
                    <a:pt x="75836" y="14210"/>
                    <a:pt x="76059" y="14210"/>
                  </a:cubicBezTo>
                  <a:cubicBezTo>
                    <a:pt x="76059" y="14210"/>
                    <a:pt x="77397" y="14210"/>
                    <a:pt x="76728" y="14368"/>
                  </a:cubicBezTo>
                  <a:cubicBezTo>
                    <a:pt x="76282" y="14684"/>
                    <a:pt x="75390" y="14684"/>
                    <a:pt x="75167" y="14684"/>
                  </a:cubicBezTo>
                  <a:cubicBezTo>
                    <a:pt x="74944" y="14684"/>
                    <a:pt x="75167" y="14526"/>
                    <a:pt x="74944" y="14684"/>
                  </a:cubicBezTo>
                  <a:cubicBezTo>
                    <a:pt x="74498" y="14842"/>
                    <a:pt x="73382" y="15631"/>
                    <a:pt x="73382" y="15631"/>
                  </a:cubicBezTo>
                  <a:cubicBezTo>
                    <a:pt x="73382" y="15631"/>
                    <a:pt x="73159" y="15315"/>
                    <a:pt x="73159" y="15157"/>
                  </a:cubicBezTo>
                  <a:cubicBezTo>
                    <a:pt x="73159" y="15000"/>
                    <a:pt x="74052" y="14684"/>
                    <a:pt x="74052" y="14368"/>
                  </a:cubicBezTo>
                  <a:cubicBezTo>
                    <a:pt x="74052" y="14052"/>
                    <a:pt x="73605" y="12947"/>
                    <a:pt x="73605" y="12947"/>
                  </a:cubicBezTo>
                  <a:cubicBezTo>
                    <a:pt x="73605" y="12947"/>
                    <a:pt x="72713" y="12631"/>
                    <a:pt x="72713" y="12631"/>
                  </a:cubicBezTo>
                  <a:cubicBezTo>
                    <a:pt x="72490" y="12473"/>
                    <a:pt x="71821" y="12157"/>
                    <a:pt x="71598" y="12315"/>
                  </a:cubicBezTo>
                  <a:cubicBezTo>
                    <a:pt x="71375" y="12473"/>
                    <a:pt x="70929" y="12947"/>
                    <a:pt x="71375" y="13263"/>
                  </a:cubicBezTo>
                  <a:cubicBezTo>
                    <a:pt x="71821" y="13736"/>
                    <a:pt x="72267" y="14052"/>
                    <a:pt x="72044" y="14052"/>
                  </a:cubicBezTo>
                  <a:cubicBezTo>
                    <a:pt x="71598" y="14210"/>
                    <a:pt x="71375" y="14368"/>
                    <a:pt x="71152" y="14210"/>
                  </a:cubicBezTo>
                  <a:cubicBezTo>
                    <a:pt x="70929" y="14210"/>
                    <a:pt x="70483" y="13894"/>
                    <a:pt x="69814" y="14052"/>
                  </a:cubicBezTo>
                  <a:cubicBezTo>
                    <a:pt x="69144" y="14210"/>
                    <a:pt x="68475" y="15157"/>
                    <a:pt x="68475" y="15157"/>
                  </a:cubicBezTo>
                  <a:cubicBezTo>
                    <a:pt x="68475" y="15157"/>
                    <a:pt x="69144" y="16105"/>
                    <a:pt x="69368" y="16263"/>
                  </a:cubicBezTo>
                  <a:cubicBezTo>
                    <a:pt x="69591" y="16263"/>
                    <a:pt x="69814" y="16578"/>
                    <a:pt x="69814" y="16894"/>
                  </a:cubicBezTo>
                  <a:cubicBezTo>
                    <a:pt x="69591" y="17210"/>
                    <a:pt x="69814" y="16736"/>
                    <a:pt x="69368" y="16894"/>
                  </a:cubicBezTo>
                  <a:cubicBezTo>
                    <a:pt x="68698" y="17052"/>
                    <a:pt x="68475" y="17210"/>
                    <a:pt x="68029" y="17210"/>
                  </a:cubicBezTo>
                  <a:cubicBezTo>
                    <a:pt x="67583" y="17210"/>
                    <a:pt x="66468" y="18157"/>
                    <a:pt x="66468" y="18157"/>
                  </a:cubicBezTo>
                  <a:cubicBezTo>
                    <a:pt x="67137" y="18789"/>
                    <a:pt x="67137" y="18789"/>
                    <a:pt x="67137" y="18789"/>
                  </a:cubicBezTo>
                  <a:cubicBezTo>
                    <a:pt x="67137" y="18789"/>
                    <a:pt x="65353" y="19263"/>
                    <a:pt x="64907" y="19421"/>
                  </a:cubicBezTo>
                  <a:cubicBezTo>
                    <a:pt x="64684" y="19421"/>
                    <a:pt x="65576" y="19263"/>
                    <a:pt x="64460" y="19421"/>
                  </a:cubicBezTo>
                  <a:cubicBezTo>
                    <a:pt x="63568" y="19736"/>
                    <a:pt x="62899" y="20368"/>
                    <a:pt x="62676" y="20684"/>
                  </a:cubicBezTo>
                  <a:cubicBezTo>
                    <a:pt x="62676" y="20842"/>
                    <a:pt x="61784" y="20842"/>
                    <a:pt x="61784" y="21315"/>
                  </a:cubicBezTo>
                  <a:cubicBezTo>
                    <a:pt x="61784" y="21631"/>
                    <a:pt x="62007" y="22263"/>
                    <a:pt x="61784" y="22421"/>
                  </a:cubicBezTo>
                  <a:cubicBezTo>
                    <a:pt x="61784" y="22578"/>
                    <a:pt x="61784" y="22578"/>
                    <a:pt x="61784" y="22894"/>
                  </a:cubicBezTo>
                  <a:cubicBezTo>
                    <a:pt x="61784" y="23210"/>
                    <a:pt x="61561" y="23526"/>
                    <a:pt x="62230" y="23526"/>
                  </a:cubicBezTo>
                  <a:cubicBezTo>
                    <a:pt x="62899" y="23526"/>
                    <a:pt x="63791" y="23210"/>
                    <a:pt x="64014" y="23052"/>
                  </a:cubicBezTo>
                  <a:cubicBezTo>
                    <a:pt x="64014" y="22894"/>
                    <a:pt x="64237" y="22263"/>
                    <a:pt x="64460" y="22578"/>
                  </a:cubicBezTo>
                  <a:cubicBezTo>
                    <a:pt x="64907" y="22736"/>
                    <a:pt x="64907" y="23368"/>
                    <a:pt x="64907" y="23368"/>
                  </a:cubicBezTo>
                  <a:cubicBezTo>
                    <a:pt x="64907" y="23368"/>
                    <a:pt x="64907" y="24000"/>
                    <a:pt x="64907" y="24157"/>
                  </a:cubicBezTo>
                  <a:cubicBezTo>
                    <a:pt x="64684" y="24473"/>
                    <a:pt x="66245" y="24157"/>
                    <a:pt x="64684" y="24631"/>
                  </a:cubicBezTo>
                  <a:cubicBezTo>
                    <a:pt x="63122" y="25263"/>
                    <a:pt x="62676" y="25263"/>
                    <a:pt x="62676" y="25421"/>
                  </a:cubicBezTo>
                  <a:cubicBezTo>
                    <a:pt x="62676" y="25736"/>
                    <a:pt x="63568" y="26526"/>
                    <a:pt x="62453" y="26210"/>
                  </a:cubicBezTo>
                  <a:cubicBezTo>
                    <a:pt x="61338" y="26052"/>
                    <a:pt x="61338" y="26210"/>
                    <a:pt x="61338" y="26052"/>
                  </a:cubicBezTo>
                  <a:cubicBezTo>
                    <a:pt x="61115" y="25894"/>
                    <a:pt x="61561" y="26842"/>
                    <a:pt x="60223" y="25421"/>
                  </a:cubicBezTo>
                  <a:cubicBezTo>
                    <a:pt x="58884" y="24000"/>
                    <a:pt x="58884" y="24157"/>
                    <a:pt x="58884" y="23842"/>
                  </a:cubicBezTo>
                  <a:cubicBezTo>
                    <a:pt x="58884" y="23526"/>
                    <a:pt x="58661" y="22421"/>
                    <a:pt x="58661" y="22421"/>
                  </a:cubicBezTo>
                  <a:cubicBezTo>
                    <a:pt x="58661" y="22421"/>
                    <a:pt x="58438" y="21315"/>
                    <a:pt x="57769" y="21789"/>
                  </a:cubicBezTo>
                  <a:cubicBezTo>
                    <a:pt x="56877" y="22263"/>
                    <a:pt x="56877" y="23052"/>
                    <a:pt x="56877" y="23052"/>
                  </a:cubicBezTo>
                  <a:cubicBezTo>
                    <a:pt x="56877" y="23052"/>
                    <a:pt x="55762" y="23842"/>
                    <a:pt x="55539" y="24000"/>
                  </a:cubicBezTo>
                  <a:cubicBezTo>
                    <a:pt x="55315" y="24000"/>
                    <a:pt x="54869" y="24000"/>
                    <a:pt x="54200" y="24315"/>
                  </a:cubicBezTo>
                  <a:cubicBezTo>
                    <a:pt x="53754" y="24789"/>
                    <a:pt x="52193" y="26368"/>
                    <a:pt x="52193" y="26368"/>
                  </a:cubicBezTo>
                  <a:cubicBezTo>
                    <a:pt x="52193" y="26368"/>
                    <a:pt x="51301" y="27473"/>
                    <a:pt x="51524" y="27789"/>
                  </a:cubicBezTo>
                  <a:cubicBezTo>
                    <a:pt x="51747" y="28105"/>
                    <a:pt x="52416" y="28578"/>
                    <a:pt x="52416" y="28578"/>
                  </a:cubicBezTo>
                  <a:cubicBezTo>
                    <a:pt x="52416" y="28578"/>
                    <a:pt x="52639" y="28421"/>
                    <a:pt x="52639" y="28894"/>
                  </a:cubicBezTo>
                  <a:cubicBezTo>
                    <a:pt x="52639" y="29368"/>
                    <a:pt x="53754" y="29526"/>
                    <a:pt x="53754" y="29526"/>
                  </a:cubicBezTo>
                  <a:cubicBezTo>
                    <a:pt x="53754" y="29526"/>
                    <a:pt x="54200" y="29684"/>
                    <a:pt x="53754" y="30000"/>
                  </a:cubicBezTo>
                  <a:cubicBezTo>
                    <a:pt x="53085" y="30315"/>
                    <a:pt x="51301" y="30473"/>
                    <a:pt x="51301" y="30473"/>
                  </a:cubicBezTo>
                  <a:cubicBezTo>
                    <a:pt x="49516" y="30473"/>
                    <a:pt x="49516" y="30473"/>
                    <a:pt x="49516" y="30473"/>
                  </a:cubicBezTo>
                  <a:cubicBezTo>
                    <a:pt x="49516" y="30473"/>
                    <a:pt x="48624" y="31263"/>
                    <a:pt x="48401" y="31263"/>
                  </a:cubicBezTo>
                  <a:cubicBezTo>
                    <a:pt x="47955" y="31421"/>
                    <a:pt x="47286" y="31736"/>
                    <a:pt x="47063" y="32210"/>
                  </a:cubicBezTo>
                  <a:cubicBezTo>
                    <a:pt x="47063" y="32526"/>
                    <a:pt x="45055" y="33789"/>
                    <a:pt x="45055" y="33789"/>
                  </a:cubicBezTo>
                  <a:cubicBezTo>
                    <a:pt x="45055" y="33789"/>
                    <a:pt x="45055" y="34263"/>
                    <a:pt x="45055" y="34421"/>
                  </a:cubicBezTo>
                  <a:cubicBezTo>
                    <a:pt x="45055" y="34578"/>
                    <a:pt x="44163" y="34894"/>
                    <a:pt x="44609" y="35052"/>
                  </a:cubicBezTo>
                  <a:cubicBezTo>
                    <a:pt x="45055" y="35210"/>
                    <a:pt x="45724" y="35368"/>
                    <a:pt x="46171" y="34736"/>
                  </a:cubicBezTo>
                  <a:cubicBezTo>
                    <a:pt x="46617" y="34263"/>
                    <a:pt x="46617" y="33473"/>
                    <a:pt x="46617" y="33473"/>
                  </a:cubicBezTo>
                  <a:cubicBezTo>
                    <a:pt x="46617" y="33473"/>
                    <a:pt x="47063" y="33157"/>
                    <a:pt x="47509" y="33157"/>
                  </a:cubicBezTo>
                  <a:cubicBezTo>
                    <a:pt x="48178" y="33157"/>
                    <a:pt x="48847" y="32684"/>
                    <a:pt x="49516" y="32526"/>
                  </a:cubicBezTo>
                  <a:cubicBezTo>
                    <a:pt x="50185" y="32526"/>
                    <a:pt x="51078" y="31736"/>
                    <a:pt x="51301" y="31736"/>
                  </a:cubicBezTo>
                  <a:cubicBezTo>
                    <a:pt x="51747" y="31736"/>
                    <a:pt x="51524" y="31894"/>
                    <a:pt x="52416" y="31736"/>
                  </a:cubicBezTo>
                  <a:cubicBezTo>
                    <a:pt x="53308" y="31736"/>
                    <a:pt x="54200" y="31736"/>
                    <a:pt x="54423" y="31578"/>
                  </a:cubicBezTo>
                  <a:cubicBezTo>
                    <a:pt x="54869" y="31421"/>
                    <a:pt x="56654" y="32210"/>
                    <a:pt x="56877" y="32368"/>
                  </a:cubicBezTo>
                  <a:cubicBezTo>
                    <a:pt x="56877" y="32526"/>
                    <a:pt x="55315" y="32684"/>
                    <a:pt x="55985" y="33000"/>
                  </a:cubicBezTo>
                  <a:cubicBezTo>
                    <a:pt x="56877" y="33315"/>
                    <a:pt x="56877" y="33473"/>
                    <a:pt x="57100" y="33473"/>
                  </a:cubicBezTo>
                  <a:cubicBezTo>
                    <a:pt x="57323" y="33473"/>
                    <a:pt x="57769" y="33315"/>
                    <a:pt x="58438" y="33157"/>
                  </a:cubicBezTo>
                  <a:cubicBezTo>
                    <a:pt x="58884" y="32842"/>
                    <a:pt x="57992" y="32368"/>
                    <a:pt x="59330" y="32684"/>
                  </a:cubicBezTo>
                  <a:cubicBezTo>
                    <a:pt x="60446" y="33000"/>
                    <a:pt x="60446" y="33315"/>
                    <a:pt x="60446" y="33315"/>
                  </a:cubicBezTo>
                  <a:cubicBezTo>
                    <a:pt x="60223" y="33631"/>
                    <a:pt x="60223" y="33631"/>
                    <a:pt x="60223" y="33631"/>
                  </a:cubicBezTo>
                  <a:cubicBezTo>
                    <a:pt x="59330" y="33789"/>
                    <a:pt x="59330" y="33789"/>
                    <a:pt x="59330" y="33789"/>
                  </a:cubicBezTo>
                  <a:cubicBezTo>
                    <a:pt x="57992" y="33631"/>
                    <a:pt x="57992" y="33631"/>
                    <a:pt x="57992" y="33631"/>
                  </a:cubicBezTo>
                  <a:cubicBezTo>
                    <a:pt x="57100" y="33947"/>
                    <a:pt x="57100" y="33947"/>
                    <a:pt x="57100" y="33947"/>
                  </a:cubicBezTo>
                  <a:cubicBezTo>
                    <a:pt x="57100" y="33947"/>
                    <a:pt x="56877" y="34105"/>
                    <a:pt x="56654" y="34105"/>
                  </a:cubicBezTo>
                  <a:cubicBezTo>
                    <a:pt x="56654" y="34105"/>
                    <a:pt x="54646" y="34263"/>
                    <a:pt x="54646" y="34263"/>
                  </a:cubicBezTo>
                  <a:cubicBezTo>
                    <a:pt x="53754" y="35210"/>
                    <a:pt x="53754" y="35210"/>
                    <a:pt x="53754" y="35210"/>
                  </a:cubicBezTo>
                  <a:cubicBezTo>
                    <a:pt x="53754" y="35210"/>
                    <a:pt x="54423" y="35842"/>
                    <a:pt x="54423" y="35842"/>
                  </a:cubicBezTo>
                  <a:cubicBezTo>
                    <a:pt x="54646" y="35842"/>
                    <a:pt x="55985" y="35526"/>
                    <a:pt x="55985" y="35684"/>
                  </a:cubicBezTo>
                  <a:cubicBezTo>
                    <a:pt x="56208" y="35684"/>
                    <a:pt x="56431" y="36000"/>
                    <a:pt x="56208" y="36157"/>
                  </a:cubicBezTo>
                  <a:cubicBezTo>
                    <a:pt x="56208" y="36315"/>
                    <a:pt x="55315" y="36789"/>
                    <a:pt x="55315" y="36789"/>
                  </a:cubicBezTo>
                  <a:cubicBezTo>
                    <a:pt x="54869" y="37421"/>
                    <a:pt x="54869" y="37421"/>
                    <a:pt x="54869" y="37421"/>
                  </a:cubicBezTo>
                  <a:cubicBezTo>
                    <a:pt x="54869" y="37421"/>
                    <a:pt x="55762" y="37578"/>
                    <a:pt x="55985" y="37578"/>
                  </a:cubicBezTo>
                  <a:cubicBezTo>
                    <a:pt x="55985" y="37578"/>
                    <a:pt x="57323" y="37578"/>
                    <a:pt x="57100" y="37736"/>
                  </a:cubicBezTo>
                  <a:cubicBezTo>
                    <a:pt x="57100" y="37736"/>
                    <a:pt x="55092" y="37894"/>
                    <a:pt x="55092" y="37894"/>
                  </a:cubicBezTo>
                  <a:cubicBezTo>
                    <a:pt x="55092" y="37894"/>
                    <a:pt x="53308" y="37736"/>
                    <a:pt x="53531" y="37736"/>
                  </a:cubicBezTo>
                  <a:cubicBezTo>
                    <a:pt x="53531" y="37894"/>
                    <a:pt x="53308" y="38210"/>
                    <a:pt x="53308" y="38368"/>
                  </a:cubicBezTo>
                  <a:cubicBezTo>
                    <a:pt x="53308" y="38368"/>
                    <a:pt x="52862" y="38842"/>
                    <a:pt x="52862" y="38842"/>
                  </a:cubicBezTo>
                  <a:cubicBezTo>
                    <a:pt x="52639" y="38842"/>
                    <a:pt x="52193" y="38842"/>
                    <a:pt x="51970" y="39000"/>
                  </a:cubicBezTo>
                  <a:cubicBezTo>
                    <a:pt x="51970" y="39157"/>
                    <a:pt x="51747" y="39473"/>
                    <a:pt x="51747" y="39789"/>
                  </a:cubicBezTo>
                  <a:cubicBezTo>
                    <a:pt x="51747" y="39947"/>
                    <a:pt x="52416" y="40421"/>
                    <a:pt x="52416" y="40421"/>
                  </a:cubicBezTo>
                  <a:cubicBezTo>
                    <a:pt x="52193" y="40736"/>
                    <a:pt x="52193" y="40736"/>
                    <a:pt x="52193" y="40736"/>
                  </a:cubicBezTo>
                  <a:cubicBezTo>
                    <a:pt x="51301" y="41368"/>
                    <a:pt x="51301" y="41368"/>
                    <a:pt x="51301" y="41368"/>
                  </a:cubicBezTo>
                  <a:cubicBezTo>
                    <a:pt x="51301" y="41368"/>
                    <a:pt x="50855" y="41526"/>
                    <a:pt x="50855" y="41684"/>
                  </a:cubicBezTo>
                  <a:cubicBezTo>
                    <a:pt x="51078" y="41684"/>
                    <a:pt x="50185" y="42000"/>
                    <a:pt x="50185" y="42000"/>
                  </a:cubicBezTo>
                  <a:cubicBezTo>
                    <a:pt x="48624" y="42631"/>
                    <a:pt x="48624" y="42631"/>
                    <a:pt x="48624" y="42631"/>
                  </a:cubicBezTo>
                  <a:cubicBezTo>
                    <a:pt x="48624" y="42631"/>
                    <a:pt x="48847" y="43105"/>
                    <a:pt x="48847" y="43263"/>
                  </a:cubicBezTo>
                  <a:cubicBezTo>
                    <a:pt x="48847" y="43263"/>
                    <a:pt x="49516" y="43578"/>
                    <a:pt x="49070" y="43894"/>
                  </a:cubicBezTo>
                  <a:cubicBezTo>
                    <a:pt x="48624" y="44052"/>
                    <a:pt x="48178" y="44210"/>
                    <a:pt x="47955" y="44368"/>
                  </a:cubicBezTo>
                  <a:cubicBezTo>
                    <a:pt x="47955" y="44368"/>
                    <a:pt x="47509" y="44526"/>
                    <a:pt x="47509" y="45000"/>
                  </a:cubicBezTo>
                  <a:cubicBezTo>
                    <a:pt x="47732" y="45315"/>
                    <a:pt x="47286" y="45789"/>
                    <a:pt x="47063" y="45789"/>
                  </a:cubicBezTo>
                  <a:cubicBezTo>
                    <a:pt x="47063" y="45789"/>
                    <a:pt x="46617" y="45947"/>
                    <a:pt x="46617" y="46421"/>
                  </a:cubicBezTo>
                  <a:cubicBezTo>
                    <a:pt x="46840" y="46736"/>
                    <a:pt x="46617" y="47842"/>
                    <a:pt x="46617" y="47842"/>
                  </a:cubicBezTo>
                  <a:cubicBezTo>
                    <a:pt x="46617" y="47842"/>
                    <a:pt x="47286" y="48473"/>
                    <a:pt x="47509" y="48473"/>
                  </a:cubicBezTo>
                  <a:cubicBezTo>
                    <a:pt x="47509" y="48473"/>
                    <a:pt x="48624" y="48157"/>
                    <a:pt x="48847" y="48315"/>
                  </a:cubicBezTo>
                  <a:cubicBezTo>
                    <a:pt x="49293" y="48315"/>
                    <a:pt x="49962" y="48631"/>
                    <a:pt x="49962" y="48631"/>
                  </a:cubicBezTo>
                  <a:cubicBezTo>
                    <a:pt x="49962" y="48631"/>
                    <a:pt x="49739" y="49421"/>
                    <a:pt x="49516" y="49578"/>
                  </a:cubicBezTo>
                  <a:cubicBezTo>
                    <a:pt x="49293" y="49578"/>
                    <a:pt x="47955" y="49736"/>
                    <a:pt x="47955" y="49736"/>
                  </a:cubicBezTo>
                  <a:cubicBezTo>
                    <a:pt x="47955" y="49736"/>
                    <a:pt x="47286" y="49421"/>
                    <a:pt x="47063" y="49421"/>
                  </a:cubicBezTo>
                  <a:cubicBezTo>
                    <a:pt x="46840" y="49578"/>
                    <a:pt x="45724" y="50368"/>
                    <a:pt x="45724" y="50368"/>
                  </a:cubicBezTo>
                  <a:cubicBezTo>
                    <a:pt x="45724" y="50368"/>
                    <a:pt x="45724" y="50842"/>
                    <a:pt x="45501" y="50842"/>
                  </a:cubicBezTo>
                  <a:cubicBezTo>
                    <a:pt x="45055" y="51000"/>
                    <a:pt x="44832" y="50684"/>
                    <a:pt x="44832" y="51000"/>
                  </a:cubicBezTo>
                  <a:cubicBezTo>
                    <a:pt x="44832" y="51157"/>
                    <a:pt x="44832" y="51631"/>
                    <a:pt x="44832" y="51789"/>
                  </a:cubicBezTo>
                  <a:cubicBezTo>
                    <a:pt x="44832" y="52105"/>
                    <a:pt x="44832" y="52578"/>
                    <a:pt x="44832" y="52578"/>
                  </a:cubicBezTo>
                  <a:cubicBezTo>
                    <a:pt x="44832" y="52578"/>
                    <a:pt x="44386" y="53210"/>
                    <a:pt x="44163" y="53526"/>
                  </a:cubicBezTo>
                  <a:cubicBezTo>
                    <a:pt x="43940" y="53842"/>
                    <a:pt x="43494" y="54631"/>
                    <a:pt x="43494" y="54789"/>
                  </a:cubicBezTo>
                  <a:cubicBezTo>
                    <a:pt x="43717" y="54947"/>
                    <a:pt x="44163" y="55736"/>
                    <a:pt x="44163" y="55736"/>
                  </a:cubicBezTo>
                  <a:cubicBezTo>
                    <a:pt x="42602" y="56368"/>
                    <a:pt x="42602" y="56368"/>
                    <a:pt x="42602" y="56368"/>
                  </a:cubicBezTo>
                  <a:cubicBezTo>
                    <a:pt x="43048" y="57157"/>
                    <a:pt x="43048" y="57157"/>
                    <a:pt x="43048" y="57157"/>
                  </a:cubicBezTo>
                  <a:cubicBezTo>
                    <a:pt x="43048" y="57157"/>
                    <a:pt x="43271" y="57157"/>
                    <a:pt x="43271" y="57315"/>
                  </a:cubicBezTo>
                  <a:cubicBezTo>
                    <a:pt x="43271" y="57631"/>
                    <a:pt x="42156" y="58105"/>
                    <a:pt x="42156" y="58105"/>
                  </a:cubicBezTo>
                  <a:cubicBezTo>
                    <a:pt x="42156" y="58105"/>
                    <a:pt x="42156" y="58894"/>
                    <a:pt x="42156" y="59052"/>
                  </a:cubicBezTo>
                  <a:cubicBezTo>
                    <a:pt x="42156" y="59210"/>
                    <a:pt x="41040" y="58578"/>
                    <a:pt x="41040" y="58578"/>
                  </a:cubicBezTo>
                  <a:cubicBezTo>
                    <a:pt x="40148" y="58736"/>
                    <a:pt x="40148" y="58736"/>
                    <a:pt x="40148" y="58736"/>
                  </a:cubicBezTo>
                  <a:cubicBezTo>
                    <a:pt x="40148" y="59368"/>
                    <a:pt x="40148" y="59368"/>
                    <a:pt x="40148" y="59368"/>
                  </a:cubicBezTo>
                  <a:cubicBezTo>
                    <a:pt x="39702" y="60000"/>
                    <a:pt x="39702" y="60000"/>
                    <a:pt x="39702" y="60000"/>
                  </a:cubicBezTo>
                  <a:cubicBezTo>
                    <a:pt x="38141" y="60000"/>
                    <a:pt x="38141" y="60000"/>
                    <a:pt x="38141" y="60000"/>
                  </a:cubicBezTo>
                  <a:cubicBezTo>
                    <a:pt x="38141" y="60000"/>
                    <a:pt x="36802" y="60631"/>
                    <a:pt x="36802" y="60631"/>
                  </a:cubicBezTo>
                  <a:cubicBezTo>
                    <a:pt x="37026" y="60789"/>
                    <a:pt x="36356" y="61263"/>
                    <a:pt x="37026" y="61263"/>
                  </a:cubicBezTo>
                  <a:cubicBezTo>
                    <a:pt x="37472" y="61263"/>
                    <a:pt x="37695" y="61263"/>
                    <a:pt x="37918" y="61263"/>
                  </a:cubicBezTo>
                  <a:cubicBezTo>
                    <a:pt x="38364" y="61105"/>
                    <a:pt x="39256" y="60789"/>
                    <a:pt x="39479" y="60789"/>
                  </a:cubicBezTo>
                  <a:cubicBezTo>
                    <a:pt x="39702" y="60789"/>
                    <a:pt x="40371" y="60789"/>
                    <a:pt x="39925" y="61105"/>
                  </a:cubicBezTo>
                  <a:cubicBezTo>
                    <a:pt x="39479" y="61421"/>
                    <a:pt x="39033" y="61421"/>
                    <a:pt x="38810" y="61578"/>
                  </a:cubicBezTo>
                  <a:cubicBezTo>
                    <a:pt x="38364" y="61736"/>
                    <a:pt x="37695" y="61736"/>
                    <a:pt x="37695" y="62210"/>
                  </a:cubicBezTo>
                  <a:cubicBezTo>
                    <a:pt x="37695" y="62684"/>
                    <a:pt x="37472" y="63157"/>
                    <a:pt x="37472" y="63157"/>
                  </a:cubicBezTo>
                  <a:cubicBezTo>
                    <a:pt x="39033" y="62842"/>
                    <a:pt x="39033" y="62842"/>
                    <a:pt x="39033" y="62842"/>
                  </a:cubicBezTo>
                  <a:cubicBezTo>
                    <a:pt x="39033" y="62842"/>
                    <a:pt x="39479" y="62684"/>
                    <a:pt x="39479" y="63157"/>
                  </a:cubicBezTo>
                  <a:cubicBezTo>
                    <a:pt x="39702" y="63789"/>
                    <a:pt x="39033" y="63947"/>
                    <a:pt x="38587" y="63947"/>
                  </a:cubicBezTo>
                  <a:cubicBezTo>
                    <a:pt x="38364" y="63947"/>
                    <a:pt x="37249" y="63315"/>
                    <a:pt x="37249" y="63315"/>
                  </a:cubicBezTo>
                  <a:cubicBezTo>
                    <a:pt x="36356" y="63789"/>
                    <a:pt x="36356" y="63789"/>
                    <a:pt x="36356" y="63789"/>
                  </a:cubicBezTo>
                  <a:cubicBezTo>
                    <a:pt x="36356" y="63789"/>
                    <a:pt x="36133" y="63631"/>
                    <a:pt x="35241" y="64105"/>
                  </a:cubicBezTo>
                  <a:cubicBezTo>
                    <a:pt x="34349" y="64736"/>
                    <a:pt x="33903" y="65526"/>
                    <a:pt x="33903" y="65684"/>
                  </a:cubicBezTo>
                  <a:cubicBezTo>
                    <a:pt x="33903" y="65842"/>
                    <a:pt x="33903" y="66157"/>
                    <a:pt x="33234" y="66473"/>
                  </a:cubicBezTo>
                  <a:cubicBezTo>
                    <a:pt x="32788" y="66631"/>
                    <a:pt x="32118" y="67105"/>
                    <a:pt x="32118" y="67105"/>
                  </a:cubicBezTo>
                  <a:cubicBezTo>
                    <a:pt x="32118" y="67105"/>
                    <a:pt x="31895" y="67578"/>
                    <a:pt x="31672" y="67894"/>
                  </a:cubicBezTo>
                  <a:cubicBezTo>
                    <a:pt x="31449" y="68210"/>
                    <a:pt x="31449" y="68210"/>
                    <a:pt x="31449" y="68210"/>
                  </a:cubicBezTo>
                  <a:cubicBezTo>
                    <a:pt x="32342" y="68842"/>
                    <a:pt x="32342" y="68842"/>
                    <a:pt x="32342" y="68842"/>
                  </a:cubicBezTo>
                  <a:cubicBezTo>
                    <a:pt x="30780" y="69473"/>
                    <a:pt x="30780" y="69473"/>
                    <a:pt x="30780" y="69473"/>
                  </a:cubicBezTo>
                  <a:cubicBezTo>
                    <a:pt x="30111" y="69789"/>
                    <a:pt x="30111" y="69789"/>
                    <a:pt x="30111" y="69789"/>
                  </a:cubicBezTo>
                  <a:cubicBezTo>
                    <a:pt x="30111" y="69789"/>
                    <a:pt x="28773" y="70736"/>
                    <a:pt x="29665" y="70894"/>
                  </a:cubicBezTo>
                  <a:cubicBezTo>
                    <a:pt x="30780" y="71052"/>
                    <a:pt x="31449" y="71052"/>
                    <a:pt x="31449" y="71052"/>
                  </a:cubicBezTo>
                  <a:cubicBezTo>
                    <a:pt x="31449" y="71052"/>
                    <a:pt x="31226" y="72000"/>
                    <a:pt x="31449" y="72000"/>
                  </a:cubicBezTo>
                  <a:cubicBezTo>
                    <a:pt x="31672" y="72000"/>
                    <a:pt x="33680" y="72000"/>
                    <a:pt x="33680" y="72000"/>
                  </a:cubicBezTo>
                  <a:cubicBezTo>
                    <a:pt x="34795" y="71368"/>
                    <a:pt x="34795" y="71368"/>
                    <a:pt x="34795" y="71368"/>
                  </a:cubicBezTo>
                  <a:cubicBezTo>
                    <a:pt x="35464" y="71052"/>
                    <a:pt x="35464" y="71052"/>
                    <a:pt x="35464" y="71052"/>
                  </a:cubicBezTo>
                  <a:cubicBezTo>
                    <a:pt x="35910" y="71684"/>
                    <a:pt x="35910" y="71684"/>
                    <a:pt x="35910" y="71684"/>
                  </a:cubicBezTo>
                  <a:cubicBezTo>
                    <a:pt x="35910" y="71684"/>
                    <a:pt x="35464" y="72157"/>
                    <a:pt x="35018" y="72157"/>
                  </a:cubicBezTo>
                  <a:cubicBezTo>
                    <a:pt x="34349" y="72157"/>
                    <a:pt x="34572" y="72157"/>
                    <a:pt x="34126" y="72473"/>
                  </a:cubicBezTo>
                  <a:cubicBezTo>
                    <a:pt x="33457" y="72947"/>
                    <a:pt x="33234" y="73105"/>
                    <a:pt x="32788" y="73105"/>
                  </a:cubicBezTo>
                  <a:cubicBezTo>
                    <a:pt x="32565" y="73105"/>
                    <a:pt x="32118" y="73578"/>
                    <a:pt x="31672" y="72947"/>
                  </a:cubicBezTo>
                  <a:cubicBezTo>
                    <a:pt x="31449" y="72473"/>
                    <a:pt x="31003" y="72000"/>
                    <a:pt x="31003" y="72000"/>
                  </a:cubicBezTo>
                  <a:cubicBezTo>
                    <a:pt x="28996" y="71368"/>
                    <a:pt x="28996" y="71368"/>
                    <a:pt x="28996" y="71368"/>
                  </a:cubicBezTo>
                  <a:cubicBezTo>
                    <a:pt x="28550" y="71526"/>
                    <a:pt x="28550" y="71526"/>
                    <a:pt x="28550" y="71526"/>
                  </a:cubicBezTo>
                  <a:cubicBezTo>
                    <a:pt x="28550" y="71526"/>
                    <a:pt x="28327" y="72157"/>
                    <a:pt x="28104" y="72157"/>
                  </a:cubicBezTo>
                  <a:cubicBezTo>
                    <a:pt x="27881" y="72157"/>
                    <a:pt x="26542" y="72157"/>
                    <a:pt x="26096" y="72157"/>
                  </a:cubicBezTo>
                  <a:cubicBezTo>
                    <a:pt x="25873" y="72157"/>
                    <a:pt x="25427" y="72157"/>
                    <a:pt x="25427" y="72000"/>
                  </a:cubicBezTo>
                  <a:cubicBezTo>
                    <a:pt x="25204" y="71684"/>
                    <a:pt x="25427" y="71684"/>
                    <a:pt x="25204" y="71526"/>
                  </a:cubicBezTo>
                  <a:cubicBezTo>
                    <a:pt x="24981" y="71368"/>
                    <a:pt x="24535" y="70736"/>
                    <a:pt x="24089" y="70894"/>
                  </a:cubicBezTo>
                  <a:cubicBezTo>
                    <a:pt x="23866" y="70894"/>
                    <a:pt x="22750" y="71210"/>
                    <a:pt x="22750" y="71210"/>
                  </a:cubicBezTo>
                  <a:cubicBezTo>
                    <a:pt x="22527" y="72473"/>
                    <a:pt x="22527" y="72473"/>
                    <a:pt x="22527" y="72473"/>
                  </a:cubicBezTo>
                  <a:cubicBezTo>
                    <a:pt x="22527" y="72473"/>
                    <a:pt x="21858" y="72473"/>
                    <a:pt x="22081" y="72789"/>
                  </a:cubicBezTo>
                  <a:cubicBezTo>
                    <a:pt x="22081" y="73105"/>
                    <a:pt x="22973" y="73421"/>
                    <a:pt x="22973" y="73421"/>
                  </a:cubicBezTo>
                  <a:cubicBezTo>
                    <a:pt x="22973" y="73421"/>
                    <a:pt x="23420" y="73736"/>
                    <a:pt x="23420" y="73894"/>
                  </a:cubicBezTo>
                  <a:cubicBezTo>
                    <a:pt x="23643" y="74210"/>
                    <a:pt x="22973" y="74526"/>
                    <a:pt x="22973" y="74526"/>
                  </a:cubicBezTo>
                  <a:cubicBezTo>
                    <a:pt x="22973" y="74526"/>
                    <a:pt x="21858" y="74526"/>
                    <a:pt x="21635" y="74842"/>
                  </a:cubicBezTo>
                  <a:cubicBezTo>
                    <a:pt x="21635" y="75000"/>
                    <a:pt x="21858" y="75473"/>
                    <a:pt x="21635" y="75473"/>
                  </a:cubicBezTo>
                  <a:cubicBezTo>
                    <a:pt x="21412" y="75631"/>
                    <a:pt x="21189" y="75947"/>
                    <a:pt x="21189" y="76105"/>
                  </a:cubicBezTo>
                  <a:cubicBezTo>
                    <a:pt x="21189" y="76105"/>
                    <a:pt x="21635" y="76894"/>
                    <a:pt x="21635" y="76894"/>
                  </a:cubicBezTo>
                  <a:cubicBezTo>
                    <a:pt x="21635" y="76894"/>
                    <a:pt x="21635" y="77526"/>
                    <a:pt x="21189" y="77210"/>
                  </a:cubicBezTo>
                  <a:cubicBezTo>
                    <a:pt x="20743" y="76894"/>
                    <a:pt x="19405" y="76421"/>
                    <a:pt x="19405" y="76421"/>
                  </a:cubicBezTo>
                  <a:cubicBezTo>
                    <a:pt x="18513" y="75947"/>
                    <a:pt x="18513" y="75947"/>
                    <a:pt x="18513" y="75947"/>
                  </a:cubicBezTo>
                  <a:cubicBezTo>
                    <a:pt x="18513" y="75947"/>
                    <a:pt x="17620" y="76421"/>
                    <a:pt x="17397" y="76421"/>
                  </a:cubicBezTo>
                  <a:cubicBezTo>
                    <a:pt x="17397" y="76578"/>
                    <a:pt x="15836" y="76421"/>
                    <a:pt x="15390" y="76578"/>
                  </a:cubicBezTo>
                  <a:cubicBezTo>
                    <a:pt x="15167" y="76736"/>
                    <a:pt x="15167" y="76894"/>
                    <a:pt x="14944" y="77210"/>
                  </a:cubicBezTo>
                  <a:cubicBezTo>
                    <a:pt x="14498" y="77526"/>
                    <a:pt x="13828" y="77526"/>
                    <a:pt x="14498" y="78000"/>
                  </a:cubicBezTo>
                  <a:cubicBezTo>
                    <a:pt x="14944" y="78473"/>
                    <a:pt x="16059" y="78631"/>
                    <a:pt x="16059" y="78631"/>
                  </a:cubicBezTo>
                  <a:cubicBezTo>
                    <a:pt x="16059" y="78631"/>
                    <a:pt x="16505" y="78789"/>
                    <a:pt x="16059" y="79263"/>
                  </a:cubicBezTo>
                  <a:cubicBezTo>
                    <a:pt x="15613" y="79894"/>
                    <a:pt x="14721" y="79421"/>
                    <a:pt x="14498" y="79421"/>
                  </a:cubicBezTo>
                  <a:cubicBezTo>
                    <a:pt x="14275" y="79263"/>
                    <a:pt x="13382" y="78789"/>
                    <a:pt x="13159" y="78947"/>
                  </a:cubicBezTo>
                  <a:cubicBezTo>
                    <a:pt x="12936" y="79105"/>
                    <a:pt x="12267" y="79894"/>
                    <a:pt x="12267" y="79894"/>
                  </a:cubicBezTo>
                  <a:cubicBezTo>
                    <a:pt x="12267" y="79894"/>
                    <a:pt x="11598" y="80052"/>
                    <a:pt x="11375" y="79894"/>
                  </a:cubicBezTo>
                  <a:cubicBezTo>
                    <a:pt x="11152" y="79894"/>
                    <a:pt x="10483" y="79105"/>
                    <a:pt x="10260" y="79263"/>
                  </a:cubicBezTo>
                  <a:cubicBezTo>
                    <a:pt x="10037" y="79421"/>
                    <a:pt x="9814" y="79736"/>
                    <a:pt x="9814" y="79894"/>
                  </a:cubicBezTo>
                  <a:cubicBezTo>
                    <a:pt x="9814" y="80052"/>
                    <a:pt x="10260" y="80368"/>
                    <a:pt x="10037" y="80526"/>
                  </a:cubicBezTo>
                  <a:cubicBezTo>
                    <a:pt x="10037" y="80684"/>
                    <a:pt x="8921" y="80842"/>
                    <a:pt x="8698" y="81000"/>
                  </a:cubicBezTo>
                  <a:cubicBezTo>
                    <a:pt x="8698" y="81157"/>
                    <a:pt x="8698" y="80842"/>
                    <a:pt x="8252" y="81473"/>
                  </a:cubicBezTo>
                  <a:cubicBezTo>
                    <a:pt x="8029" y="82105"/>
                    <a:pt x="8252" y="82105"/>
                    <a:pt x="8029" y="82105"/>
                  </a:cubicBezTo>
                  <a:cubicBezTo>
                    <a:pt x="7583" y="82263"/>
                    <a:pt x="6691" y="81789"/>
                    <a:pt x="6691" y="81789"/>
                  </a:cubicBezTo>
                  <a:cubicBezTo>
                    <a:pt x="6691" y="81789"/>
                    <a:pt x="6022" y="81315"/>
                    <a:pt x="6022" y="81789"/>
                  </a:cubicBezTo>
                  <a:cubicBezTo>
                    <a:pt x="6022" y="82421"/>
                    <a:pt x="5799" y="83052"/>
                    <a:pt x="5799" y="83052"/>
                  </a:cubicBezTo>
                  <a:cubicBezTo>
                    <a:pt x="6468" y="83368"/>
                    <a:pt x="6468" y="83368"/>
                    <a:pt x="6468" y="83368"/>
                  </a:cubicBezTo>
                  <a:cubicBezTo>
                    <a:pt x="6468" y="83368"/>
                    <a:pt x="6245" y="83684"/>
                    <a:pt x="6022" y="83684"/>
                  </a:cubicBezTo>
                  <a:cubicBezTo>
                    <a:pt x="6022" y="83684"/>
                    <a:pt x="5576" y="83526"/>
                    <a:pt x="5353" y="83210"/>
                  </a:cubicBezTo>
                  <a:cubicBezTo>
                    <a:pt x="5130" y="83052"/>
                    <a:pt x="5353" y="83052"/>
                    <a:pt x="4684" y="82894"/>
                  </a:cubicBezTo>
                  <a:cubicBezTo>
                    <a:pt x="4014" y="82736"/>
                    <a:pt x="3568" y="82421"/>
                    <a:pt x="3568" y="82736"/>
                  </a:cubicBezTo>
                  <a:cubicBezTo>
                    <a:pt x="3568" y="82894"/>
                    <a:pt x="3345" y="83210"/>
                    <a:pt x="3568" y="83368"/>
                  </a:cubicBezTo>
                  <a:cubicBezTo>
                    <a:pt x="3791" y="83684"/>
                    <a:pt x="4237" y="84000"/>
                    <a:pt x="4237" y="84000"/>
                  </a:cubicBezTo>
                  <a:cubicBezTo>
                    <a:pt x="4460" y="84000"/>
                    <a:pt x="4460" y="84000"/>
                    <a:pt x="4460" y="84000"/>
                  </a:cubicBezTo>
                  <a:cubicBezTo>
                    <a:pt x="4460" y="84000"/>
                    <a:pt x="4237" y="84473"/>
                    <a:pt x="4014" y="84473"/>
                  </a:cubicBezTo>
                  <a:cubicBezTo>
                    <a:pt x="3791" y="84631"/>
                    <a:pt x="3568" y="84315"/>
                    <a:pt x="3345" y="84315"/>
                  </a:cubicBezTo>
                  <a:cubicBezTo>
                    <a:pt x="3345" y="84315"/>
                    <a:pt x="2676" y="84631"/>
                    <a:pt x="2676" y="84631"/>
                  </a:cubicBezTo>
                  <a:cubicBezTo>
                    <a:pt x="2676" y="84631"/>
                    <a:pt x="2899" y="84947"/>
                    <a:pt x="2899" y="85105"/>
                  </a:cubicBezTo>
                  <a:cubicBezTo>
                    <a:pt x="2899" y="85263"/>
                    <a:pt x="2230" y="85421"/>
                    <a:pt x="2230" y="85578"/>
                  </a:cubicBezTo>
                  <a:cubicBezTo>
                    <a:pt x="2007" y="85578"/>
                    <a:pt x="1784" y="85736"/>
                    <a:pt x="1784" y="85894"/>
                  </a:cubicBezTo>
                  <a:cubicBezTo>
                    <a:pt x="1784" y="86052"/>
                    <a:pt x="2007" y="86526"/>
                    <a:pt x="2230" y="86368"/>
                  </a:cubicBezTo>
                  <a:cubicBezTo>
                    <a:pt x="2453" y="86368"/>
                    <a:pt x="3568" y="86526"/>
                    <a:pt x="3568" y="86526"/>
                  </a:cubicBezTo>
                  <a:cubicBezTo>
                    <a:pt x="3568" y="86526"/>
                    <a:pt x="3345" y="86842"/>
                    <a:pt x="3122" y="87000"/>
                  </a:cubicBezTo>
                  <a:cubicBezTo>
                    <a:pt x="2899" y="87000"/>
                    <a:pt x="2676" y="87315"/>
                    <a:pt x="2453" y="87473"/>
                  </a:cubicBezTo>
                  <a:cubicBezTo>
                    <a:pt x="2230" y="87789"/>
                    <a:pt x="2676" y="88421"/>
                    <a:pt x="3122" y="88578"/>
                  </a:cubicBezTo>
                  <a:cubicBezTo>
                    <a:pt x="3791" y="88736"/>
                    <a:pt x="4460" y="88736"/>
                    <a:pt x="4460" y="89052"/>
                  </a:cubicBezTo>
                  <a:cubicBezTo>
                    <a:pt x="4237" y="89210"/>
                    <a:pt x="3122" y="89842"/>
                    <a:pt x="2899" y="90000"/>
                  </a:cubicBezTo>
                  <a:cubicBezTo>
                    <a:pt x="2676" y="90000"/>
                    <a:pt x="2230" y="90157"/>
                    <a:pt x="2230" y="90473"/>
                  </a:cubicBezTo>
                  <a:cubicBezTo>
                    <a:pt x="2230" y="90789"/>
                    <a:pt x="2230" y="90947"/>
                    <a:pt x="1784" y="91105"/>
                  </a:cubicBezTo>
                  <a:cubicBezTo>
                    <a:pt x="1338" y="91263"/>
                    <a:pt x="1115" y="91105"/>
                    <a:pt x="1115" y="91578"/>
                  </a:cubicBezTo>
                  <a:cubicBezTo>
                    <a:pt x="1115" y="91894"/>
                    <a:pt x="1338" y="92052"/>
                    <a:pt x="1561" y="92052"/>
                  </a:cubicBezTo>
                  <a:cubicBezTo>
                    <a:pt x="1784" y="92052"/>
                    <a:pt x="1784" y="92052"/>
                    <a:pt x="1784" y="92052"/>
                  </a:cubicBezTo>
                  <a:cubicBezTo>
                    <a:pt x="3568" y="91894"/>
                    <a:pt x="3568" y="91894"/>
                    <a:pt x="3568" y="91894"/>
                  </a:cubicBezTo>
                  <a:cubicBezTo>
                    <a:pt x="3568" y="91894"/>
                    <a:pt x="3345" y="92368"/>
                    <a:pt x="3345" y="92526"/>
                  </a:cubicBezTo>
                  <a:cubicBezTo>
                    <a:pt x="3345" y="92684"/>
                    <a:pt x="2007" y="93631"/>
                    <a:pt x="2007" y="93631"/>
                  </a:cubicBezTo>
                  <a:cubicBezTo>
                    <a:pt x="2007" y="93631"/>
                    <a:pt x="2230" y="94105"/>
                    <a:pt x="2007" y="94105"/>
                  </a:cubicBezTo>
                  <a:cubicBezTo>
                    <a:pt x="1561" y="94263"/>
                    <a:pt x="1115" y="94421"/>
                    <a:pt x="892" y="94578"/>
                  </a:cubicBezTo>
                  <a:cubicBezTo>
                    <a:pt x="892" y="94736"/>
                    <a:pt x="892" y="95052"/>
                    <a:pt x="892" y="95210"/>
                  </a:cubicBezTo>
                  <a:cubicBezTo>
                    <a:pt x="1115" y="95526"/>
                    <a:pt x="1561" y="96000"/>
                    <a:pt x="1561" y="96157"/>
                  </a:cubicBezTo>
                  <a:cubicBezTo>
                    <a:pt x="1784" y="96315"/>
                    <a:pt x="1338" y="96631"/>
                    <a:pt x="1338" y="96631"/>
                  </a:cubicBezTo>
                  <a:cubicBezTo>
                    <a:pt x="892" y="97894"/>
                    <a:pt x="892" y="97894"/>
                    <a:pt x="892" y="97894"/>
                  </a:cubicBezTo>
                  <a:cubicBezTo>
                    <a:pt x="892" y="97894"/>
                    <a:pt x="892" y="98526"/>
                    <a:pt x="892" y="98684"/>
                  </a:cubicBezTo>
                  <a:cubicBezTo>
                    <a:pt x="892" y="98842"/>
                    <a:pt x="0" y="99000"/>
                    <a:pt x="446" y="99473"/>
                  </a:cubicBezTo>
                  <a:cubicBezTo>
                    <a:pt x="892" y="99789"/>
                    <a:pt x="1115" y="99947"/>
                    <a:pt x="1338" y="100105"/>
                  </a:cubicBezTo>
                  <a:cubicBezTo>
                    <a:pt x="1784" y="100105"/>
                    <a:pt x="2899" y="100105"/>
                    <a:pt x="2899" y="100263"/>
                  </a:cubicBezTo>
                  <a:cubicBezTo>
                    <a:pt x="2899" y="100263"/>
                    <a:pt x="2899" y="100421"/>
                    <a:pt x="2230" y="100578"/>
                  </a:cubicBezTo>
                  <a:cubicBezTo>
                    <a:pt x="1784" y="100578"/>
                    <a:pt x="1338" y="100421"/>
                    <a:pt x="1338" y="100736"/>
                  </a:cubicBezTo>
                  <a:cubicBezTo>
                    <a:pt x="1115" y="100894"/>
                    <a:pt x="223" y="101842"/>
                    <a:pt x="223" y="101842"/>
                  </a:cubicBezTo>
                  <a:cubicBezTo>
                    <a:pt x="1338" y="102789"/>
                    <a:pt x="1338" y="102789"/>
                    <a:pt x="1338" y="102789"/>
                  </a:cubicBezTo>
                  <a:cubicBezTo>
                    <a:pt x="1338" y="102789"/>
                    <a:pt x="1784" y="102473"/>
                    <a:pt x="2007" y="102473"/>
                  </a:cubicBezTo>
                  <a:cubicBezTo>
                    <a:pt x="2230" y="102315"/>
                    <a:pt x="2899" y="102473"/>
                    <a:pt x="2899" y="102631"/>
                  </a:cubicBezTo>
                  <a:cubicBezTo>
                    <a:pt x="2899" y="102631"/>
                    <a:pt x="2453" y="103105"/>
                    <a:pt x="2230" y="103105"/>
                  </a:cubicBezTo>
                  <a:cubicBezTo>
                    <a:pt x="2230" y="103263"/>
                    <a:pt x="1561" y="103421"/>
                    <a:pt x="1561" y="103578"/>
                  </a:cubicBezTo>
                  <a:cubicBezTo>
                    <a:pt x="1561" y="103578"/>
                    <a:pt x="2230" y="104210"/>
                    <a:pt x="2230" y="104210"/>
                  </a:cubicBezTo>
                  <a:cubicBezTo>
                    <a:pt x="2230" y="104210"/>
                    <a:pt x="2676" y="104210"/>
                    <a:pt x="2676" y="104526"/>
                  </a:cubicBezTo>
                  <a:cubicBezTo>
                    <a:pt x="2676" y="104684"/>
                    <a:pt x="1784" y="105000"/>
                    <a:pt x="1784" y="105000"/>
                  </a:cubicBezTo>
                  <a:cubicBezTo>
                    <a:pt x="2007" y="105473"/>
                    <a:pt x="2007" y="105473"/>
                    <a:pt x="2007" y="105473"/>
                  </a:cubicBezTo>
                  <a:cubicBezTo>
                    <a:pt x="1338" y="106421"/>
                    <a:pt x="1338" y="106421"/>
                    <a:pt x="1338" y="106421"/>
                  </a:cubicBezTo>
                  <a:cubicBezTo>
                    <a:pt x="2453" y="106894"/>
                    <a:pt x="2453" y="106894"/>
                    <a:pt x="2453" y="106894"/>
                  </a:cubicBezTo>
                  <a:cubicBezTo>
                    <a:pt x="2453" y="106894"/>
                    <a:pt x="3345" y="106894"/>
                    <a:pt x="3122" y="107368"/>
                  </a:cubicBezTo>
                  <a:cubicBezTo>
                    <a:pt x="2676" y="107684"/>
                    <a:pt x="2007" y="108000"/>
                    <a:pt x="2007" y="108157"/>
                  </a:cubicBezTo>
                  <a:cubicBezTo>
                    <a:pt x="2007" y="108473"/>
                    <a:pt x="1784" y="108789"/>
                    <a:pt x="2230" y="108947"/>
                  </a:cubicBezTo>
                  <a:cubicBezTo>
                    <a:pt x="2676" y="108947"/>
                    <a:pt x="2676" y="109105"/>
                    <a:pt x="2899" y="108947"/>
                  </a:cubicBezTo>
                  <a:cubicBezTo>
                    <a:pt x="3345" y="108789"/>
                    <a:pt x="3791" y="108631"/>
                    <a:pt x="3791" y="108631"/>
                  </a:cubicBezTo>
                  <a:cubicBezTo>
                    <a:pt x="3791" y="108631"/>
                    <a:pt x="4460" y="108315"/>
                    <a:pt x="4907" y="108315"/>
                  </a:cubicBezTo>
                  <a:cubicBezTo>
                    <a:pt x="5130" y="108315"/>
                    <a:pt x="5576" y="108473"/>
                    <a:pt x="5799" y="108631"/>
                  </a:cubicBezTo>
                  <a:cubicBezTo>
                    <a:pt x="5799" y="108789"/>
                    <a:pt x="5799" y="108947"/>
                    <a:pt x="6022" y="109105"/>
                  </a:cubicBezTo>
                  <a:cubicBezTo>
                    <a:pt x="6245" y="109105"/>
                    <a:pt x="5799" y="109894"/>
                    <a:pt x="5799" y="109894"/>
                  </a:cubicBezTo>
                  <a:cubicBezTo>
                    <a:pt x="5130" y="110526"/>
                    <a:pt x="5130" y="110526"/>
                    <a:pt x="5130" y="110526"/>
                  </a:cubicBezTo>
                  <a:cubicBezTo>
                    <a:pt x="5130" y="110526"/>
                    <a:pt x="5799" y="111157"/>
                    <a:pt x="5576" y="111157"/>
                  </a:cubicBezTo>
                  <a:cubicBezTo>
                    <a:pt x="5576" y="111157"/>
                    <a:pt x="4460" y="111315"/>
                    <a:pt x="4237" y="111315"/>
                  </a:cubicBezTo>
                  <a:cubicBezTo>
                    <a:pt x="4014" y="111315"/>
                    <a:pt x="3791" y="111157"/>
                    <a:pt x="3791" y="111473"/>
                  </a:cubicBezTo>
                  <a:cubicBezTo>
                    <a:pt x="3568" y="111789"/>
                    <a:pt x="2899" y="112578"/>
                    <a:pt x="2899" y="112578"/>
                  </a:cubicBezTo>
                  <a:cubicBezTo>
                    <a:pt x="2899" y="112578"/>
                    <a:pt x="2676" y="112894"/>
                    <a:pt x="2899" y="113210"/>
                  </a:cubicBezTo>
                  <a:cubicBezTo>
                    <a:pt x="3122" y="113526"/>
                    <a:pt x="4014" y="114631"/>
                    <a:pt x="4014" y="114631"/>
                  </a:cubicBezTo>
                  <a:cubicBezTo>
                    <a:pt x="4014" y="114789"/>
                    <a:pt x="4460" y="115263"/>
                    <a:pt x="5130" y="115578"/>
                  </a:cubicBezTo>
                  <a:cubicBezTo>
                    <a:pt x="5799" y="115894"/>
                    <a:pt x="6245" y="115894"/>
                    <a:pt x="6245" y="116210"/>
                  </a:cubicBezTo>
                  <a:cubicBezTo>
                    <a:pt x="6468" y="116526"/>
                    <a:pt x="6468" y="116526"/>
                    <a:pt x="6468" y="116526"/>
                  </a:cubicBezTo>
                  <a:cubicBezTo>
                    <a:pt x="7360" y="117157"/>
                    <a:pt x="7360" y="117157"/>
                    <a:pt x="7360" y="117157"/>
                  </a:cubicBezTo>
                  <a:cubicBezTo>
                    <a:pt x="7360" y="117157"/>
                    <a:pt x="7806" y="117315"/>
                    <a:pt x="8475" y="117315"/>
                  </a:cubicBezTo>
                  <a:cubicBezTo>
                    <a:pt x="9144" y="117473"/>
                    <a:pt x="10037" y="117473"/>
                    <a:pt x="10037" y="117631"/>
                  </a:cubicBezTo>
                  <a:cubicBezTo>
                    <a:pt x="10260" y="117631"/>
                    <a:pt x="9368" y="118105"/>
                    <a:pt x="9368" y="118105"/>
                  </a:cubicBezTo>
                  <a:cubicBezTo>
                    <a:pt x="9368" y="118105"/>
                    <a:pt x="8252" y="118736"/>
                    <a:pt x="8698" y="118894"/>
                  </a:cubicBezTo>
                  <a:cubicBezTo>
                    <a:pt x="9144" y="119052"/>
                    <a:pt x="12267" y="119526"/>
                    <a:pt x="12267" y="119526"/>
                  </a:cubicBezTo>
                  <a:cubicBezTo>
                    <a:pt x="12267" y="119526"/>
                    <a:pt x="12713" y="119684"/>
                    <a:pt x="12713" y="119842"/>
                  </a:cubicBezTo>
                  <a:cubicBezTo>
                    <a:pt x="12713" y="120000"/>
                    <a:pt x="13382" y="119684"/>
                    <a:pt x="13382" y="119684"/>
                  </a:cubicBezTo>
                  <a:cubicBezTo>
                    <a:pt x="13605" y="119526"/>
                    <a:pt x="14498" y="119842"/>
                    <a:pt x="14721" y="119842"/>
                  </a:cubicBezTo>
                  <a:cubicBezTo>
                    <a:pt x="14721" y="119842"/>
                    <a:pt x="16059" y="119684"/>
                    <a:pt x="16059" y="119684"/>
                  </a:cubicBezTo>
                  <a:cubicBezTo>
                    <a:pt x="17174" y="119368"/>
                    <a:pt x="17174" y="119368"/>
                    <a:pt x="17174" y="119368"/>
                  </a:cubicBezTo>
                  <a:cubicBezTo>
                    <a:pt x="17174" y="119368"/>
                    <a:pt x="17843" y="118578"/>
                    <a:pt x="18289" y="118736"/>
                  </a:cubicBezTo>
                  <a:cubicBezTo>
                    <a:pt x="18959" y="118894"/>
                    <a:pt x="18736" y="119210"/>
                    <a:pt x="19182" y="119210"/>
                  </a:cubicBezTo>
                  <a:cubicBezTo>
                    <a:pt x="19405" y="119210"/>
                    <a:pt x="19851" y="119210"/>
                    <a:pt x="20297" y="118736"/>
                  </a:cubicBezTo>
                  <a:cubicBezTo>
                    <a:pt x="20743" y="118421"/>
                    <a:pt x="21189" y="118105"/>
                    <a:pt x="21412" y="117947"/>
                  </a:cubicBezTo>
                  <a:cubicBezTo>
                    <a:pt x="21635" y="117947"/>
                    <a:pt x="24312" y="116842"/>
                    <a:pt x="24312" y="116842"/>
                  </a:cubicBezTo>
                  <a:cubicBezTo>
                    <a:pt x="26096" y="114631"/>
                    <a:pt x="26096" y="114631"/>
                    <a:pt x="26096" y="114631"/>
                  </a:cubicBezTo>
                  <a:cubicBezTo>
                    <a:pt x="26765" y="113052"/>
                    <a:pt x="26765" y="113052"/>
                    <a:pt x="26765" y="113052"/>
                  </a:cubicBezTo>
                  <a:cubicBezTo>
                    <a:pt x="26765" y="113052"/>
                    <a:pt x="27657" y="112263"/>
                    <a:pt x="28327" y="112263"/>
                  </a:cubicBezTo>
                  <a:cubicBezTo>
                    <a:pt x="28773" y="112263"/>
                    <a:pt x="30334" y="111789"/>
                    <a:pt x="30111" y="111473"/>
                  </a:cubicBezTo>
                  <a:cubicBezTo>
                    <a:pt x="30111" y="111000"/>
                    <a:pt x="30780" y="110842"/>
                    <a:pt x="30780" y="111473"/>
                  </a:cubicBezTo>
                  <a:cubicBezTo>
                    <a:pt x="31003" y="112105"/>
                    <a:pt x="30780" y="112736"/>
                    <a:pt x="31226" y="112421"/>
                  </a:cubicBezTo>
                  <a:cubicBezTo>
                    <a:pt x="31895" y="112105"/>
                    <a:pt x="33011" y="111157"/>
                    <a:pt x="33011" y="111157"/>
                  </a:cubicBezTo>
                  <a:cubicBezTo>
                    <a:pt x="33011" y="111157"/>
                    <a:pt x="33680" y="110684"/>
                    <a:pt x="34126" y="110526"/>
                  </a:cubicBezTo>
                  <a:cubicBezTo>
                    <a:pt x="34572" y="110526"/>
                    <a:pt x="35241" y="109421"/>
                    <a:pt x="35241" y="109421"/>
                  </a:cubicBezTo>
                  <a:cubicBezTo>
                    <a:pt x="35241" y="109421"/>
                    <a:pt x="36133" y="108947"/>
                    <a:pt x="36579" y="109421"/>
                  </a:cubicBezTo>
                  <a:cubicBezTo>
                    <a:pt x="36802" y="110052"/>
                    <a:pt x="37695" y="110842"/>
                    <a:pt x="37695" y="111157"/>
                  </a:cubicBezTo>
                  <a:cubicBezTo>
                    <a:pt x="37695" y="111157"/>
                    <a:pt x="38141" y="111315"/>
                    <a:pt x="38587" y="111473"/>
                  </a:cubicBezTo>
                  <a:cubicBezTo>
                    <a:pt x="38587" y="111157"/>
                    <a:pt x="38587" y="111157"/>
                    <a:pt x="38587" y="111157"/>
                  </a:cubicBezTo>
                  <a:cubicBezTo>
                    <a:pt x="38587" y="110210"/>
                    <a:pt x="38587" y="110210"/>
                    <a:pt x="38587" y="110210"/>
                  </a:cubicBezTo>
                  <a:cubicBezTo>
                    <a:pt x="38587" y="110210"/>
                    <a:pt x="40148" y="111157"/>
                    <a:pt x="40148" y="111157"/>
                  </a:cubicBezTo>
                  <a:cubicBezTo>
                    <a:pt x="40371" y="111315"/>
                    <a:pt x="40371" y="112263"/>
                    <a:pt x="40371" y="112263"/>
                  </a:cubicBezTo>
                  <a:cubicBezTo>
                    <a:pt x="40817" y="112263"/>
                    <a:pt x="40817" y="112263"/>
                    <a:pt x="40817" y="112263"/>
                  </a:cubicBezTo>
                  <a:cubicBezTo>
                    <a:pt x="40817" y="112105"/>
                    <a:pt x="40817" y="112105"/>
                    <a:pt x="40817" y="112105"/>
                  </a:cubicBezTo>
                  <a:cubicBezTo>
                    <a:pt x="41263" y="112263"/>
                    <a:pt x="41263" y="112263"/>
                    <a:pt x="41263" y="112263"/>
                  </a:cubicBezTo>
                  <a:cubicBezTo>
                    <a:pt x="41486" y="112105"/>
                    <a:pt x="41486" y="112105"/>
                    <a:pt x="41486" y="112105"/>
                  </a:cubicBezTo>
                  <a:cubicBezTo>
                    <a:pt x="41710" y="111157"/>
                    <a:pt x="41710" y="111157"/>
                    <a:pt x="41710" y="111157"/>
                  </a:cubicBezTo>
                  <a:cubicBezTo>
                    <a:pt x="41933" y="110052"/>
                    <a:pt x="41933" y="110052"/>
                    <a:pt x="41933" y="110052"/>
                  </a:cubicBezTo>
                  <a:cubicBezTo>
                    <a:pt x="42602" y="109105"/>
                    <a:pt x="42602" y="109105"/>
                    <a:pt x="42602" y="109105"/>
                  </a:cubicBezTo>
                  <a:cubicBezTo>
                    <a:pt x="42602" y="108157"/>
                    <a:pt x="42602" y="108157"/>
                    <a:pt x="42602" y="108157"/>
                  </a:cubicBezTo>
                  <a:cubicBezTo>
                    <a:pt x="41710" y="107052"/>
                    <a:pt x="41710" y="107052"/>
                    <a:pt x="41710" y="107052"/>
                  </a:cubicBezTo>
                  <a:cubicBezTo>
                    <a:pt x="41263" y="106105"/>
                    <a:pt x="41263" y="106105"/>
                    <a:pt x="41263" y="106105"/>
                  </a:cubicBezTo>
                  <a:cubicBezTo>
                    <a:pt x="41933" y="105947"/>
                    <a:pt x="41933" y="105947"/>
                    <a:pt x="41933" y="105947"/>
                  </a:cubicBezTo>
                  <a:cubicBezTo>
                    <a:pt x="41933" y="105789"/>
                    <a:pt x="41933" y="105789"/>
                    <a:pt x="41933" y="105789"/>
                  </a:cubicBezTo>
                  <a:cubicBezTo>
                    <a:pt x="42156" y="105789"/>
                    <a:pt x="42156" y="105789"/>
                    <a:pt x="42156" y="105789"/>
                  </a:cubicBezTo>
                  <a:cubicBezTo>
                    <a:pt x="42602" y="105473"/>
                    <a:pt x="42602" y="105473"/>
                    <a:pt x="42602" y="105473"/>
                  </a:cubicBezTo>
                  <a:cubicBezTo>
                    <a:pt x="42825" y="104684"/>
                    <a:pt x="42825" y="104684"/>
                    <a:pt x="42825" y="104684"/>
                  </a:cubicBezTo>
                  <a:cubicBezTo>
                    <a:pt x="42379" y="104368"/>
                    <a:pt x="42379" y="104368"/>
                    <a:pt x="42379" y="104368"/>
                  </a:cubicBezTo>
                  <a:cubicBezTo>
                    <a:pt x="42379" y="103894"/>
                    <a:pt x="42379" y="103894"/>
                    <a:pt x="42379" y="103894"/>
                  </a:cubicBezTo>
                  <a:cubicBezTo>
                    <a:pt x="42379" y="103894"/>
                    <a:pt x="42825" y="103578"/>
                    <a:pt x="42825" y="103578"/>
                  </a:cubicBezTo>
                  <a:cubicBezTo>
                    <a:pt x="42825" y="103578"/>
                    <a:pt x="42825" y="103578"/>
                    <a:pt x="42825" y="103578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494" y="103263"/>
                    <a:pt x="43494" y="103263"/>
                  </a:cubicBezTo>
                  <a:cubicBezTo>
                    <a:pt x="43717" y="103263"/>
                    <a:pt x="44163" y="103263"/>
                    <a:pt x="44163" y="103263"/>
                  </a:cubicBezTo>
                  <a:cubicBezTo>
                    <a:pt x="44386" y="103263"/>
                    <a:pt x="44386" y="103263"/>
                    <a:pt x="44386" y="103263"/>
                  </a:cubicBezTo>
                  <a:cubicBezTo>
                    <a:pt x="44832" y="102947"/>
                    <a:pt x="44832" y="102947"/>
                    <a:pt x="44832" y="102947"/>
                  </a:cubicBezTo>
                  <a:cubicBezTo>
                    <a:pt x="44832" y="102947"/>
                    <a:pt x="45724" y="102473"/>
                    <a:pt x="45724" y="102315"/>
                  </a:cubicBezTo>
                  <a:cubicBezTo>
                    <a:pt x="45724" y="102157"/>
                    <a:pt x="46171" y="101684"/>
                    <a:pt x="46171" y="101684"/>
                  </a:cubicBezTo>
                  <a:cubicBezTo>
                    <a:pt x="46171" y="100894"/>
                    <a:pt x="46171" y="100894"/>
                    <a:pt x="46171" y="100894"/>
                  </a:cubicBezTo>
                  <a:cubicBezTo>
                    <a:pt x="45724" y="100105"/>
                    <a:pt x="45724" y="100105"/>
                    <a:pt x="45724" y="100105"/>
                  </a:cubicBezTo>
                  <a:cubicBezTo>
                    <a:pt x="46171" y="99631"/>
                    <a:pt x="46171" y="99631"/>
                    <a:pt x="46171" y="99631"/>
                  </a:cubicBezTo>
                  <a:cubicBezTo>
                    <a:pt x="46840" y="98684"/>
                    <a:pt x="46840" y="98684"/>
                    <a:pt x="46840" y="98684"/>
                  </a:cubicBezTo>
                  <a:cubicBezTo>
                    <a:pt x="46394" y="97736"/>
                    <a:pt x="46394" y="97736"/>
                    <a:pt x="46394" y="97736"/>
                  </a:cubicBezTo>
                  <a:cubicBezTo>
                    <a:pt x="45055" y="96631"/>
                    <a:pt x="45055" y="96631"/>
                    <a:pt x="45055" y="96631"/>
                  </a:cubicBezTo>
                  <a:cubicBezTo>
                    <a:pt x="44386" y="95210"/>
                    <a:pt x="44386" y="95210"/>
                    <a:pt x="44386" y="95210"/>
                  </a:cubicBezTo>
                  <a:cubicBezTo>
                    <a:pt x="43940" y="94263"/>
                    <a:pt x="43940" y="94263"/>
                    <a:pt x="43940" y="94263"/>
                  </a:cubicBezTo>
                  <a:cubicBezTo>
                    <a:pt x="45055" y="93473"/>
                    <a:pt x="45055" y="93473"/>
                    <a:pt x="45055" y="93473"/>
                  </a:cubicBezTo>
                  <a:cubicBezTo>
                    <a:pt x="45278" y="93315"/>
                    <a:pt x="45278" y="93315"/>
                    <a:pt x="45278" y="93315"/>
                  </a:cubicBezTo>
                  <a:cubicBezTo>
                    <a:pt x="45278" y="93315"/>
                    <a:pt x="45278" y="93315"/>
                    <a:pt x="45278" y="93315"/>
                  </a:cubicBezTo>
                  <a:cubicBezTo>
                    <a:pt x="45501" y="93315"/>
                    <a:pt x="45501" y="93315"/>
                    <a:pt x="45501" y="93315"/>
                  </a:cubicBezTo>
                  <a:cubicBezTo>
                    <a:pt x="46171" y="93315"/>
                    <a:pt x="46171" y="93315"/>
                    <a:pt x="46171" y="93315"/>
                  </a:cubicBezTo>
                  <a:cubicBezTo>
                    <a:pt x="46171" y="93315"/>
                    <a:pt x="47286" y="93315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732" y="92052"/>
                    <a:pt x="47732" y="92052"/>
                    <a:pt x="47732" y="92052"/>
                  </a:cubicBezTo>
                  <a:cubicBezTo>
                    <a:pt x="47732" y="92052"/>
                    <a:pt x="47732" y="92052"/>
                    <a:pt x="47732" y="92052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509" y="90473"/>
                    <a:pt x="47509" y="90473"/>
                    <a:pt x="47509" y="90473"/>
                  </a:cubicBezTo>
                  <a:cubicBezTo>
                    <a:pt x="46171" y="89684"/>
                    <a:pt x="46171" y="89684"/>
                    <a:pt x="46171" y="89684"/>
                  </a:cubicBezTo>
                  <a:cubicBezTo>
                    <a:pt x="44609" y="88894"/>
                    <a:pt x="44609" y="88894"/>
                    <a:pt x="44609" y="88894"/>
                  </a:cubicBezTo>
                  <a:cubicBezTo>
                    <a:pt x="43940" y="87631"/>
                    <a:pt x="43940" y="87631"/>
                    <a:pt x="43940" y="87631"/>
                  </a:cubicBezTo>
                  <a:cubicBezTo>
                    <a:pt x="43717" y="82736"/>
                    <a:pt x="43717" y="82736"/>
                    <a:pt x="43717" y="82736"/>
                  </a:cubicBezTo>
                  <a:cubicBezTo>
                    <a:pt x="43717" y="82736"/>
                    <a:pt x="42156" y="80684"/>
                    <a:pt x="42156" y="80526"/>
                  </a:cubicBezTo>
                  <a:cubicBezTo>
                    <a:pt x="41933" y="80210"/>
                    <a:pt x="41933" y="79894"/>
                    <a:pt x="42379" y="79578"/>
                  </a:cubicBezTo>
                  <a:cubicBezTo>
                    <a:pt x="42602" y="79421"/>
                    <a:pt x="42379" y="79105"/>
                    <a:pt x="42379" y="79105"/>
                  </a:cubicBezTo>
                  <a:cubicBezTo>
                    <a:pt x="42156" y="78000"/>
                    <a:pt x="42156" y="78000"/>
                    <a:pt x="42156" y="78000"/>
                  </a:cubicBezTo>
                  <a:cubicBezTo>
                    <a:pt x="42602" y="77526"/>
                    <a:pt x="42602" y="77526"/>
                    <a:pt x="42602" y="77526"/>
                  </a:cubicBezTo>
                  <a:cubicBezTo>
                    <a:pt x="42602" y="76578"/>
                    <a:pt x="42602" y="76578"/>
                    <a:pt x="42602" y="76578"/>
                  </a:cubicBezTo>
                  <a:cubicBezTo>
                    <a:pt x="41710" y="75315"/>
                    <a:pt x="41710" y="75315"/>
                    <a:pt x="41710" y="75315"/>
                  </a:cubicBezTo>
                  <a:cubicBezTo>
                    <a:pt x="41710" y="75315"/>
                    <a:pt x="41710" y="74368"/>
                    <a:pt x="41710" y="74210"/>
                  </a:cubicBezTo>
                  <a:cubicBezTo>
                    <a:pt x="41710" y="73894"/>
                    <a:pt x="42379" y="73263"/>
                    <a:pt x="42379" y="73263"/>
                  </a:cubicBezTo>
                  <a:cubicBezTo>
                    <a:pt x="42602" y="72157"/>
                    <a:pt x="42602" y="72157"/>
                    <a:pt x="42602" y="72157"/>
                  </a:cubicBezTo>
                  <a:cubicBezTo>
                    <a:pt x="43048" y="70578"/>
                    <a:pt x="43048" y="70578"/>
                    <a:pt x="43048" y="70578"/>
                  </a:cubicBezTo>
                  <a:cubicBezTo>
                    <a:pt x="45947" y="67894"/>
                    <a:pt x="45947" y="67894"/>
                    <a:pt x="45947" y="67894"/>
                  </a:cubicBezTo>
                  <a:cubicBezTo>
                    <a:pt x="46617" y="67894"/>
                    <a:pt x="46617" y="67894"/>
                    <a:pt x="46617" y="67894"/>
                  </a:cubicBezTo>
                  <a:cubicBezTo>
                    <a:pt x="51301" y="67736"/>
                    <a:pt x="51301" y="67736"/>
                    <a:pt x="51301" y="67736"/>
                  </a:cubicBezTo>
                  <a:cubicBezTo>
                    <a:pt x="51524" y="67421"/>
                    <a:pt x="51524" y="67421"/>
                    <a:pt x="51524" y="67421"/>
                  </a:cubicBezTo>
                  <a:cubicBezTo>
                    <a:pt x="51747" y="67263"/>
                    <a:pt x="51747" y="67263"/>
                    <a:pt x="51747" y="67263"/>
                  </a:cubicBezTo>
                  <a:cubicBezTo>
                    <a:pt x="52193" y="66315"/>
                    <a:pt x="52193" y="66315"/>
                    <a:pt x="52193" y="66315"/>
                  </a:cubicBezTo>
                  <a:cubicBezTo>
                    <a:pt x="51970" y="63789"/>
                    <a:pt x="51970" y="63789"/>
                    <a:pt x="51970" y="63789"/>
                  </a:cubicBezTo>
                  <a:cubicBezTo>
                    <a:pt x="49962" y="63473"/>
                    <a:pt x="49962" y="63473"/>
                    <a:pt x="49962" y="63473"/>
                  </a:cubicBezTo>
                  <a:cubicBezTo>
                    <a:pt x="49516" y="62684"/>
                    <a:pt x="49516" y="62684"/>
                    <a:pt x="49516" y="62684"/>
                  </a:cubicBezTo>
                  <a:cubicBezTo>
                    <a:pt x="52862" y="58578"/>
                    <a:pt x="52862" y="58578"/>
                    <a:pt x="52862" y="58578"/>
                  </a:cubicBezTo>
                  <a:cubicBezTo>
                    <a:pt x="52639" y="57631"/>
                    <a:pt x="52639" y="57631"/>
                    <a:pt x="52639" y="57631"/>
                  </a:cubicBezTo>
                  <a:cubicBezTo>
                    <a:pt x="53531" y="57157"/>
                    <a:pt x="53531" y="57157"/>
                    <a:pt x="53531" y="57157"/>
                  </a:cubicBezTo>
                  <a:cubicBezTo>
                    <a:pt x="53531" y="57157"/>
                    <a:pt x="53308" y="56526"/>
                    <a:pt x="53085" y="56210"/>
                  </a:cubicBezTo>
                  <a:cubicBezTo>
                    <a:pt x="52862" y="56052"/>
                    <a:pt x="53308" y="55105"/>
                    <a:pt x="53308" y="55105"/>
                  </a:cubicBezTo>
                  <a:cubicBezTo>
                    <a:pt x="53531" y="54000"/>
                    <a:pt x="53531" y="54000"/>
                    <a:pt x="53531" y="54000"/>
                  </a:cubicBezTo>
                  <a:cubicBezTo>
                    <a:pt x="53977" y="52736"/>
                    <a:pt x="53977" y="52736"/>
                    <a:pt x="53977" y="52736"/>
                  </a:cubicBezTo>
                  <a:cubicBezTo>
                    <a:pt x="52862" y="50052"/>
                    <a:pt x="52862" y="50052"/>
                    <a:pt x="52862" y="50052"/>
                  </a:cubicBezTo>
                  <a:cubicBezTo>
                    <a:pt x="53531" y="49578"/>
                    <a:pt x="53531" y="49578"/>
                    <a:pt x="53531" y="49578"/>
                  </a:cubicBezTo>
                  <a:cubicBezTo>
                    <a:pt x="54423" y="49578"/>
                    <a:pt x="54423" y="49578"/>
                    <a:pt x="54423" y="49578"/>
                  </a:cubicBezTo>
                  <a:cubicBezTo>
                    <a:pt x="54646" y="49578"/>
                    <a:pt x="55092" y="49421"/>
                    <a:pt x="55539" y="49421"/>
                  </a:cubicBezTo>
                  <a:cubicBezTo>
                    <a:pt x="55985" y="49263"/>
                    <a:pt x="56208" y="49105"/>
                    <a:pt x="56877" y="48631"/>
                  </a:cubicBezTo>
                  <a:cubicBezTo>
                    <a:pt x="57100" y="48315"/>
                    <a:pt x="57100" y="48315"/>
                    <a:pt x="57100" y="48315"/>
                  </a:cubicBezTo>
                  <a:cubicBezTo>
                    <a:pt x="57323" y="47526"/>
                    <a:pt x="57323" y="47526"/>
                    <a:pt x="57323" y="47526"/>
                  </a:cubicBezTo>
                  <a:cubicBezTo>
                    <a:pt x="57323" y="46105"/>
                    <a:pt x="57323" y="46105"/>
                    <a:pt x="57323" y="46105"/>
                  </a:cubicBezTo>
                  <a:cubicBezTo>
                    <a:pt x="58438" y="44052"/>
                    <a:pt x="58438" y="44052"/>
                    <a:pt x="58438" y="44052"/>
                  </a:cubicBezTo>
                  <a:cubicBezTo>
                    <a:pt x="58438" y="44052"/>
                    <a:pt x="60223" y="42473"/>
                    <a:pt x="60446" y="42157"/>
                  </a:cubicBezTo>
                  <a:cubicBezTo>
                    <a:pt x="60669" y="41842"/>
                    <a:pt x="61338" y="40736"/>
                    <a:pt x="61338" y="40736"/>
                  </a:cubicBezTo>
                  <a:cubicBezTo>
                    <a:pt x="61338" y="40736"/>
                    <a:pt x="60892" y="39473"/>
                    <a:pt x="60669" y="39157"/>
                  </a:cubicBezTo>
                  <a:cubicBezTo>
                    <a:pt x="60223" y="39000"/>
                    <a:pt x="59553" y="38052"/>
                    <a:pt x="59553" y="38052"/>
                  </a:cubicBezTo>
                  <a:cubicBezTo>
                    <a:pt x="59553" y="37263"/>
                    <a:pt x="59553" y="37263"/>
                    <a:pt x="59553" y="37263"/>
                  </a:cubicBezTo>
                  <a:cubicBezTo>
                    <a:pt x="60892" y="36631"/>
                    <a:pt x="60892" y="36631"/>
                    <a:pt x="60892" y="36631"/>
                  </a:cubicBezTo>
                  <a:cubicBezTo>
                    <a:pt x="61338" y="36000"/>
                    <a:pt x="61338" y="36000"/>
                    <a:pt x="61338" y="36000"/>
                  </a:cubicBezTo>
                  <a:cubicBezTo>
                    <a:pt x="61338" y="36000"/>
                    <a:pt x="61338" y="34894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784" y="34105"/>
                    <a:pt x="61784" y="34105"/>
                    <a:pt x="61784" y="34105"/>
                  </a:cubicBezTo>
                  <a:cubicBezTo>
                    <a:pt x="61784" y="34105"/>
                    <a:pt x="61784" y="34105"/>
                    <a:pt x="61784" y="34105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631"/>
                    <a:pt x="62676" y="33000"/>
                    <a:pt x="62676" y="33000"/>
                  </a:cubicBezTo>
                  <a:cubicBezTo>
                    <a:pt x="63568" y="31736"/>
                    <a:pt x="63568" y="31736"/>
                    <a:pt x="63568" y="31736"/>
                  </a:cubicBezTo>
                  <a:cubicBezTo>
                    <a:pt x="65799" y="32526"/>
                    <a:pt x="65799" y="32526"/>
                    <a:pt x="65799" y="32526"/>
                  </a:cubicBezTo>
                  <a:cubicBezTo>
                    <a:pt x="66914" y="32526"/>
                    <a:pt x="66914" y="32526"/>
                    <a:pt x="66914" y="32526"/>
                  </a:cubicBezTo>
                  <a:cubicBezTo>
                    <a:pt x="67360" y="31894"/>
                    <a:pt x="67360" y="31894"/>
                    <a:pt x="67360" y="31894"/>
                  </a:cubicBezTo>
                  <a:cubicBezTo>
                    <a:pt x="67137" y="31421"/>
                    <a:pt x="66914" y="28105"/>
                    <a:pt x="67583" y="27473"/>
                  </a:cubicBezTo>
                  <a:cubicBezTo>
                    <a:pt x="67583" y="27473"/>
                    <a:pt x="70706" y="27631"/>
                    <a:pt x="71152" y="27473"/>
                  </a:cubicBezTo>
                  <a:cubicBezTo>
                    <a:pt x="71375" y="27473"/>
                    <a:pt x="72490" y="27789"/>
                    <a:pt x="72713" y="27947"/>
                  </a:cubicBezTo>
                  <a:cubicBezTo>
                    <a:pt x="72713" y="27947"/>
                    <a:pt x="72713" y="27947"/>
                    <a:pt x="72713" y="27947"/>
                  </a:cubicBezTo>
                  <a:cubicBezTo>
                    <a:pt x="72713" y="27947"/>
                    <a:pt x="72713" y="27947"/>
                    <a:pt x="72713" y="27947"/>
                  </a:cubicBezTo>
                  <a:cubicBezTo>
                    <a:pt x="72936" y="28105"/>
                    <a:pt x="73159" y="28105"/>
                    <a:pt x="73382" y="28105"/>
                  </a:cubicBezTo>
                  <a:cubicBezTo>
                    <a:pt x="73828" y="28263"/>
                    <a:pt x="74275" y="28263"/>
                    <a:pt x="74275" y="28263"/>
                  </a:cubicBezTo>
                  <a:cubicBezTo>
                    <a:pt x="75613" y="28105"/>
                    <a:pt x="75613" y="28105"/>
                    <a:pt x="75613" y="28105"/>
                  </a:cubicBezTo>
                  <a:cubicBezTo>
                    <a:pt x="76505" y="27315"/>
                    <a:pt x="76505" y="27315"/>
                    <a:pt x="76505" y="27315"/>
                  </a:cubicBezTo>
                  <a:cubicBezTo>
                    <a:pt x="75613" y="26684"/>
                    <a:pt x="75613" y="26684"/>
                    <a:pt x="75613" y="26684"/>
                  </a:cubicBezTo>
                  <a:cubicBezTo>
                    <a:pt x="76505" y="25894"/>
                    <a:pt x="76505" y="24789"/>
                    <a:pt x="76282" y="24631"/>
                  </a:cubicBezTo>
                  <a:cubicBezTo>
                    <a:pt x="76059" y="24315"/>
                    <a:pt x="75613" y="22894"/>
                    <a:pt x="75390" y="22736"/>
                  </a:cubicBezTo>
                  <a:cubicBezTo>
                    <a:pt x="75390" y="22578"/>
                    <a:pt x="75836" y="22421"/>
                    <a:pt x="75836" y="22421"/>
                  </a:cubicBezTo>
                  <a:cubicBezTo>
                    <a:pt x="76282" y="22421"/>
                    <a:pt x="76282" y="22421"/>
                    <a:pt x="76282" y="22421"/>
                  </a:cubicBezTo>
                  <a:cubicBezTo>
                    <a:pt x="76282" y="22421"/>
                    <a:pt x="76505" y="22263"/>
                    <a:pt x="76728" y="22263"/>
                  </a:cubicBezTo>
                  <a:cubicBezTo>
                    <a:pt x="77843" y="21631"/>
                    <a:pt x="77843" y="21631"/>
                    <a:pt x="77843" y="21631"/>
                  </a:cubicBezTo>
                  <a:cubicBezTo>
                    <a:pt x="78959" y="21789"/>
                    <a:pt x="78959" y="21789"/>
                    <a:pt x="78959" y="21789"/>
                  </a:cubicBezTo>
                  <a:cubicBezTo>
                    <a:pt x="78959" y="21789"/>
                    <a:pt x="78959" y="21631"/>
                    <a:pt x="79182" y="21631"/>
                  </a:cubicBezTo>
                  <a:cubicBezTo>
                    <a:pt x="79405" y="21631"/>
                    <a:pt x="79405" y="21473"/>
                    <a:pt x="79405" y="21473"/>
                  </a:cubicBezTo>
                  <a:cubicBezTo>
                    <a:pt x="79405" y="21473"/>
                    <a:pt x="78736" y="20526"/>
                    <a:pt x="79182" y="20052"/>
                  </a:cubicBezTo>
                  <a:cubicBezTo>
                    <a:pt x="79405" y="19736"/>
                    <a:pt x="79628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2" name="Shape 2053"/>
            <p:cNvSpPr/>
            <p:nvPr/>
          </p:nvSpPr>
          <p:spPr>
            <a:xfrm>
              <a:off x="3733035" y="1542150"/>
              <a:ext cx="664055" cy="121670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0103" y="109309"/>
                  </a:moveTo>
                  <a:cubicBezTo>
                    <a:pt x="28453" y="109963"/>
                    <a:pt x="28453" y="109963"/>
                    <a:pt x="28453" y="109963"/>
                  </a:cubicBezTo>
                  <a:cubicBezTo>
                    <a:pt x="28453" y="110836"/>
                    <a:pt x="28453" y="110836"/>
                    <a:pt x="28453" y="110836"/>
                  </a:cubicBezTo>
                  <a:cubicBezTo>
                    <a:pt x="27628" y="111709"/>
                    <a:pt x="27628" y="111709"/>
                    <a:pt x="27628" y="111709"/>
                  </a:cubicBezTo>
                  <a:cubicBezTo>
                    <a:pt x="27628" y="111709"/>
                    <a:pt x="26804" y="111927"/>
                    <a:pt x="26804" y="112145"/>
                  </a:cubicBezTo>
                  <a:cubicBezTo>
                    <a:pt x="26391" y="112363"/>
                    <a:pt x="24742" y="113018"/>
                    <a:pt x="24742" y="113018"/>
                  </a:cubicBezTo>
                  <a:cubicBezTo>
                    <a:pt x="24742" y="113018"/>
                    <a:pt x="24742" y="113236"/>
                    <a:pt x="24329" y="113236"/>
                  </a:cubicBezTo>
                  <a:cubicBezTo>
                    <a:pt x="23917" y="113236"/>
                    <a:pt x="21030" y="113890"/>
                    <a:pt x="21030" y="113890"/>
                  </a:cubicBezTo>
                  <a:cubicBezTo>
                    <a:pt x="20206" y="114763"/>
                    <a:pt x="20206" y="114763"/>
                    <a:pt x="20206" y="114763"/>
                  </a:cubicBezTo>
                  <a:cubicBezTo>
                    <a:pt x="18556" y="114981"/>
                    <a:pt x="18556" y="114981"/>
                    <a:pt x="18556" y="114981"/>
                  </a:cubicBezTo>
                  <a:cubicBezTo>
                    <a:pt x="17319" y="116072"/>
                    <a:pt x="17319" y="116072"/>
                    <a:pt x="17319" y="116072"/>
                  </a:cubicBezTo>
                  <a:cubicBezTo>
                    <a:pt x="15257" y="116509"/>
                    <a:pt x="15257" y="116509"/>
                    <a:pt x="15257" y="116509"/>
                  </a:cubicBezTo>
                  <a:cubicBezTo>
                    <a:pt x="13608" y="116727"/>
                    <a:pt x="13608" y="116727"/>
                    <a:pt x="13608" y="116727"/>
                  </a:cubicBezTo>
                  <a:cubicBezTo>
                    <a:pt x="11958" y="116290"/>
                    <a:pt x="11958" y="116290"/>
                    <a:pt x="11958" y="116290"/>
                  </a:cubicBezTo>
                  <a:cubicBezTo>
                    <a:pt x="10721" y="116727"/>
                    <a:pt x="10721" y="116727"/>
                    <a:pt x="10721" y="116727"/>
                  </a:cubicBezTo>
                  <a:cubicBezTo>
                    <a:pt x="9484" y="117163"/>
                    <a:pt x="9484" y="117163"/>
                    <a:pt x="9484" y="117163"/>
                  </a:cubicBezTo>
                  <a:cubicBezTo>
                    <a:pt x="9896" y="118036"/>
                    <a:pt x="9896" y="118036"/>
                    <a:pt x="9896" y="118036"/>
                  </a:cubicBezTo>
                  <a:cubicBezTo>
                    <a:pt x="11134" y="118472"/>
                    <a:pt x="11134" y="118472"/>
                    <a:pt x="11134" y="118472"/>
                  </a:cubicBezTo>
                  <a:cubicBezTo>
                    <a:pt x="11958" y="117818"/>
                    <a:pt x="11958" y="117818"/>
                    <a:pt x="11958" y="117818"/>
                  </a:cubicBezTo>
                  <a:cubicBezTo>
                    <a:pt x="14432" y="118254"/>
                    <a:pt x="14432" y="118254"/>
                    <a:pt x="14432" y="118254"/>
                  </a:cubicBezTo>
                  <a:cubicBezTo>
                    <a:pt x="14432" y="118254"/>
                    <a:pt x="15257" y="118909"/>
                    <a:pt x="15670" y="119127"/>
                  </a:cubicBezTo>
                  <a:cubicBezTo>
                    <a:pt x="15670" y="119345"/>
                    <a:pt x="15670" y="120000"/>
                    <a:pt x="16082" y="120000"/>
                  </a:cubicBezTo>
                  <a:cubicBezTo>
                    <a:pt x="16494" y="119781"/>
                    <a:pt x="18556" y="119127"/>
                    <a:pt x="18556" y="119127"/>
                  </a:cubicBezTo>
                  <a:cubicBezTo>
                    <a:pt x="17731" y="118254"/>
                    <a:pt x="17731" y="118254"/>
                    <a:pt x="17731" y="118254"/>
                  </a:cubicBezTo>
                  <a:cubicBezTo>
                    <a:pt x="17731" y="118254"/>
                    <a:pt x="18969" y="118036"/>
                    <a:pt x="19793" y="118036"/>
                  </a:cubicBezTo>
                  <a:cubicBezTo>
                    <a:pt x="20618" y="118036"/>
                    <a:pt x="21443" y="118254"/>
                    <a:pt x="21855" y="117818"/>
                  </a:cubicBezTo>
                  <a:cubicBezTo>
                    <a:pt x="21855" y="117600"/>
                    <a:pt x="23092" y="117600"/>
                    <a:pt x="23092" y="117600"/>
                  </a:cubicBezTo>
                  <a:cubicBezTo>
                    <a:pt x="23092" y="117600"/>
                    <a:pt x="23917" y="116945"/>
                    <a:pt x="23917" y="116945"/>
                  </a:cubicBezTo>
                  <a:cubicBezTo>
                    <a:pt x="23917" y="116727"/>
                    <a:pt x="25154" y="116290"/>
                    <a:pt x="25154" y="116290"/>
                  </a:cubicBezTo>
                  <a:cubicBezTo>
                    <a:pt x="25154" y="116290"/>
                    <a:pt x="28041" y="116945"/>
                    <a:pt x="28453" y="116945"/>
                  </a:cubicBezTo>
                  <a:cubicBezTo>
                    <a:pt x="28865" y="116945"/>
                    <a:pt x="31752" y="116509"/>
                    <a:pt x="31752" y="116509"/>
                  </a:cubicBezTo>
                  <a:cubicBezTo>
                    <a:pt x="32989" y="117163"/>
                    <a:pt x="32989" y="117163"/>
                    <a:pt x="32989" y="117163"/>
                  </a:cubicBezTo>
                  <a:cubicBezTo>
                    <a:pt x="32989" y="117163"/>
                    <a:pt x="32989" y="117600"/>
                    <a:pt x="33814" y="117818"/>
                  </a:cubicBezTo>
                  <a:cubicBezTo>
                    <a:pt x="34639" y="117818"/>
                    <a:pt x="35051" y="117818"/>
                    <a:pt x="35051" y="117818"/>
                  </a:cubicBezTo>
                  <a:cubicBezTo>
                    <a:pt x="36288" y="118690"/>
                    <a:pt x="36288" y="118690"/>
                    <a:pt x="36288" y="118690"/>
                  </a:cubicBezTo>
                  <a:cubicBezTo>
                    <a:pt x="37525" y="119127"/>
                    <a:pt x="37525" y="119127"/>
                    <a:pt x="37525" y="119127"/>
                  </a:cubicBezTo>
                  <a:cubicBezTo>
                    <a:pt x="37525" y="119127"/>
                    <a:pt x="38762" y="119127"/>
                    <a:pt x="38762" y="118909"/>
                  </a:cubicBezTo>
                  <a:cubicBezTo>
                    <a:pt x="38762" y="118690"/>
                    <a:pt x="39175" y="118254"/>
                    <a:pt x="39587" y="118036"/>
                  </a:cubicBezTo>
                  <a:cubicBezTo>
                    <a:pt x="40000" y="118036"/>
                    <a:pt x="41237" y="117818"/>
                    <a:pt x="41237" y="117818"/>
                  </a:cubicBezTo>
                  <a:cubicBezTo>
                    <a:pt x="41237" y="117818"/>
                    <a:pt x="41237" y="117381"/>
                    <a:pt x="41237" y="117163"/>
                  </a:cubicBezTo>
                  <a:cubicBezTo>
                    <a:pt x="41237" y="116727"/>
                    <a:pt x="41237" y="116072"/>
                    <a:pt x="41649" y="115854"/>
                  </a:cubicBezTo>
                  <a:cubicBezTo>
                    <a:pt x="41649" y="115854"/>
                    <a:pt x="42886" y="114981"/>
                    <a:pt x="42886" y="114981"/>
                  </a:cubicBezTo>
                  <a:cubicBezTo>
                    <a:pt x="44948" y="114763"/>
                    <a:pt x="44948" y="114763"/>
                    <a:pt x="44948" y="114763"/>
                  </a:cubicBezTo>
                  <a:cubicBezTo>
                    <a:pt x="49896" y="114545"/>
                    <a:pt x="49896" y="114545"/>
                    <a:pt x="49896" y="114545"/>
                  </a:cubicBezTo>
                  <a:cubicBezTo>
                    <a:pt x="51546" y="114545"/>
                    <a:pt x="51546" y="114545"/>
                    <a:pt x="51546" y="114545"/>
                  </a:cubicBezTo>
                  <a:cubicBezTo>
                    <a:pt x="53608" y="115418"/>
                    <a:pt x="53608" y="115418"/>
                    <a:pt x="53608" y="115418"/>
                  </a:cubicBezTo>
                  <a:cubicBezTo>
                    <a:pt x="55670" y="116509"/>
                    <a:pt x="55670" y="116509"/>
                    <a:pt x="55670" y="116509"/>
                  </a:cubicBezTo>
                  <a:cubicBezTo>
                    <a:pt x="55670" y="116509"/>
                    <a:pt x="56907" y="117381"/>
                    <a:pt x="56907" y="117163"/>
                  </a:cubicBezTo>
                  <a:cubicBezTo>
                    <a:pt x="57319" y="116727"/>
                    <a:pt x="57731" y="115854"/>
                    <a:pt x="58144" y="115854"/>
                  </a:cubicBezTo>
                  <a:cubicBezTo>
                    <a:pt x="58556" y="115854"/>
                    <a:pt x="59793" y="116727"/>
                    <a:pt x="59793" y="116727"/>
                  </a:cubicBezTo>
                  <a:cubicBezTo>
                    <a:pt x="61443" y="116945"/>
                    <a:pt x="61443" y="116945"/>
                    <a:pt x="61443" y="116945"/>
                  </a:cubicBezTo>
                  <a:cubicBezTo>
                    <a:pt x="62680" y="116945"/>
                    <a:pt x="62680" y="116945"/>
                    <a:pt x="62680" y="116945"/>
                  </a:cubicBezTo>
                  <a:cubicBezTo>
                    <a:pt x="63917" y="116290"/>
                    <a:pt x="63917" y="116290"/>
                    <a:pt x="63917" y="116290"/>
                  </a:cubicBezTo>
                  <a:cubicBezTo>
                    <a:pt x="63092" y="115636"/>
                    <a:pt x="63092" y="115636"/>
                    <a:pt x="63092" y="115636"/>
                  </a:cubicBezTo>
                  <a:cubicBezTo>
                    <a:pt x="64742" y="115854"/>
                    <a:pt x="64742" y="115854"/>
                    <a:pt x="64742" y="115854"/>
                  </a:cubicBezTo>
                  <a:cubicBezTo>
                    <a:pt x="69278" y="116072"/>
                    <a:pt x="69278" y="116072"/>
                    <a:pt x="69278" y="116072"/>
                  </a:cubicBezTo>
                  <a:cubicBezTo>
                    <a:pt x="71340" y="115854"/>
                    <a:pt x="71340" y="115854"/>
                    <a:pt x="71340" y="115854"/>
                  </a:cubicBezTo>
                  <a:cubicBezTo>
                    <a:pt x="72989" y="115636"/>
                    <a:pt x="72989" y="115636"/>
                    <a:pt x="72989" y="115636"/>
                  </a:cubicBezTo>
                  <a:cubicBezTo>
                    <a:pt x="72989" y="116072"/>
                    <a:pt x="72989" y="116072"/>
                    <a:pt x="72989" y="116072"/>
                  </a:cubicBezTo>
                  <a:cubicBezTo>
                    <a:pt x="70515" y="116509"/>
                    <a:pt x="70515" y="116509"/>
                    <a:pt x="70515" y="116509"/>
                  </a:cubicBezTo>
                  <a:cubicBezTo>
                    <a:pt x="70515" y="116509"/>
                    <a:pt x="69278" y="116509"/>
                    <a:pt x="69690" y="116727"/>
                  </a:cubicBezTo>
                  <a:cubicBezTo>
                    <a:pt x="70103" y="117163"/>
                    <a:pt x="72164" y="117600"/>
                    <a:pt x="72164" y="117600"/>
                  </a:cubicBezTo>
                  <a:cubicBezTo>
                    <a:pt x="72164" y="117600"/>
                    <a:pt x="70927" y="117818"/>
                    <a:pt x="72577" y="117818"/>
                  </a:cubicBezTo>
                  <a:cubicBezTo>
                    <a:pt x="74226" y="117818"/>
                    <a:pt x="75051" y="117600"/>
                    <a:pt x="75051" y="117600"/>
                  </a:cubicBezTo>
                  <a:cubicBezTo>
                    <a:pt x="76288" y="116945"/>
                    <a:pt x="76288" y="116945"/>
                    <a:pt x="76288" y="116945"/>
                  </a:cubicBezTo>
                  <a:cubicBezTo>
                    <a:pt x="75463" y="116509"/>
                    <a:pt x="75463" y="116509"/>
                    <a:pt x="75463" y="116509"/>
                  </a:cubicBezTo>
                  <a:cubicBezTo>
                    <a:pt x="73402" y="116290"/>
                    <a:pt x="73402" y="116290"/>
                    <a:pt x="73402" y="116290"/>
                  </a:cubicBezTo>
                  <a:cubicBezTo>
                    <a:pt x="73814" y="115418"/>
                    <a:pt x="73814" y="115418"/>
                    <a:pt x="73814" y="115418"/>
                  </a:cubicBezTo>
                  <a:cubicBezTo>
                    <a:pt x="74226" y="115418"/>
                    <a:pt x="74226" y="115418"/>
                    <a:pt x="74226" y="115418"/>
                  </a:cubicBezTo>
                  <a:cubicBezTo>
                    <a:pt x="75463" y="116072"/>
                    <a:pt x="75463" y="116072"/>
                    <a:pt x="75463" y="116072"/>
                  </a:cubicBezTo>
                  <a:cubicBezTo>
                    <a:pt x="76701" y="115636"/>
                    <a:pt x="76701" y="115636"/>
                    <a:pt x="76701" y="115636"/>
                  </a:cubicBezTo>
                  <a:cubicBezTo>
                    <a:pt x="78350" y="115854"/>
                    <a:pt x="78350" y="115854"/>
                    <a:pt x="78350" y="115854"/>
                  </a:cubicBezTo>
                  <a:cubicBezTo>
                    <a:pt x="79175" y="116727"/>
                    <a:pt x="79175" y="116727"/>
                    <a:pt x="79175" y="116727"/>
                  </a:cubicBezTo>
                  <a:cubicBezTo>
                    <a:pt x="79175" y="116727"/>
                    <a:pt x="80000" y="117163"/>
                    <a:pt x="80824" y="116727"/>
                  </a:cubicBezTo>
                  <a:cubicBezTo>
                    <a:pt x="81649" y="116509"/>
                    <a:pt x="82474" y="116290"/>
                    <a:pt x="82474" y="116290"/>
                  </a:cubicBezTo>
                  <a:cubicBezTo>
                    <a:pt x="87422" y="116509"/>
                    <a:pt x="87422" y="116509"/>
                    <a:pt x="87422" y="116509"/>
                  </a:cubicBezTo>
                  <a:cubicBezTo>
                    <a:pt x="87422" y="116509"/>
                    <a:pt x="89896" y="116290"/>
                    <a:pt x="90309" y="116727"/>
                  </a:cubicBezTo>
                  <a:cubicBezTo>
                    <a:pt x="90721" y="116945"/>
                    <a:pt x="91958" y="117381"/>
                    <a:pt x="91958" y="117381"/>
                  </a:cubicBezTo>
                  <a:cubicBezTo>
                    <a:pt x="94020" y="117600"/>
                    <a:pt x="94020" y="117600"/>
                    <a:pt x="94020" y="117600"/>
                  </a:cubicBezTo>
                  <a:cubicBezTo>
                    <a:pt x="96082" y="117600"/>
                    <a:pt x="96082" y="117600"/>
                    <a:pt x="96082" y="117600"/>
                  </a:cubicBezTo>
                  <a:cubicBezTo>
                    <a:pt x="96082" y="117600"/>
                    <a:pt x="96907" y="117163"/>
                    <a:pt x="97319" y="116945"/>
                  </a:cubicBezTo>
                  <a:cubicBezTo>
                    <a:pt x="98144" y="116945"/>
                    <a:pt x="99381" y="116509"/>
                    <a:pt x="99793" y="116509"/>
                  </a:cubicBezTo>
                  <a:cubicBezTo>
                    <a:pt x="100618" y="116509"/>
                    <a:pt x="102680" y="116290"/>
                    <a:pt x="102680" y="116290"/>
                  </a:cubicBezTo>
                  <a:cubicBezTo>
                    <a:pt x="103092" y="116290"/>
                    <a:pt x="103505" y="116509"/>
                    <a:pt x="104329" y="116290"/>
                  </a:cubicBezTo>
                  <a:cubicBezTo>
                    <a:pt x="104742" y="116290"/>
                    <a:pt x="105979" y="115200"/>
                    <a:pt x="105979" y="115200"/>
                  </a:cubicBezTo>
                  <a:cubicBezTo>
                    <a:pt x="105979" y="115200"/>
                    <a:pt x="106391" y="114763"/>
                    <a:pt x="107216" y="114763"/>
                  </a:cubicBezTo>
                  <a:cubicBezTo>
                    <a:pt x="108041" y="114763"/>
                    <a:pt x="109278" y="114763"/>
                    <a:pt x="109690" y="114545"/>
                  </a:cubicBezTo>
                  <a:cubicBezTo>
                    <a:pt x="110103" y="114109"/>
                    <a:pt x="110515" y="113890"/>
                    <a:pt x="110927" y="113672"/>
                  </a:cubicBezTo>
                  <a:cubicBezTo>
                    <a:pt x="111340" y="113454"/>
                    <a:pt x="112164" y="112800"/>
                    <a:pt x="111752" y="112581"/>
                  </a:cubicBezTo>
                  <a:cubicBezTo>
                    <a:pt x="111752" y="112363"/>
                    <a:pt x="112164" y="111490"/>
                    <a:pt x="112164" y="111490"/>
                  </a:cubicBezTo>
                  <a:cubicBezTo>
                    <a:pt x="112164" y="111490"/>
                    <a:pt x="110927" y="111490"/>
                    <a:pt x="110515" y="111490"/>
                  </a:cubicBezTo>
                  <a:cubicBezTo>
                    <a:pt x="110103" y="111272"/>
                    <a:pt x="108453" y="111490"/>
                    <a:pt x="108041" y="111272"/>
                  </a:cubicBezTo>
                  <a:cubicBezTo>
                    <a:pt x="107628" y="111272"/>
                    <a:pt x="105979" y="111272"/>
                    <a:pt x="105979" y="111272"/>
                  </a:cubicBezTo>
                  <a:cubicBezTo>
                    <a:pt x="105567" y="110836"/>
                    <a:pt x="105567" y="110836"/>
                    <a:pt x="105567" y="110836"/>
                  </a:cubicBezTo>
                  <a:cubicBezTo>
                    <a:pt x="105567" y="110836"/>
                    <a:pt x="105154" y="110618"/>
                    <a:pt x="104742" y="110400"/>
                  </a:cubicBezTo>
                  <a:cubicBezTo>
                    <a:pt x="104329" y="110400"/>
                    <a:pt x="104742" y="110400"/>
                    <a:pt x="103917" y="110181"/>
                  </a:cubicBezTo>
                  <a:cubicBezTo>
                    <a:pt x="103505" y="110181"/>
                    <a:pt x="102680" y="109745"/>
                    <a:pt x="102680" y="109745"/>
                  </a:cubicBezTo>
                  <a:cubicBezTo>
                    <a:pt x="101443" y="109527"/>
                    <a:pt x="101443" y="109527"/>
                    <a:pt x="101443" y="109527"/>
                  </a:cubicBezTo>
                  <a:cubicBezTo>
                    <a:pt x="99793" y="109527"/>
                    <a:pt x="99793" y="109527"/>
                    <a:pt x="99793" y="109527"/>
                  </a:cubicBezTo>
                  <a:cubicBezTo>
                    <a:pt x="101443" y="109090"/>
                    <a:pt x="101443" y="109090"/>
                    <a:pt x="101443" y="109090"/>
                  </a:cubicBezTo>
                  <a:cubicBezTo>
                    <a:pt x="101443" y="109090"/>
                    <a:pt x="103092" y="109090"/>
                    <a:pt x="103505" y="109090"/>
                  </a:cubicBezTo>
                  <a:cubicBezTo>
                    <a:pt x="103917" y="109309"/>
                    <a:pt x="105567" y="109309"/>
                    <a:pt x="105567" y="109090"/>
                  </a:cubicBezTo>
                  <a:cubicBezTo>
                    <a:pt x="105979" y="109090"/>
                    <a:pt x="107216" y="108000"/>
                    <a:pt x="107216" y="108000"/>
                  </a:cubicBezTo>
                  <a:cubicBezTo>
                    <a:pt x="106804" y="107345"/>
                    <a:pt x="106804" y="107345"/>
                    <a:pt x="106804" y="107345"/>
                  </a:cubicBezTo>
                  <a:cubicBezTo>
                    <a:pt x="105979" y="106909"/>
                    <a:pt x="105979" y="106909"/>
                    <a:pt x="105979" y="106909"/>
                  </a:cubicBezTo>
                  <a:cubicBezTo>
                    <a:pt x="104329" y="107127"/>
                    <a:pt x="104329" y="107127"/>
                    <a:pt x="104329" y="107127"/>
                  </a:cubicBezTo>
                  <a:cubicBezTo>
                    <a:pt x="106804" y="106472"/>
                    <a:pt x="106804" y="106472"/>
                    <a:pt x="106804" y="106472"/>
                  </a:cubicBezTo>
                  <a:cubicBezTo>
                    <a:pt x="107628" y="106036"/>
                    <a:pt x="107628" y="106036"/>
                    <a:pt x="107628" y="106036"/>
                  </a:cubicBezTo>
                  <a:cubicBezTo>
                    <a:pt x="108865" y="106472"/>
                    <a:pt x="108865" y="106472"/>
                    <a:pt x="108865" y="106472"/>
                  </a:cubicBezTo>
                  <a:cubicBezTo>
                    <a:pt x="108865" y="106472"/>
                    <a:pt x="110927" y="106690"/>
                    <a:pt x="110927" y="106472"/>
                  </a:cubicBezTo>
                  <a:cubicBezTo>
                    <a:pt x="111340" y="106254"/>
                    <a:pt x="111752" y="105818"/>
                    <a:pt x="111752" y="105818"/>
                  </a:cubicBezTo>
                  <a:cubicBezTo>
                    <a:pt x="111752" y="105163"/>
                    <a:pt x="111752" y="105163"/>
                    <a:pt x="111752" y="105163"/>
                  </a:cubicBezTo>
                  <a:cubicBezTo>
                    <a:pt x="115876" y="103636"/>
                    <a:pt x="115876" y="103636"/>
                    <a:pt x="115876" y="103636"/>
                  </a:cubicBezTo>
                  <a:cubicBezTo>
                    <a:pt x="117525" y="102327"/>
                    <a:pt x="117525" y="102327"/>
                    <a:pt x="117525" y="102327"/>
                  </a:cubicBezTo>
                  <a:cubicBezTo>
                    <a:pt x="117938" y="101018"/>
                    <a:pt x="117938" y="101018"/>
                    <a:pt x="117938" y="101018"/>
                  </a:cubicBezTo>
                  <a:cubicBezTo>
                    <a:pt x="120000" y="99054"/>
                    <a:pt x="120000" y="99054"/>
                    <a:pt x="120000" y="99054"/>
                  </a:cubicBezTo>
                  <a:cubicBezTo>
                    <a:pt x="119587" y="96436"/>
                    <a:pt x="119587" y="96436"/>
                    <a:pt x="119587" y="96436"/>
                  </a:cubicBezTo>
                  <a:cubicBezTo>
                    <a:pt x="117525" y="94690"/>
                    <a:pt x="117525" y="94690"/>
                    <a:pt x="117525" y="94690"/>
                  </a:cubicBezTo>
                  <a:cubicBezTo>
                    <a:pt x="117525" y="94690"/>
                    <a:pt x="115051" y="93600"/>
                    <a:pt x="114226" y="93381"/>
                  </a:cubicBezTo>
                  <a:cubicBezTo>
                    <a:pt x="113402" y="93381"/>
                    <a:pt x="108865" y="92727"/>
                    <a:pt x="108865" y="92727"/>
                  </a:cubicBezTo>
                  <a:cubicBezTo>
                    <a:pt x="105567" y="92290"/>
                    <a:pt x="105567" y="92290"/>
                    <a:pt x="105567" y="92290"/>
                  </a:cubicBezTo>
                  <a:cubicBezTo>
                    <a:pt x="103917" y="92727"/>
                    <a:pt x="103917" y="92727"/>
                    <a:pt x="103917" y="92727"/>
                  </a:cubicBezTo>
                  <a:cubicBezTo>
                    <a:pt x="103505" y="93381"/>
                    <a:pt x="103505" y="93381"/>
                    <a:pt x="103505" y="93381"/>
                  </a:cubicBezTo>
                  <a:cubicBezTo>
                    <a:pt x="102268" y="93818"/>
                    <a:pt x="102268" y="93818"/>
                    <a:pt x="102268" y="93818"/>
                  </a:cubicBezTo>
                  <a:cubicBezTo>
                    <a:pt x="102268" y="93818"/>
                    <a:pt x="101030" y="94254"/>
                    <a:pt x="101030" y="94254"/>
                  </a:cubicBezTo>
                  <a:cubicBezTo>
                    <a:pt x="100618" y="94254"/>
                    <a:pt x="99793" y="93600"/>
                    <a:pt x="99793" y="93600"/>
                  </a:cubicBezTo>
                  <a:cubicBezTo>
                    <a:pt x="99793" y="93600"/>
                    <a:pt x="98556" y="92945"/>
                    <a:pt x="98556" y="92945"/>
                  </a:cubicBezTo>
                  <a:cubicBezTo>
                    <a:pt x="98144" y="92945"/>
                    <a:pt x="96907" y="92727"/>
                    <a:pt x="96907" y="92727"/>
                  </a:cubicBezTo>
                  <a:cubicBezTo>
                    <a:pt x="98556" y="92072"/>
                    <a:pt x="98556" y="92072"/>
                    <a:pt x="98556" y="92072"/>
                  </a:cubicBezTo>
                  <a:cubicBezTo>
                    <a:pt x="100618" y="91636"/>
                    <a:pt x="100618" y="91636"/>
                    <a:pt x="100618" y="91636"/>
                  </a:cubicBezTo>
                  <a:cubicBezTo>
                    <a:pt x="100618" y="91636"/>
                    <a:pt x="101443" y="91200"/>
                    <a:pt x="101443" y="90981"/>
                  </a:cubicBezTo>
                  <a:cubicBezTo>
                    <a:pt x="101855" y="90981"/>
                    <a:pt x="102680" y="90545"/>
                    <a:pt x="102680" y="90545"/>
                  </a:cubicBezTo>
                  <a:cubicBezTo>
                    <a:pt x="103092" y="88800"/>
                    <a:pt x="103092" y="88800"/>
                    <a:pt x="103092" y="88800"/>
                  </a:cubicBezTo>
                  <a:cubicBezTo>
                    <a:pt x="102268" y="87054"/>
                    <a:pt x="102268" y="87054"/>
                    <a:pt x="102268" y="87054"/>
                  </a:cubicBezTo>
                  <a:cubicBezTo>
                    <a:pt x="101030" y="86181"/>
                    <a:pt x="101030" y="86181"/>
                    <a:pt x="101030" y="86181"/>
                  </a:cubicBezTo>
                  <a:cubicBezTo>
                    <a:pt x="100206" y="85309"/>
                    <a:pt x="100206" y="85309"/>
                    <a:pt x="100206" y="85309"/>
                  </a:cubicBezTo>
                  <a:cubicBezTo>
                    <a:pt x="99381" y="85309"/>
                    <a:pt x="99381" y="85309"/>
                    <a:pt x="99381" y="85309"/>
                  </a:cubicBezTo>
                  <a:cubicBezTo>
                    <a:pt x="97731" y="84654"/>
                    <a:pt x="97731" y="84654"/>
                    <a:pt x="97731" y="84654"/>
                  </a:cubicBezTo>
                  <a:cubicBezTo>
                    <a:pt x="96494" y="83781"/>
                    <a:pt x="96494" y="83781"/>
                    <a:pt x="96494" y="83781"/>
                  </a:cubicBezTo>
                  <a:cubicBezTo>
                    <a:pt x="96082" y="83127"/>
                    <a:pt x="96082" y="83127"/>
                    <a:pt x="96082" y="83127"/>
                  </a:cubicBezTo>
                  <a:cubicBezTo>
                    <a:pt x="96494" y="82690"/>
                    <a:pt x="96494" y="82690"/>
                    <a:pt x="96494" y="82690"/>
                  </a:cubicBezTo>
                  <a:cubicBezTo>
                    <a:pt x="96907" y="82909"/>
                    <a:pt x="96907" y="82909"/>
                    <a:pt x="96907" y="82909"/>
                  </a:cubicBezTo>
                  <a:cubicBezTo>
                    <a:pt x="96907" y="82909"/>
                    <a:pt x="96907" y="83345"/>
                    <a:pt x="97319" y="83345"/>
                  </a:cubicBezTo>
                  <a:cubicBezTo>
                    <a:pt x="97319" y="83563"/>
                    <a:pt x="97731" y="83781"/>
                    <a:pt x="97731" y="83781"/>
                  </a:cubicBezTo>
                  <a:cubicBezTo>
                    <a:pt x="98144" y="84000"/>
                    <a:pt x="99793" y="84436"/>
                    <a:pt x="99793" y="84436"/>
                  </a:cubicBezTo>
                  <a:cubicBezTo>
                    <a:pt x="100618" y="84436"/>
                    <a:pt x="100618" y="84436"/>
                    <a:pt x="100618" y="84436"/>
                  </a:cubicBezTo>
                  <a:cubicBezTo>
                    <a:pt x="101443" y="85090"/>
                    <a:pt x="101443" y="85090"/>
                    <a:pt x="101443" y="85090"/>
                  </a:cubicBezTo>
                  <a:cubicBezTo>
                    <a:pt x="101443" y="85090"/>
                    <a:pt x="101855" y="84436"/>
                    <a:pt x="101855" y="84436"/>
                  </a:cubicBezTo>
                  <a:cubicBezTo>
                    <a:pt x="101855" y="84218"/>
                    <a:pt x="100618" y="83345"/>
                    <a:pt x="100618" y="83345"/>
                  </a:cubicBezTo>
                  <a:cubicBezTo>
                    <a:pt x="100206" y="83345"/>
                    <a:pt x="99793" y="82472"/>
                    <a:pt x="99793" y="82472"/>
                  </a:cubicBezTo>
                  <a:cubicBezTo>
                    <a:pt x="99381" y="82254"/>
                    <a:pt x="98556" y="80945"/>
                    <a:pt x="98556" y="80945"/>
                  </a:cubicBezTo>
                  <a:cubicBezTo>
                    <a:pt x="98556" y="80945"/>
                    <a:pt x="98144" y="80509"/>
                    <a:pt x="98144" y="80290"/>
                  </a:cubicBezTo>
                  <a:cubicBezTo>
                    <a:pt x="98144" y="80290"/>
                    <a:pt x="98144" y="79200"/>
                    <a:pt x="98144" y="79200"/>
                  </a:cubicBezTo>
                  <a:cubicBezTo>
                    <a:pt x="98969" y="78981"/>
                    <a:pt x="98969" y="78981"/>
                    <a:pt x="98969" y="78981"/>
                  </a:cubicBezTo>
                  <a:cubicBezTo>
                    <a:pt x="99793" y="78545"/>
                    <a:pt x="99793" y="78545"/>
                    <a:pt x="99793" y="78545"/>
                  </a:cubicBezTo>
                  <a:cubicBezTo>
                    <a:pt x="99793" y="78545"/>
                    <a:pt x="99381" y="78545"/>
                    <a:pt x="99381" y="78327"/>
                  </a:cubicBezTo>
                  <a:cubicBezTo>
                    <a:pt x="98969" y="77890"/>
                    <a:pt x="98144" y="77454"/>
                    <a:pt x="98144" y="77454"/>
                  </a:cubicBezTo>
                  <a:cubicBezTo>
                    <a:pt x="98144" y="77454"/>
                    <a:pt x="97319" y="77236"/>
                    <a:pt x="96907" y="77018"/>
                  </a:cubicBezTo>
                  <a:cubicBezTo>
                    <a:pt x="96907" y="76581"/>
                    <a:pt x="96494" y="76145"/>
                    <a:pt x="96494" y="76145"/>
                  </a:cubicBezTo>
                  <a:cubicBezTo>
                    <a:pt x="96494" y="75927"/>
                    <a:pt x="96082" y="74618"/>
                    <a:pt x="96082" y="74618"/>
                  </a:cubicBezTo>
                  <a:cubicBezTo>
                    <a:pt x="94020" y="73527"/>
                    <a:pt x="94020" y="73527"/>
                    <a:pt x="94020" y="73527"/>
                  </a:cubicBezTo>
                  <a:cubicBezTo>
                    <a:pt x="94020" y="73527"/>
                    <a:pt x="93195" y="73090"/>
                    <a:pt x="92783" y="72872"/>
                  </a:cubicBezTo>
                  <a:cubicBezTo>
                    <a:pt x="92783" y="72872"/>
                    <a:pt x="91546" y="72654"/>
                    <a:pt x="91546" y="72654"/>
                  </a:cubicBezTo>
                  <a:cubicBezTo>
                    <a:pt x="91134" y="72654"/>
                    <a:pt x="89072" y="72000"/>
                    <a:pt x="89072" y="72000"/>
                  </a:cubicBezTo>
                  <a:cubicBezTo>
                    <a:pt x="89072" y="72000"/>
                    <a:pt x="87422" y="70909"/>
                    <a:pt x="87422" y="70690"/>
                  </a:cubicBezTo>
                  <a:cubicBezTo>
                    <a:pt x="87422" y="70472"/>
                    <a:pt x="86597" y="69163"/>
                    <a:pt x="86597" y="69163"/>
                  </a:cubicBezTo>
                  <a:cubicBezTo>
                    <a:pt x="86597" y="68290"/>
                    <a:pt x="86597" y="68290"/>
                    <a:pt x="86597" y="68290"/>
                  </a:cubicBezTo>
                  <a:cubicBezTo>
                    <a:pt x="85773" y="66545"/>
                    <a:pt x="85773" y="66545"/>
                    <a:pt x="85773" y="66545"/>
                  </a:cubicBezTo>
                  <a:cubicBezTo>
                    <a:pt x="85360" y="64800"/>
                    <a:pt x="85360" y="64800"/>
                    <a:pt x="85360" y="64800"/>
                  </a:cubicBezTo>
                  <a:cubicBezTo>
                    <a:pt x="85360" y="63054"/>
                    <a:pt x="85360" y="63054"/>
                    <a:pt x="85360" y="63054"/>
                  </a:cubicBezTo>
                  <a:cubicBezTo>
                    <a:pt x="85360" y="61527"/>
                    <a:pt x="85360" y="61527"/>
                    <a:pt x="85360" y="61527"/>
                  </a:cubicBezTo>
                  <a:cubicBezTo>
                    <a:pt x="85360" y="60218"/>
                    <a:pt x="85360" y="60218"/>
                    <a:pt x="85360" y="60218"/>
                  </a:cubicBezTo>
                  <a:cubicBezTo>
                    <a:pt x="83298" y="58909"/>
                    <a:pt x="83298" y="58909"/>
                    <a:pt x="83298" y="58909"/>
                  </a:cubicBezTo>
                  <a:cubicBezTo>
                    <a:pt x="82474" y="57600"/>
                    <a:pt x="82474" y="57600"/>
                    <a:pt x="82474" y="57600"/>
                  </a:cubicBezTo>
                  <a:cubicBezTo>
                    <a:pt x="80000" y="56290"/>
                    <a:pt x="80000" y="56290"/>
                    <a:pt x="80000" y="56290"/>
                  </a:cubicBezTo>
                  <a:cubicBezTo>
                    <a:pt x="78350" y="55200"/>
                    <a:pt x="78350" y="55200"/>
                    <a:pt x="78350" y="55200"/>
                  </a:cubicBezTo>
                  <a:cubicBezTo>
                    <a:pt x="77113" y="54981"/>
                    <a:pt x="77113" y="54981"/>
                    <a:pt x="77113" y="54981"/>
                  </a:cubicBezTo>
                  <a:cubicBezTo>
                    <a:pt x="75051" y="53672"/>
                    <a:pt x="75051" y="53672"/>
                    <a:pt x="75051" y="53672"/>
                  </a:cubicBezTo>
                  <a:cubicBezTo>
                    <a:pt x="73402" y="53454"/>
                    <a:pt x="73402" y="53454"/>
                    <a:pt x="73402" y="53454"/>
                  </a:cubicBezTo>
                  <a:cubicBezTo>
                    <a:pt x="71752" y="53890"/>
                    <a:pt x="71752" y="53890"/>
                    <a:pt x="71752" y="53890"/>
                  </a:cubicBezTo>
                  <a:cubicBezTo>
                    <a:pt x="70103" y="54109"/>
                    <a:pt x="70103" y="54109"/>
                    <a:pt x="70103" y="54109"/>
                  </a:cubicBezTo>
                  <a:cubicBezTo>
                    <a:pt x="68453" y="54327"/>
                    <a:pt x="68453" y="54327"/>
                    <a:pt x="68453" y="54327"/>
                  </a:cubicBezTo>
                  <a:cubicBezTo>
                    <a:pt x="65567" y="53672"/>
                    <a:pt x="65567" y="53672"/>
                    <a:pt x="65567" y="53672"/>
                  </a:cubicBezTo>
                  <a:cubicBezTo>
                    <a:pt x="64329" y="53018"/>
                    <a:pt x="64329" y="53018"/>
                    <a:pt x="64329" y="53018"/>
                  </a:cubicBezTo>
                  <a:cubicBezTo>
                    <a:pt x="62680" y="52800"/>
                    <a:pt x="62680" y="52800"/>
                    <a:pt x="62680" y="52800"/>
                  </a:cubicBezTo>
                  <a:cubicBezTo>
                    <a:pt x="61855" y="52800"/>
                    <a:pt x="61855" y="52800"/>
                    <a:pt x="61855" y="52800"/>
                  </a:cubicBezTo>
                  <a:cubicBezTo>
                    <a:pt x="61855" y="52800"/>
                    <a:pt x="61855" y="52581"/>
                    <a:pt x="61855" y="52581"/>
                  </a:cubicBezTo>
                  <a:cubicBezTo>
                    <a:pt x="61855" y="52581"/>
                    <a:pt x="62680" y="52581"/>
                    <a:pt x="62680" y="52581"/>
                  </a:cubicBezTo>
                  <a:cubicBezTo>
                    <a:pt x="62680" y="52581"/>
                    <a:pt x="63505" y="52800"/>
                    <a:pt x="63917" y="52800"/>
                  </a:cubicBezTo>
                  <a:cubicBezTo>
                    <a:pt x="63917" y="52800"/>
                    <a:pt x="65154" y="53018"/>
                    <a:pt x="65154" y="53018"/>
                  </a:cubicBezTo>
                  <a:cubicBezTo>
                    <a:pt x="65154" y="53018"/>
                    <a:pt x="65567" y="53236"/>
                    <a:pt x="65979" y="53236"/>
                  </a:cubicBezTo>
                  <a:cubicBezTo>
                    <a:pt x="66391" y="53236"/>
                    <a:pt x="67628" y="53236"/>
                    <a:pt x="67628" y="53236"/>
                  </a:cubicBezTo>
                  <a:cubicBezTo>
                    <a:pt x="68865" y="52800"/>
                    <a:pt x="68865" y="52800"/>
                    <a:pt x="68865" y="52800"/>
                  </a:cubicBezTo>
                  <a:cubicBezTo>
                    <a:pt x="69278" y="52145"/>
                    <a:pt x="69278" y="52145"/>
                    <a:pt x="69278" y="52145"/>
                  </a:cubicBezTo>
                  <a:cubicBezTo>
                    <a:pt x="70515" y="51927"/>
                    <a:pt x="70515" y="51927"/>
                    <a:pt x="70515" y="51927"/>
                  </a:cubicBezTo>
                  <a:cubicBezTo>
                    <a:pt x="71340" y="51709"/>
                    <a:pt x="71340" y="51709"/>
                    <a:pt x="71340" y="51709"/>
                  </a:cubicBezTo>
                  <a:cubicBezTo>
                    <a:pt x="72164" y="51709"/>
                    <a:pt x="72164" y="51709"/>
                    <a:pt x="72164" y="51709"/>
                  </a:cubicBezTo>
                  <a:cubicBezTo>
                    <a:pt x="72164" y="51709"/>
                    <a:pt x="72577" y="52145"/>
                    <a:pt x="73402" y="51927"/>
                  </a:cubicBezTo>
                  <a:cubicBezTo>
                    <a:pt x="74226" y="51927"/>
                    <a:pt x="74639" y="51709"/>
                    <a:pt x="74639" y="51709"/>
                  </a:cubicBezTo>
                  <a:cubicBezTo>
                    <a:pt x="74639" y="51709"/>
                    <a:pt x="76288" y="51272"/>
                    <a:pt x="75876" y="51272"/>
                  </a:cubicBezTo>
                  <a:cubicBezTo>
                    <a:pt x="75876" y="51054"/>
                    <a:pt x="75876" y="50836"/>
                    <a:pt x="75463" y="50836"/>
                  </a:cubicBezTo>
                  <a:cubicBezTo>
                    <a:pt x="75463" y="50618"/>
                    <a:pt x="74639" y="50181"/>
                    <a:pt x="74639" y="50181"/>
                  </a:cubicBezTo>
                  <a:cubicBezTo>
                    <a:pt x="74639" y="50181"/>
                    <a:pt x="74226" y="50181"/>
                    <a:pt x="74226" y="49963"/>
                  </a:cubicBezTo>
                  <a:cubicBezTo>
                    <a:pt x="74226" y="49745"/>
                    <a:pt x="74226" y="49309"/>
                    <a:pt x="74226" y="49309"/>
                  </a:cubicBezTo>
                  <a:cubicBezTo>
                    <a:pt x="73402" y="48872"/>
                    <a:pt x="73402" y="48872"/>
                    <a:pt x="73402" y="48872"/>
                  </a:cubicBezTo>
                  <a:cubicBezTo>
                    <a:pt x="73402" y="48872"/>
                    <a:pt x="72989" y="48872"/>
                    <a:pt x="72577" y="48872"/>
                  </a:cubicBezTo>
                  <a:cubicBezTo>
                    <a:pt x="72164" y="48872"/>
                    <a:pt x="71752" y="49090"/>
                    <a:pt x="71752" y="49090"/>
                  </a:cubicBezTo>
                  <a:cubicBezTo>
                    <a:pt x="70103" y="49309"/>
                    <a:pt x="70103" y="49309"/>
                    <a:pt x="70103" y="49309"/>
                  </a:cubicBezTo>
                  <a:cubicBezTo>
                    <a:pt x="68041" y="49527"/>
                    <a:pt x="68041" y="49527"/>
                    <a:pt x="68041" y="49527"/>
                  </a:cubicBezTo>
                  <a:cubicBezTo>
                    <a:pt x="68041" y="49309"/>
                    <a:pt x="68041" y="49309"/>
                    <a:pt x="68041" y="49309"/>
                  </a:cubicBezTo>
                  <a:cubicBezTo>
                    <a:pt x="70103" y="49090"/>
                    <a:pt x="70103" y="49090"/>
                    <a:pt x="70103" y="49090"/>
                  </a:cubicBezTo>
                  <a:cubicBezTo>
                    <a:pt x="71340" y="48654"/>
                    <a:pt x="71340" y="48654"/>
                    <a:pt x="71340" y="48654"/>
                  </a:cubicBezTo>
                  <a:cubicBezTo>
                    <a:pt x="71340" y="48654"/>
                    <a:pt x="71340" y="48436"/>
                    <a:pt x="71752" y="48436"/>
                  </a:cubicBezTo>
                  <a:cubicBezTo>
                    <a:pt x="72164" y="48436"/>
                    <a:pt x="73402" y="48654"/>
                    <a:pt x="73402" y="48654"/>
                  </a:cubicBezTo>
                  <a:cubicBezTo>
                    <a:pt x="73814" y="48654"/>
                    <a:pt x="75463" y="48654"/>
                    <a:pt x="75463" y="48654"/>
                  </a:cubicBezTo>
                  <a:cubicBezTo>
                    <a:pt x="75463" y="48654"/>
                    <a:pt x="76701" y="48218"/>
                    <a:pt x="76701" y="48000"/>
                  </a:cubicBezTo>
                  <a:cubicBezTo>
                    <a:pt x="77113" y="48000"/>
                    <a:pt x="78762" y="47563"/>
                    <a:pt x="78762" y="47563"/>
                  </a:cubicBezTo>
                  <a:cubicBezTo>
                    <a:pt x="78762" y="46909"/>
                    <a:pt x="78762" y="46909"/>
                    <a:pt x="78762" y="46909"/>
                  </a:cubicBezTo>
                  <a:cubicBezTo>
                    <a:pt x="78762" y="46909"/>
                    <a:pt x="79175" y="46254"/>
                    <a:pt x="79587" y="46254"/>
                  </a:cubicBezTo>
                  <a:cubicBezTo>
                    <a:pt x="79587" y="46254"/>
                    <a:pt x="81237" y="45600"/>
                    <a:pt x="81237" y="45600"/>
                  </a:cubicBezTo>
                  <a:cubicBezTo>
                    <a:pt x="82886" y="44727"/>
                    <a:pt x="82886" y="44727"/>
                    <a:pt x="82886" y="44727"/>
                  </a:cubicBezTo>
                  <a:cubicBezTo>
                    <a:pt x="83711" y="43636"/>
                    <a:pt x="83711" y="43636"/>
                    <a:pt x="83711" y="43636"/>
                  </a:cubicBezTo>
                  <a:cubicBezTo>
                    <a:pt x="84536" y="42763"/>
                    <a:pt x="84536" y="42763"/>
                    <a:pt x="84536" y="42763"/>
                  </a:cubicBezTo>
                  <a:cubicBezTo>
                    <a:pt x="84536" y="42763"/>
                    <a:pt x="86185" y="42109"/>
                    <a:pt x="85773" y="41890"/>
                  </a:cubicBezTo>
                  <a:cubicBezTo>
                    <a:pt x="85773" y="41454"/>
                    <a:pt x="85773" y="40800"/>
                    <a:pt x="85773" y="40800"/>
                  </a:cubicBezTo>
                  <a:cubicBezTo>
                    <a:pt x="85773" y="40800"/>
                    <a:pt x="87010" y="40363"/>
                    <a:pt x="87422" y="40145"/>
                  </a:cubicBezTo>
                  <a:cubicBezTo>
                    <a:pt x="87422" y="39927"/>
                    <a:pt x="90309" y="38836"/>
                    <a:pt x="90309" y="38836"/>
                  </a:cubicBezTo>
                  <a:cubicBezTo>
                    <a:pt x="90721" y="37745"/>
                    <a:pt x="90721" y="37745"/>
                    <a:pt x="90721" y="37745"/>
                  </a:cubicBezTo>
                  <a:cubicBezTo>
                    <a:pt x="90309" y="37309"/>
                    <a:pt x="90309" y="37309"/>
                    <a:pt x="90309" y="37309"/>
                  </a:cubicBezTo>
                  <a:cubicBezTo>
                    <a:pt x="89896" y="36654"/>
                    <a:pt x="89896" y="36654"/>
                    <a:pt x="89896" y="36654"/>
                  </a:cubicBezTo>
                  <a:cubicBezTo>
                    <a:pt x="89072" y="36000"/>
                    <a:pt x="89072" y="36000"/>
                    <a:pt x="89072" y="36000"/>
                  </a:cubicBezTo>
                  <a:cubicBezTo>
                    <a:pt x="88247" y="35345"/>
                    <a:pt x="88247" y="35345"/>
                    <a:pt x="88247" y="35345"/>
                  </a:cubicBezTo>
                  <a:cubicBezTo>
                    <a:pt x="86597" y="35345"/>
                    <a:pt x="86597" y="35345"/>
                    <a:pt x="86597" y="35345"/>
                  </a:cubicBezTo>
                  <a:cubicBezTo>
                    <a:pt x="86597" y="35345"/>
                    <a:pt x="86185" y="35781"/>
                    <a:pt x="86185" y="35563"/>
                  </a:cubicBezTo>
                  <a:cubicBezTo>
                    <a:pt x="85773" y="35563"/>
                    <a:pt x="84948" y="35127"/>
                    <a:pt x="84948" y="35127"/>
                  </a:cubicBezTo>
                  <a:cubicBezTo>
                    <a:pt x="83298" y="35345"/>
                    <a:pt x="83298" y="35345"/>
                    <a:pt x="83298" y="35345"/>
                  </a:cubicBezTo>
                  <a:cubicBezTo>
                    <a:pt x="81237" y="35127"/>
                    <a:pt x="81237" y="35127"/>
                    <a:pt x="81237" y="35127"/>
                  </a:cubicBezTo>
                  <a:cubicBezTo>
                    <a:pt x="80824" y="34690"/>
                    <a:pt x="80824" y="34690"/>
                    <a:pt x="80824" y="34690"/>
                  </a:cubicBezTo>
                  <a:cubicBezTo>
                    <a:pt x="79175" y="34690"/>
                    <a:pt x="79175" y="34690"/>
                    <a:pt x="79175" y="34690"/>
                  </a:cubicBezTo>
                  <a:cubicBezTo>
                    <a:pt x="78350" y="34472"/>
                    <a:pt x="78350" y="34472"/>
                    <a:pt x="78350" y="34472"/>
                  </a:cubicBezTo>
                  <a:cubicBezTo>
                    <a:pt x="76701" y="34690"/>
                    <a:pt x="76701" y="34690"/>
                    <a:pt x="76701" y="34690"/>
                  </a:cubicBezTo>
                  <a:cubicBezTo>
                    <a:pt x="75463" y="34690"/>
                    <a:pt x="75463" y="34690"/>
                    <a:pt x="75463" y="34690"/>
                  </a:cubicBezTo>
                  <a:cubicBezTo>
                    <a:pt x="74639" y="34472"/>
                    <a:pt x="74639" y="34472"/>
                    <a:pt x="74639" y="34472"/>
                  </a:cubicBezTo>
                  <a:cubicBezTo>
                    <a:pt x="73402" y="33818"/>
                    <a:pt x="73402" y="33818"/>
                    <a:pt x="73402" y="33818"/>
                  </a:cubicBezTo>
                  <a:cubicBezTo>
                    <a:pt x="70927" y="33818"/>
                    <a:pt x="70927" y="33818"/>
                    <a:pt x="70927" y="33818"/>
                  </a:cubicBezTo>
                  <a:cubicBezTo>
                    <a:pt x="70515" y="34254"/>
                    <a:pt x="70515" y="34254"/>
                    <a:pt x="70515" y="34254"/>
                  </a:cubicBezTo>
                  <a:cubicBezTo>
                    <a:pt x="68865" y="34254"/>
                    <a:pt x="68865" y="34254"/>
                    <a:pt x="68865" y="34254"/>
                  </a:cubicBezTo>
                  <a:cubicBezTo>
                    <a:pt x="68865" y="34254"/>
                    <a:pt x="68453" y="34254"/>
                    <a:pt x="68041" y="34254"/>
                  </a:cubicBezTo>
                  <a:cubicBezTo>
                    <a:pt x="68041" y="34254"/>
                    <a:pt x="67216" y="34472"/>
                    <a:pt x="67216" y="34472"/>
                  </a:cubicBezTo>
                  <a:cubicBezTo>
                    <a:pt x="66391" y="34690"/>
                    <a:pt x="66391" y="34690"/>
                    <a:pt x="66391" y="34690"/>
                  </a:cubicBezTo>
                  <a:cubicBezTo>
                    <a:pt x="65567" y="34690"/>
                    <a:pt x="65567" y="34690"/>
                    <a:pt x="65567" y="34690"/>
                  </a:cubicBezTo>
                  <a:cubicBezTo>
                    <a:pt x="63917" y="34472"/>
                    <a:pt x="63917" y="34472"/>
                    <a:pt x="63917" y="34472"/>
                  </a:cubicBezTo>
                  <a:cubicBezTo>
                    <a:pt x="63092" y="35127"/>
                    <a:pt x="63092" y="35127"/>
                    <a:pt x="63092" y="35127"/>
                  </a:cubicBezTo>
                  <a:cubicBezTo>
                    <a:pt x="61855" y="35345"/>
                    <a:pt x="61855" y="35345"/>
                    <a:pt x="61855" y="35345"/>
                  </a:cubicBezTo>
                  <a:cubicBezTo>
                    <a:pt x="60618" y="36000"/>
                    <a:pt x="60618" y="36000"/>
                    <a:pt x="60618" y="36000"/>
                  </a:cubicBezTo>
                  <a:cubicBezTo>
                    <a:pt x="61030" y="35345"/>
                    <a:pt x="61030" y="35345"/>
                    <a:pt x="61030" y="35345"/>
                  </a:cubicBezTo>
                  <a:cubicBezTo>
                    <a:pt x="61855" y="34909"/>
                    <a:pt x="61855" y="34909"/>
                    <a:pt x="61855" y="34909"/>
                  </a:cubicBezTo>
                  <a:cubicBezTo>
                    <a:pt x="63092" y="34690"/>
                    <a:pt x="63092" y="34690"/>
                    <a:pt x="63092" y="34690"/>
                  </a:cubicBezTo>
                  <a:cubicBezTo>
                    <a:pt x="63917" y="34036"/>
                    <a:pt x="63917" y="34036"/>
                    <a:pt x="63917" y="34036"/>
                  </a:cubicBezTo>
                  <a:cubicBezTo>
                    <a:pt x="63917" y="34036"/>
                    <a:pt x="64742" y="33818"/>
                    <a:pt x="64742" y="33600"/>
                  </a:cubicBezTo>
                  <a:cubicBezTo>
                    <a:pt x="65154" y="33600"/>
                    <a:pt x="65979" y="33163"/>
                    <a:pt x="65979" y="33163"/>
                  </a:cubicBezTo>
                  <a:cubicBezTo>
                    <a:pt x="64742" y="32945"/>
                    <a:pt x="64742" y="32945"/>
                    <a:pt x="64742" y="32945"/>
                  </a:cubicBezTo>
                  <a:cubicBezTo>
                    <a:pt x="63505" y="33381"/>
                    <a:pt x="63505" y="33381"/>
                    <a:pt x="63505" y="33381"/>
                  </a:cubicBezTo>
                  <a:cubicBezTo>
                    <a:pt x="63505" y="33381"/>
                    <a:pt x="63092" y="33381"/>
                    <a:pt x="62680" y="33381"/>
                  </a:cubicBezTo>
                  <a:cubicBezTo>
                    <a:pt x="62680" y="33381"/>
                    <a:pt x="61443" y="33600"/>
                    <a:pt x="61443" y="33600"/>
                  </a:cubicBezTo>
                  <a:cubicBezTo>
                    <a:pt x="58969" y="34036"/>
                    <a:pt x="58969" y="34036"/>
                    <a:pt x="58969" y="34036"/>
                  </a:cubicBezTo>
                  <a:cubicBezTo>
                    <a:pt x="61443" y="33381"/>
                    <a:pt x="61443" y="33381"/>
                    <a:pt x="61443" y="33381"/>
                  </a:cubicBezTo>
                  <a:cubicBezTo>
                    <a:pt x="61443" y="33381"/>
                    <a:pt x="62268" y="33163"/>
                    <a:pt x="62680" y="32945"/>
                  </a:cubicBezTo>
                  <a:cubicBezTo>
                    <a:pt x="63092" y="32945"/>
                    <a:pt x="63917" y="32727"/>
                    <a:pt x="63917" y="32727"/>
                  </a:cubicBezTo>
                  <a:cubicBezTo>
                    <a:pt x="64329" y="32727"/>
                    <a:pt x="65154" y="32509"/>
                    <a:pt x="65154" y="32509"/>
                  </a:cubicBezTo>
                  <a:cubicBezTo>
                    <a:pt x="65567" y="32727"/>
                    <a:pt x="66391" y="32945"/>
                    <a:pt x="66804" y="32727"/>
                  </a:cubicBezTo>
                  <a:cubicBezTo>
                    <a:pt x="66804" y="32727"/>
                    <a:pt x="67216" y="32290"/>
                    <a:pt x="67628" y="32290"/>
                  </a:cubicBezTo>
                  <a:cubicBezTo>
                    <a:pt x="67628" y="32072"/>
                    <a:pt x="68453" y="31636"/>
                    <a:pt x="68453" y="31636"/>
                  </a:cubicBezTo>
                  <a:cubicBezTo>
                    <a:pt x="65979" y="31636"/>
                    <a:pt x="65979" y="31636"/>
                    <a:pt x="65979" y="31636"/>
                  </a:cubicBezTo>
                  <a:cubicBezTo>
                    <a:pt x="65979" y="31636"/>
                    <a:pt x="65567" y="31854"/>
                    <a:pt x="65154" y="31854"/>
                  </a:cubicBezTo>
                  <a:cubicBezTo>
                    <a:pt x="64742" y="31636"/>
                    <a:pt x="63917" y="31636"/>
                    <a:pt x="63505" y="31418"/>
                  </a:cubicBezTo>
                  <a:cubicBezTo>
                    <a:pt x="63505" y="31418"/>
                    <a:pt x="63092" y="31200"/>
                    <a:pt x="63092" y="31200"/>
                  </a:cubicBezTo>
                  <a:cubicBezTo>
                    <a:pt x="62680" y="31200"/>
                    <a:pt x="61855" y="30763"/>
                    <a:pt x="61855" y="30763"/>
                  </a:cubicBezTo>
                  <a:cubicBezTo>
                    <a:pt x="62268" y="30545"/>
                    <a:pt x="62268" y="30545"/>
                    <a:pt x="62268" y="30545"/>
                  </a:cubicBezTo>
                  <a:cubicBezTo>
                    <a:pt x="63092" y="30981"/>
                    <a:pt x="63092" y="30981"/>
                    <a:pt x="63092" y="30981"/>
                  </a:cubicBezTo>
                  <a:cubicBezTo>
                    <a:pt x="63092" y="30981"/>
                    <a:pt x="63505" y="31200"/>
                    <a:pt x="63917" y="31200"/>
                  </a:cubicBezTo>
                  <a:cubicBezTo>
                    <a:pt x="64329" y="31200"/>
                    <a:pt x="64742" y="30981"/>
                    <a:pt x="65567" y="30981"/>
                  </a:cubicBezTo>
                  <a:cubicBezTo>
                    <a:pt x="65979" y="31200"/>
                    <a:pt x="66804" y="30545"/>
                    <a:pt x="66804" y="30545"/>
                  </a:cubicBezTo>
                  <a:cubicBezTo>
                    <a:pt x="66804" y="30545"/>
                    <a:pt x="65979" y="30545"/>
                    <a:pt x="67216" y="30327"/>
                  </a:cubicBezTo>
                  <a:cubicBezTo>
                    <a:pt x="68041" y="29890"/>
                    <a:pt x="67628" y="30109"/>
                    <a:pt x="68453" y="29672"/>
                  </a:cubicBezTo>
                  <a:cubicBezTo>
                    <a:pt x="69278" y="29454"/>
                    <a:pt x="71340" y="28800"/>
                    <a:pt x="71340" y="28800"/>
                  </a:cubicBezTo>
                  <a:cubicBezTo>
                    <a:pt x="73814" y="28363"/>
                    <a:pt x="73814" y="28363"/>
                    <a:pt x="73814" y="28363"/>
                  </a:cubicBezTo>
                  <a:cubicBezTo>
                    <a:pt x="75463" y="27272"/>
                    <a:pt x="75463" y="27272"/>
                    <a:pt x="75463" y="27272"/>
                  </a:cubicBezTo>
                  <a:cubicBezTo>
                    <a:pt x="76701" y="27272"/>
                    <a:pt x="76701" y="27272"/>
                    <a:pt x="76701" y="27272"/>
                  </a:cubicBezTo>
                  <a:cubicBezTo>
                    <a:pt x="78350" y="26400"/>
                    <a:pt x="78350" y="26400"/>
                    <a:pt x="78350" y="26400"/>
                  </a:cubicBezTo>
                  <a:cubicBezTo>
                    <a:pt x="79175" y="25963"/>
                    <a:pt x="79175" y="25963"/>
                    <a:pt x="79175" y="25963"/>
                  </a:cubicBezTo>
                  <a:cubicBezTo>
                    <a:pt x="78762" y="24872"/>
                    <a:pt x="78762" y="24872"/>
                    <a:pt x="78762" y="24872"/>
                  </a:cubicBezTo>
                  <a:cubicBezTo>
                    <a:pt x="79587" y="24000"/>
                    <a:pt x="79587" y="24000"/>
                    <a:pt x="79587" y="24000"/>
                  </a:cubicBezTo>
                  <a:cubicBezTo>
                    <a:pt x="79587" y="23345"/>
                    <a:pt x="79587" y="23345"/>
                    <a:pt x="79587" y="23345"/>
                  </a:cubicBezTo>
                  <a:cubicBezTo>
                    <a:pt x="78350" y="23127"/>
                    <a:pt x="78350" y="23127"/>
                    <a:pt x="78350" y="23127"/>
                  </a:cubicBezTo>
                  <a:cubicBezTo>
                    <a:pt x="75876" y="23127"/>
                    <a:pt x="75876" y="23127"/>
                    <a:pt x="75876" y="23127"/>
                  </a:cubicBezTo>
                  <a:cubicBezTo>
                    <a:pt x="75876" y="23127"/>
                    <a:pt x="75463" y="23781"/>
                    <a:pt x="75051" y="23563"/>
                  </a:cubicBezTo>
                  <a:cubicBezTo>
                    <a:pt x="75051" y="23563"/>
                    <a:pt x="73402" y="22909"/>
                    <a:pt x="72989" y="22909"/>
                  </a:cubicBezTo>
                  <a:cubicBezTo>
                    <a:pt x="72989" y="22909"/>
                    <a:pt x="71340" y="23563"/>
                    <a:pt x="71340" y="23563"/>
                  </a:cubicBezTo>
                  <a:cubicBezTo>
                    <a:pt x="70515" y="23563"/>
                    <a:pt x="70515" y="23563"/>
                    <a:pt x="70515" y="23563"/>
                  </a:cubicBezTo>
                  <a:cubicBezTo>
                    <a:pt x="70515" y="23563"/>
                    <a:pt x="70103" y="23563"/>
                    <a:pt x="69278" y="23563"/>
                  </a:cubicBezTo>
                  <a:cubicBezTo>
                    <a:pt x="68453" y="23345"/>
                    <a:pt x="66804" y="23127"/>
                    <a:pt x="66804" y="23127"/>
                  </a:cubicBezTo>
                  <a:cubicBezTo>
                    <a:pt x="65567" y="23563"/>
                    <a:pt x="65567" y="23563"/>
                    <a:pt x="65567" y="23563"/>
                  </a:cubicBezTo>
                  <a:cubicBezTo>
                    <a:pt x="64742" y="23345"/>
                    <a:pt x="64742" y="23345"/>
                    <a:pt x="64742" y="23345"/>
                  </a:cubicBezTo>
                  <a:cubicBezTo>
                    <a:pt x="63092" y="24000"/>
                    <a:pt x="63092" y="24000"/>
                    <a:pt x="63092" y="24000"/>
                  </a:cubicBezTo>
                  <a:cubicBezTo>
                    <a:pt x="63092" y="23563"/>
                    <a:pt x="63092" y="23563"/>
                    <a:pt x="63092" y="23563"/>
                  </a:cubicBezTo>
                  <a:cubicBezTo>
                    <a:pt x="63917" y="22909"/>
                    <a:pt x="63917" y="22909"/>
                    <a:pt x="63917" y="22909"/>
                  </a:cubicBezTo>
                  <a:cubicBezTo>
                    <a:pt x="63917" y="22909"/>
                    <a:pt x="63505" y="22690"/>
                    <a:pt x="63092" y="22690"/>
                  </a:cubicBezTo>
                  <a:cubicBezTo>
                    <a:pt x="63092" y="22690"/>
                    <a:pt x="62268" y="22472"/>
                    <a:pt x="62268" y="22472"/>
                  </a:cubicBezTo>
                  <a:cubicBezTo>
                    <a:pt x="61443" y="23127"/>
                    <a:pt x="61443" y="23127"/>
                    <a:pt x="61443" y="23127"/>
                  </a:cubicBezTo>
                  <a:cubicBezTo>
                    <a:pt x="59793" y="23563"/>
                    <a:pt x="59793" y="23563"/>
                    <a:pt x="59793" y="23563"/>
                  </a:cubicBezTo>
                  <a:cubicBezTo>
                    <a:pt x="60206" y="23345"/>
                    <a:pt x="60206" y="23345"/>
                    <a:pt x="60206" y="23345"/>
                  </a:cubicBezTo>
                  <a:cubicBezTo>
                    <a:pt x="61443" y="22909"/>
                    <a:pt x="61443" y="22909"/>
                    <a:pt x="61443" y="22909"/>
                  </a:cubicBezTo>
                  <a:cubicBezTo>
                    <a:pt x="61443" y="22472"/>
                    <a:pt x="61443" y="22472"/>
                    <a:pt x="61443" y="22472"/>
                  </a:cubicBezTo>
                  <a:cubicBezTo>
                    <a:pt x="61443" y="22472"/>
                    <a:pt x="61030" y="22472"/>
                    <a:pt x="61030" y="22472"/>
                  </a:cubicBezTo>
                  <a:cubicBezTo>
                    <a:pt x="60618" y="22472"/>
                    <a:pt x="60206" y="22254"/>
                    <a:pt x="60206" y="22254"/>
                  </a:cubicBezTo>
                  <a:cubicBezTo>
                    <a:pt x="59381" y="22036"/>
                    <a:pt x="59381" y="22036"/>
                    <a:pt x="59381" y="22036"/>
                  </a:cubicBezTo>
                  <a:cubicBezTo>
                    <a:pt x="58969" y="21600"/>
                    <a:pt x="58969" y="21600"/>
                    <a:pt x="58969" y="21600"/>
                  </a:cubicBezTo>
                  <a:cubicBezTo>
                    <a:pt x="57731" y="21818"/>
                    <a:pt x="57731" y="21818"/>
                    <a:pt x="57731" y="21818"/>
                  </a:cubicBezTo>
                  <a:cubicBezTo>
                    <a:pt x="57319" y="22254"/>
                    <a:pt x="57319" y="22254"/>
                    <a:pt x="57319" y="22254"/>
                  </a:cubicBezTo>
                  <a:cubicBezTo>
                    <a:pt x="56494" y="22472"/>
                    <a:pt x="56494" y="22472"/>
                    <a:pt x="56494" y="22472"/>
                  </a:cubicBezTo>
                  <a:cubicBezTo>
                    <a:pt x="55670" y="22472"/>
                    <a:pt x="55670" y="22472"/>
                    <a:pt x="55670" y="22472"/>
                  </a:cubicBezTo>
                  <a:cubicBezTo>
                    <a:pt x="56082" y="23127"/>
                    <a:pt x="56082" y="23127"/>
                    <a:pt x="56082" y="23127"/>
                  </a:cubicBezTo>
                  <a:cubicBezTo>
                    <a:pt x="55670" y="23781"/>
                    <a:pt x="55670" y="23781"/>
                    <a:pt x="55670" y="23781"/>
                  </a:cubicBezTo>
                  <a:cubicBezTo>
                    <a:pt x="54432" y="23781"/>
                    <a:pt x="54432" y="23781"/>
                    <a:pt x="54432" y="23781"/>
                  </a:cubicBezTo>
                  <a:cubicBezTo>
                    <a:pt x="54432" y="23781"/>
                    <a:pt x="54432" y="24654"/>
                    <a:pt x="54845" y="24654"/>
                  </a:cubicBezTo>
                  <a:cubicBezTo>
                    <a:pt x="54845" y="24654"/>
                    <a:pt x="55257" y="25090"/>
                    <a:pt x="55257" y="25090"/>
                  </a:cubicBezTo>
                  <a:cubicBezTo>
                    <a:pt x="55257" y="25527"/>
                    <a:pt x="55257" y="25527"/>
                    <a:pt x="55257" y="25527"/>
                  </a:cubicBezTo>
                  <a:cubicBezTo>
                    <a:pt x="55670" y="25745"/>
                    <a:pt x="55670" y="25745"/>
                    <a:pt x="55670" y="25745"/>
                  </a:cubicBezTo>
                  <a:cubicBezTo>
                    <a:pt x="55670" y="25745"/>
                    <a:pt x="55257" y="25745"/>
                    <a:pt x="54845" y="25745"/>
                  </a:cubicBezTo>
                  <a:cubicBezTo>
                    <a:pt x="54845" y="25745"/>
                    <a:pt x="54432" y="25309"/>
                    <a:pt x="54432" y="25309"/>
                  </a:cubicBezTo>
                  <a:cubicBezTo>
                    <a:pt x="52783" y="25309"/>
                    <a:pt x="52783" y="25309"/>
                    <a:pt x="52783" y="25309"/>
                  </a:cubicBezTo>
                  <a:cubicBezTo>
                    <a:pt x="52371" y="25309"/>
                    <a:pt x="52371" y="25309"/>
                    <a:pt x="52371" y="25309"/>
                  </a:cubicBezTo>
                  <a:cubicBezTo>
                    <a:pt x="51958" y="25963"/>
                    <a:pt x="51958" y="25963"/>
                    <a:pt x="51958" y="25963"/>
                  </a:cubicBezTo>
                  <a:cubicBezTo>
                    <a:pt x="52371" y="26618"/>
                    <a:pt x="52371" y="26618"/>
                    <a:pt x="52371" y="26618"/>
                  </a:cubicBezTo>
                  <a:cubicBezTo>
                    <a:pt x="51958" y="27054"/>
                    <a:pt x="51958" y="27054"/>
                    <a:pt x="51958" y="27054"/>
                  </a:cubicBezTo>
                  <a:cubicBezTo>
                    <a:pt x="51546" y="27272"/>
                    <a:pt x="51546" y="27272"/>
                    <a:pt x="51546" y="27272"/>
                  </a:cubicBezTo>
                  <a:cubicBezTo>
                    <a:pt x="51546" y="27272"/>
                    <a:pt x="50721" y="27709"/>
                    <a:pt x="50721" y="27709"/>
                  </a:cubicBezTo>
                  <a:cubicBezTo>
                    <a:pt x="50721" y="27927"/>
                    <a:pt x="51134" y="28581"/>
                    <a:pt x="51134" y="28581"/>
                  </a:cubicBezTo>
                  <a:cubicBezTo>
                    <a:pt x="51134" y="28581"/>
                    <a:pt x="51546" y="29018"/>
                    <a:pt x="51958" y="29018"/>
                  </a:cubicBezTo>
                  <a:cubicBezTo>
                    <a:pt x="51958" y="29236"/>
                    <a:pt x="52783" y="29454"/>
                    <a:pt x="52783" y="29454"/>
                  </a:cubicBezTo>
                  <a:cubicBezTo>
                    <a:pt x="52783" y="30109"/>
                    <a:pt x="52783" y="30109"/>
                    <a:pt x="52783" y="30109"/>
                  </a:cubicBezTo>
                  <a:cubicBezTo>
                    <a:pt x="51958" y="29454"/>
                    <a:pt x="51958" y="29454"/>
                    <a:pt x="51958" y="29454"/>
                  </a:cubicBezTo>
                  <a:cubicBezTo>
                    <a:pt x="51958" y="29454"/>
                    <a:pt x="51546" y="29236"/>
                    <a:pt x="51134" y="29018"/>
                  </a:cubicBezTo>
                  <a:cubicBezTo>
                    <a:pt x="51134" y="29018"/>
                    <a:pt x="50721" y="28581"/>
                    <a:pt x="50721" y="28581"/>
                  </a:cubicBezTo>
                  <a:cubicBezTo>
                    <a:pt x="50721" y="28581"/>
                    <a:pt x="49896" y="28800"/>
                    <a:pt x="49896" y="28800"/>
                  </a:cubicBezTo>
                  <a:cubicBezTo>
                    <a:pt x="49896" y="28800"/>
                    <a:pt x="49484" y="28800"/>
                    <a:pt x="49896" y="29018"/>
                  </a:cubicBezTo>
                  <a:cubicBezTo>
                    <a:pt x="49896" y="29236"/>
                    <a:pt x="49072" y="29454"/>
                    <a:pt x="49072" y="29454"/>
                  </a:cubicBezTo>
                  <a:cubicBezTo>
                    <a:pt x="49072" y="29454"/>
                    <a:pt x="47835" y="29672"/>
                    <a:pt x="47835" y="29454"/>
                  </a:cubicBezTo>
                  <a:cubicBezTo>
                    <a:pt x="47835" y="29236"/>
                    <a:pt x="47835" y="29018"/>
                    <a:pt x="47422" y="28800"/>
                  </a:cubicBezTo>
                  <a:cubicBezTo>
                    <a:pt x="47422" y="28800"/>
                    <a:pt x="47010" y="28800"/>
                    <a:pt x="47010" y="28800"/>
                  </a:cubicBezTo>
                  <a:cubicBezTo>
                    <a:pt x="47010" y="29018"/>
                    <a:pt x="46597" y="29236"/>
                    <a:pt x="46597" y="29236"/>
                  </a:cubicBezTo>
                  <a:cubicBezTo>
                    <a:pt x="47010" y="29890"/>
                    <a:pt x="47010" y="29890"/>
                    <a:pt x="47010" y="29890"/>
                  </a:cubicBezTo>
                  <a:cubicBezTo>
                    <a:pt x="47010" y="29890"/>
                    <a:pt x="46597" y="30327"/>
                    <a:pt x="46597" y="30327"/>
                  </a:cubicBezTo>
                  <a:cubicBezTo>
                    <a:pt x="46597" y="30109"/>
                    <a:pt x="46185" y="29672"/>
                    <a:pt x="46185" y="29454"/>
                  </a:cubicBezTo>
                  <a:cubicBezTo>
                    <a:pt x="46185" y="29454"/>
                    <a:pt x="46185" y="29018"/>
                    <a:pt x="45773" y="29018"/>
                  </a:cubicBezTo>
                  <a:cubicBezTo>
                    <a:pt x="45773" y="29018"/>
                    <a:pt x="44948" y="29454"/>
                    <a:pt x="44948" y="29454"/>
                  </a:cubicBezTo>
                  <a:cubicBezTo>
                    <a:pt x="44948" y="29454"/>
                    <a:pt x="44536" y="29454"/>
                    <a:pt x="44536" y="29672"/>
                  </a:cubicBezTo>
                  <a:cubicBezTo>
                    <a:pt x="44536" y="29672"/>
                    <a:pt x="44123" y="30327"/>
                    <a:pt x="44536" y="30545"/>
                  </a:cubicBezTo>
                  <a:cubicBezTo>
                    <a:pt x="44948" y="30763"/>
                    <a:pt x="44948" y="30763"/>
                    <a:pt x="45360" y="30763"/>
                  </a:cubicBezTo>
                  <a:cubicBezTo>
                    <a:pt x="45773" y="30763"/>
                    <a:pt x="45773" y="30981"/>
                    <a:pt x="45773" y="30981"/>
                  </a:cubicBezTo>
                  <a:cubicBezTo>
                    <a:pt x="44123" y="30981"/>
                    <a:pt x="44123" y="30981"/>
                    <a:pt x="44123" y="30981"/>
                  </a:cubicBezTo>
                  <a:cubicBezTo>
                    <a:pt x="44123" y="30981"/>
                    <a:pt x="43711" y="31200"/>
                    <a:pt x="44123" y="31418"/>
                  </a:cubicBezTo>
                  <a:cubicBezTo>
                    <a:pt x="44123" y="31418"/>
                    <a:pt x="44123" y="31854"/>
                    <a:pt x="44123" y="31854"/>
                  </a:cubicBezTo>
                  <a:cubicBezTo>
                    <a:pt x="44123" y="31854"/>
                    <a:pt x="44948" y="32290"/>
                    <a:pt x="44948" y="32290"/>
                  </a:cubicBezTo>
                  <a:cubicBezTo>
                    <a:pt x="44948" y="32290"/>
                    <a:pt x="44536" y="32727"/>
                    <a:pt x="44536" y="32727"/>
                  </a:cubicBezTo>
                  <a:cubicBezTo>
                    <a:pt x="44536" y="32727"/>
                    <a:pt x="43711" y="32509"/>
                    <a:pt x="43711" y="32509"/>
                  </a:cubicBezTo>
                  <a:cubicBezTo>
                    <a:pt x="43298" y="32290"/>
                    <a:pt x="43298" y="32509"/>
                    <a:pt x="42886" y="32509"/>
                  </a:cubicBezTo>
                  <a:cubicBezTo>
                    <a:pt x="42886" y="32727"/>
                    <a:pt x="42474" y="32945"/>
                    <a:pt x="42474" y="33163"/>
                  </a:cubicBezTo>
                  <a:cubicBezTo>
                    <a:pt x="42474" y="33163"/>
                    <a:pt x="42886" y="33381"/>
                    <a:pt x="42886" y="33600"/>
                  </a:cubicBezTo>
                  <a:cubicBezTo>
                    <a:pt x="42474" y="34036"/>
                    <a:pt x="42474" y="34472"/>
                    <a:pt x="42474" y="34472"/>
                  </a:cubicBezTo>
                  <a:cubicBezTo>
                    <a:pt x="42474" y="34472"/>
                    <a:pt x="42061" y="34472"/>
                    <a:pt x="42474" y="34690"/>
                  </a:cubicBezTo>
                  <a:cubicBezTo>
                    <a:pt x="42886" y="34909"/>
                    <a:pt x="43711" y="34909"/>
                    <a:pt x="44123" y="34909"/>
                  </a:cubicBezTo>
                  <a:cubicBezTo>
                    <a:pt x="44536" y="34909"/>
                    <a:pt x="44536" y="34909"/>
                    <a:pt x="44536" y="34909"/>
                  </a:cubicBezTo>
                  <a:cubicBezTo>
                    <a:pt x="44948" y="34909"/>
                    <a:pt x="45360" y="34909"/>
                    <a:pt x="45773" y="35127"/>
                  </a:cubicBezTo>
                  <a:cubicBezTo>
                    <a:pt x="45773" y="35127"/>
                    <a:pt x="46185" y="35127"/>
                    <a:pt x="46185" y="35127"/>
                  </a:cubicBezTo>
                  <a:cubicBezTo>
                    <a:pt x="46185" y="35127"/>
                    <a:pt x="45773" y="35563"/>
                    <a:pt x="45360" y="35345"/>
                  </a:cubicBezTo>
                  <a:cubicBezTo>
                    <a:pt x="44948" y="35127"/>
                    <a:pt x="44123" y="35127"/>
                    <a:pt x="43711" y="35127"/>
                  </a:cubicBezTo>
                  <a:cubicBezTo>
                    <a:pt x="43298" y="35127"/>
                    <a:pt x="43711" y="35563"/>
                    <a:pt x="43711" y="35563"/>
                  </a:cubicBezTo>
                  <a:cubicBezTo>
                    <a:pt x="44123" y="36000"/>
                    <a:pt x="44123" y="36000"/>
                    <a:pt x="44123" y="36000"/>
                  </a:cubicBezTo>
                  <a:cubicBezTo>
                    <a:pt x="44123" y="36000"/>
                    <a:pt x="44536" y="36218"/>
                    <a:pt x="44123" y="36218"/>
                  </a:cubicBezTo>
                  <a:cubicBezTo>
                    <a:pt x="43711" y="36218"/>
                    <a:pt x="42886" y="36000"/>
                    <a:pt x="42886" y="36000"/>
                  </a:cubicBezTo>
                  <a:cubicBezTo>
                    <a:pt x="42886" y="36000"/>
                    <a:pt x="42886" y="36000"/>
                    <a:pt x="42474" y="36000"/>
                  </a:cubicBezTo>
                  <a:cubicBezTo>
                    <a:pt x="42474" y="36000"/>
                    <a:pt x="42061" y="36218"/>
                    <a:pt x="41649" y="36218"/>
                  </a:cubicBezTo>
                  <a:cubicBezTo>
                    <a:pt x="41237" y="36218"/>
                    <a:pt x="41237" y="36218"/>
                    <a:pt x="40824" y="36000"/>
                  </a:cubicBezTo>
                  <a:cubicBezTo>
                    <a:pt x="40412" y="36000"/>
                    <a:pt x="39587" y="35563"/>
                    <a:pt x="39587" y="35563"/>
                  </a:cubicBezTo>
                  <a:cubicBezTo>
                    <a:pt x="39587" y="35563"/>
                    <a:pt x="39175" y="35563"/>
                    <a:pt x="39175" y="35345"/>
                  </a:cubicBezTo>
                  <a:cubicBezTo>
                    <a:pt x="39175" y="35127"/>
                    <a:pt x="39587" y="34690"/>
                    <a:pt x="39587" y="34690"/>
                  </a:cubicBezTo>
                  <a:cubicBezTo>
                    <a:pt x="40000" y="34472"/>
                    <a:pt x="39587" y="34472"/>
                    <a:pt x="40000" y="34472"/>
                  </a:cubicBezTo>
                  <a:cubicBezTo>
                    <a:pt x="40412" y="34472"/>
                    <a:pt x="41649" y="34472"/>
                    <a:pt x="40824" y="34036"/>
                  </a:cubicBezTo>
                  <a:cubicBezTo>
                    <a:pt x="40412" y="33600"/>
                    <a:pt x="40412" y="33600"/>
                    <a:pt x="40000" y="33600"/>
                  </a:cubicBezTo>
                  <a:cubicBezTo>
                    <a:pt x="39587" y="33818"/>
                    <a:pt x="38762" y="34036"/>
                    <a:pt x="38762" y="34036"/>
                  </a:cubicBezTo>
                  <a:cubicBezTo>
                    <a:pt x="38762" y="34036"/>
                    <a:pt x="38350" y="33818"/>
                    <a:pt x="38762" y="33163"/>
                  </a:cubicBezTo>
                  <a:cubicBezTo>
                    <a:pt x="39175" y="32509"/>
                    <a:pt x="38762" y="32509"/>
                    <a:pt x="39175" y="32290"/>
                  </a:cubicBezTo>
                  <a:cubicBezTo>
                    <a:pt x="39587" y="32072"/>
                    <a:pt x="40000" y="31854"/>
                    <a:pt x="40000" y="31854"/>
                  </a:cubicBezTo>
                  <a:cubicBezTo>
                    <a:pt x="40000" y="31854"/>
                    <a:pt x="40000" y="31636"/>
                    <a:pt x="39175" y="31200"/>
                  </a:cubicBezTo>
                  <a:cubicBezTo>
                    <a:pt x="38762" y="30763"/>
                    <a:pt x="38350" y="30327"/>
                    <a:pt x="38350" y="30327"/>
                  </a:cubicBezTo>
                  <a:cubicBezTo>
                    <a:pt x="37938" y="30109"/>
                    <a:pt x="37113" y="30545"/>
                    <a:pt x="37113" y="30545"/>
                  </a:cubicBezTo>
                  <a:cubicBezTo>
                    <a:pt x="37113" y="30763"/>
                    <a:pt x="36701" y="31200"/>
                    <a:pt x="37113" y="31418"/>
                  </a:cubicBezTo>
                  <a:cubicBezTo>
                    <a:pt x="37113" y="31636"/>
                    <a:pt x="37113" y="31854"/>
                    <a:pt x="36701" y="32072"/>
                  </a:cubicBezTo>
                  <a:cubicBezTo>
                    <a:pt x="36288" y="32072"/>
                    <a:pt x="36288" y="32290"/>
                    <a:pt x="35876" y="32072"/>
                  </a:cubicBezTo>
                  <a:cubicBezTo>
                    <a:pt x="35463" y="31854"/>
                    <a:pt x="35876" y="32072"/>
                    <a:pt x="35463" y="31636"/>
                  </a:cubicBezTo>
                  <a:cubicBezTo>
                    <a:pt x="35051" y="31418"/>
                    <a:pt x="35463" y="31418"/>
                    <a:pt x="35051" y="31418"/>
                  </a:cubicBezTo>
                  <a:cubicBezTo>
                    <a:pt x="34639" y="31200"/>
                    <a:pt x="34226" y="30981"/>
                    <a:pt x="34226" y="30981"/>
                  </a:cubicBezTo>
                  <a:cubicBezTo>
                    <a:pt x="34226" y="30981"/>
                    <a:pt x="32989" y="30763"/>
                    <a:pt x="32989" y="30981"/>
                  </a:cubicBezTo>
                  <a:cubicBezTo>
                    <a:pt x="32989" y="31200"/>
                    <a:pt x="32989" y="31200"/>
                    <a:pt x="33402" y="31418"/>
                  </a:cubicBezTo>
                  <a:cubicBezTo>
                    <a:pt x="33402" y="31636"/>
                    <a:pt x="33814" y="31636"/>
                    <a:pt x="33814" y="31854"/>
                  </a:cubicBezTo>
                  <a:cubicBezTo>
                    <a:pt x="33814" y="32072"/>
                    <a:pt x="33402" y="32072"/>
                    <a:pt x="33402" y="32072"/>
                  </a:cubicBezTo>
                  <a:cubicBezTo>
                    <a:pt x="33402" y="32072"/>
                    <a:pt x="32989" y="31854"/>
                    <a:pt x="32577" y="31854"/>
                  </a:cubicBezTo>
                  <a:cubicBezTo>
                    <a:pt x="32577" y="31854"/>
                    <a:pt x="31752" y="32290"/>
                    <a:pt x="31752" y="32290"/>
                  </a:cubicBezTo>
                  <a:cubicBezTo>
                    <a:pt x="31752" y="32290"/>
                    <a:pt x="31752" y="32509"/>
                    <a:pt x="31752" y="32727"/>
                  </a:cubicBezTo>
                  <a:cubicBezTo>
                    <a:pt x="31752" y="32727"/>
                    <a:pt x="31752" y="32945"/>
                    <a:pt x="31752" y="33163"/>
                  </a:cubicBezTo>
                  <a:cubicBezTo>
                    <a:pt x="32164" y="33381"/>
                    <a:pt x="32164" y="33818"/>
                    <a:pt x="32577" y="33818"/>
                  </a:cubicBezTo>
                  <a:cubicBezTo>
                    <a:pt x="33402" y="33818"/>
                    <a:pt x="35051" y="33381"/>
                    <a:pt x="35051" y="33381"/>
                  </a:cubicBezTo>
                  <a:cubicBezTo>
                    <a:pt x="35051" y="33600"/>
                    <a:pt x="35876" y="33818"/>
                    <a:pt x="36288" y="34036"/>
                  </a:cubicBezTo>
                  <a:cubicBezTo>
                    <a:pt x="36288" y="34036"/>
                    <a:pt x="36288" y="34472"/>
                    <a:pt x="36288" y="34472"/>
                  </a:cubicBezTo>
                  <a:cubicBezTo>
                    <a:pt x="36288" y="34472"/>
                    <a:pt x="35876" y="34690"/>
                    <a:pt x="35463" y="34690"/>
                  </a:cubicBezTo>
                  <a:cubicBezTo>
                    <a:pt x="35051" y="34690"/>
                    <a:pt x="34639" y="34254"/>
                    <a:pt x="34639" y="34690"/>
                  </a:cubicBezTo>
                  <a:cubicBezTo>
                    <a:pt x="34639" y="34909"/>
                    <a:pt x="34226" y="35345"/>
                    <a:pt x="34639" y="35563"/>
                  </a:cubicBezTo>
                  <a:cubicBezTo>
                    <a:pt x="35051" y="35781"/>
                    <a:pt x="35051" y="36218"/>
                    <a:pt x="35876" y="36218"/>
                  </a:cubicBezTo>
                  <a:cubicBezTo>
                    <a:pt x="36701" y="36436"/>
                    <a:pt x="36701" y="36654"/>
                    <a:pt x="37113" y="36436"/>
                  </a:cubicBezTo>
                  <a:cubicBezTo>
                    <a:pt x="37525" y="36218"/>
                    <a:pt x="37525" y="36000"/>
                    <a:pt x="37938" y="36218"/>
                  </a:cubicBezTo>
                  <a:cubicBezTo>
                    <a:pt x="38350" y="36218"/>
                    <a:pt x="38762" y="36218"/>
                    <a:pt x="39175" y="36436"/>
                  </a:cubicBezTo>
                  <a:cubicBezTo>
                    <a:pt x="39175" y="36654"/>
                    <a:pt x="38762" y="36654"/>
                    <a:pt x="38762" y="36654"/>
                  </a:cubicBezTo>
                  <a:cubicBezTo>
                    <a:pt x="38762" y="36654"/>
                    <a:pt x="38350" y="36654"/>
                    <a:pt x="38350" y="36872"/>
                  </a:cubicBezTo>
                  <a:cubicBezTo>
                    <a:pt x="38350" y="36872"/>
                    <a:pt x="37938" y="37090"/>
                    <a:pt x="38350" y="37090"/>
                  </a:cubicBezTo>
                  <a:cubicBezTo>
                    <a:pt x="39175" y="37090"/>
                    <a:pt x="39587" y="37090"/>
                    <a:pt x="39587" y="37090"/>
                  </a:cubicBezTo>
                  <a:cubicBezTo>
                    <a:pt x="39587" y="37090"/>
                    <a:pt x="40000" y="36654"/>
                    <a:pt x="40412" y="36872"/>
                  </a:cubicBezTo>
                  <a:cubicBezTo>
                    <a:pt x="40412" y="37090"/>
                    <a:pt x="40000" y="37090"/>
                    <a:pt x="39587" y="37309"/>
                  </a:cubicBezTo>
                  <a:cubicBezTo>
                    <a:pt x="39175" y="37527"/>
                    <a:pt x="39175" y="37527"/>
                    <a:pt x="39175" y="37745"/>
                  </a:cubicBezTo>
                  <a:cubicBezTo>
                    <a:pt x="39175" y="37963"/>
                    <a:pt x="38762" y="37963"/>
                    <a:pt x="38762" y="38181"/>
                  </a:cubicBezTo>
                  <a:cubicBezTo>
                    <a:pt x="38762" y="38400"/>
                    <a:pt x="37938" y="39272"/>
                    <a:pt x="39175" y="38618"/>
                  </a:cubicBezTo>
                  <a:cubicBezTo>
                    <a:pt x="40824" y="37963"/>
                    <a:pt x="40824" y="38181"/>
                    <a:pt x="40824" y="37963"/>
                  </a:cubicBezTo>
                  <a:cubicBezTo>
                    <a:pt x="40824" y="37745"/>
                    <a:pt x="40824" y="37745"/>
                    <a:pt x="41649" y="37527"/>
                  </a:cubicBezTo>
                  <a:cubicBezTo>
                    <a:pt x="42061" y="37309"/>
                    <a:pt x="42474" y="37309"/>
                    <a:pt x="42886" y="37309"/>
                  </a:cubicBezTo>
                  <a:cubicBezTo>
                    <a:pt x="42886" y="37090"/>
                    <a:pt x="43711" y="37090"/>
                    <a:pt x="43298" y="37309"/>
                  </a:cubicBezTo>
                  <a:cubicBezTo>
                    <a:pt x="42886" y="37527"/>
                    <a:pt x="42474" y="37309"/>
                    <a:pt x="42886" y="37527"/>
                  </a:cubicBezTo>
                  <a:cubicBezTo>
                    <a:pt x="43298" y="37745"/>
                    <a:pt x="43298" y="37963"/>
                    <a:pt x="43711" y="37963"/>
                  </a:cubicBezTo>
                  <a:cubicBezTo>
                    <a:pt x="44123" y="37963"/>
                    <a:pt x="44123" y="37963"/>
                    <a:pt x="44123" y="37963"/>
                  </a:cubicBezTo>
                  <a:cubicBezTo>
                    <a:pt x="44123" y="37963"/>
                    <a:pt x="43298" y="37963"/>
                    <a:pt x="42886" y="37963"/>
                  </a:cubicBezTo>
                  <a:cubicBezTo>
                    <a:pt x="42886" y="37963"/>
                    <a:pt x="42474" y="37963"/>
                    <a:pt x="42474" y="37963"/>
                  </a:cubicBezTo>
                  <a:cubicBezTo>
                    <a:pt x="42061" y="37963"/>
                    <a:pt x="42061" y="38181"/>
                    <a:pt x="42061" y="38181"/>
                  </a:cubicBezTo>
                  <a:cubicBezTo>
                    <a:pt x="41649" y="38400"/>
                    <a:pt x="41649" y="38400"/>
                    <a:pt x="41649" y="38400"/>
                  </a:cubicBezTo>
                  <a:cubicBezTo>
                    <a:pt x="41649" y="38400"/>
                    <a:pt x="42061" y="38618"/>
                    <a:pt x="42061" y="38836"/>
                  </a:cubicBezTo>
                  <a:cubicBezTo>
                    <a:pt x="42061" y="38836"/>
                    <a:pt x="42061" y="38836"/>
                    <a:pt x="41649" y="38836"/>
                  </a:cubicBezTo>
                  <a:cubicBezTo>
                    <a:pt x="41237" y="38836"/>
                    <a:pt x="41649" y="38618"/>
                    <a:pt x="40824" y="38836"/>
                  </a:cubicBezTo>
                  <a:cubicBezTo>
                    <a:pt x="40000" y="38836"/>
                    <a:pt x="40412" y="38400"/>
                    <a:pt x="40000" y="39054"/>
                  </a:cubicBezTo>
                  <a:cubicBezTo>
                    <a:pt x="39587" y="39709"/>
                    <a:pt x="39175" y="39709"/>
                    <a:pt x="39175" y="39709"/>
                  </a:cubicBezTo>
                  <a:cubicBezTo>
                    <a:pt x="39175" y="39709"/>
                    <a:pt x="39175" y="39709"/>
                    <a:pt x="39175" y="39927"/>
                  </a:cubicBezTo>
                  <a:cubicBezTo>
                    <a:pt x="39175" y="39927"/>
                    <a:pt x="39587" y="40145"/>
                    <a:pt x="40000" y="40363"/>
                  </a:cubicBezTo>
                  <a:cubicBezTo>
                    <a:pt x="40824" y="40581"/>
                    <a:pt x="41237" y="40800"/>
                    <a:pt x="41237" y="40800"/>
                  </a:cubicBezTo>
                  <a:cubicBezTo>
                    <a:pt x="41237" y="40800"/>
                    <a:pt x="40824" y="40800"/>
                    <a:pt x="40412" y="40800"/>
                  </a:cubicBezTo>
                  <a:cubicBezTo>
                    <a:pt x="39587" y="41018"/>
                    <a:pt x="39175" y="41018"/>
                    <a:pt x="38762" y="41236"/>
                  </a:cubicBezTo>
                  <a:cubicBezTo>
                    <a:pt x="38762" y="41236"/>
                    <a:pt x="38350" y="41454"/>
                    <a:pt x="37938" y="41454"/>
                  </a:cubicBezTo>
                  <a:cubicBezTo>
                    <a:pt x="37525" y="41454"/>
                    <a:pt x="36288" y="41236"/>
                    <a:pt x="35876" y="41454"/>
                  </a:cubicBezTo>
                  <a:cubicBezTo>
                    <a:pt x="35463" y="41454"/>
                    <a:pt x="35051" y="41454"/>
                    <a:pt x="34639" y="41672"/>
                  </a:cubicBezTo>
                  <a:cubicBezTo>
                    <a:pt x="34639" y="41672"/>
                    <a:pt x="34639" y="41890"/>
                    <a:pt x="34639" y="41890"/>
                  </a:cubicBezTo>
                  <a:cubicBezTo>
                    <a:pt x="34639" y="41890"/>
                    <a:pt x="34226" y="42109"/>
                    <a:pt x="34639" y="42109"/>
                  </a:cubicBezTo>
                  <a:cubicBezTo>
                    <a:pt x="35051" y="42109"/>
                    <a:pt x="36701" y="42109"/>
                    <a:pt x="36701" y="42109"/>
                  </a:cubicBezTo>
                  <a:cubicBezTo>
                    <a:pt x="37113" y="42109"/>
                    <a:pt x="37113" y="42327"/>
                    <a:pt x="37113" y="42327"/>
                  </a:cubicBezTo>
                  <a:cubicBezTo>
                    <a:pt x="36288" y="42327"/>
                    <a:pt x="36288" y="42327"/>
                    <a:pt x="36288" y="42327"/>
                  </a:cubicBezTo>
                  <a:cubicBezTo>
                    <a:pt x="36288" y="42327"/>
                    <a:pt x="35463" y="42327"/>
                    <a:pt x="35051" y="42327"/>
                  </a:cubicBezTo>
                  <a:cubicBezTo>
                    <a:pt x="35051" y="42327"/>
                    <a:pt x="33814" y="42545"/>
                    <a:pt x="33814" y="42545"/>
                  </a:cubicBezTo>
                  <a:cubicBezTo>
                    <a:pt x="33814" y="42545"/>
                    <a:pt x="32989" y="42981"/>
                    <a:pt x="32989" y="43200"/>
                  </a:cubicBezTo>
                  <a:cubicBezTo>
                    <a:pt x="32989" y="43200"/>
                    <a:pt x="32989" y="43418"/>
                    <a:pt x="33402" y="43854"/>
                  </a:cubicBezTo>
                  <a:cubicBezTo>
                    <a:pt x="34226" y="44072"/>
                    <a:pt x="34226" y="44290"/>
                    <a:pt x="34226" y="44509"/>
                  </a:cubicBezTo>
                  <a:cubicBezTo>
                    <a:pt x="34226" y="44509"/>
                    <a:pt x="34226" y="44509"/>
                    <a:pt x="34226" y="44727"/>
                  </a:cubicBezTo>
                  <a:cubicBezTo>
                    <a:pt x="33814" y="44727"/>
                    <a:pt x="32989" y="45163"/>
                    <a:pt x="32989" y="45163"/>
                  </a:cubicBezTo>
                  <a:cubicBezTo>
                    <a:pt x="32989" y="45163"/>
                    <a:pt x="32989" y="45163"/>
                    <a:pt x="32989" y="45600"/>
                  </a:cubicBezTo>
                  <a:cubicBezTo>
                    <a:pt x="32577" y="45818"/>
                    <a:pt x="31752" y="46472"/>
                    <a:pt x="32577" y="46472"/>
                  </a:cubicBezTo>
                  <a:cubicBezTo>
                    <a:pt x="33402" y="46690"/>
                    <a:pt x="32989" y="46909"/>
                    <a:pt x="33814" y="46690"/>
                  </a:cubicBezTo>
                  <a:cubicBezTo>
                    <a:pt x="35051" y="46472"/>
                    <a:pt x="33814" y="46254"/>
                    <a:pt x="35463" y="46472"/>
                  </a:cubicBezTo>
                  <a:cubicBezTo>
                    <a:pt x="37113" y="46690"/>
                    <a:pt x="37525" y="46472"/>
                    <a:pt x="37938" y="46472"/>
                  </a:cubicBezTo>
                  <a:cubicBezTo>
                    <a:pt x="38350" y="46254"/>
                    <a:pt x="38350" y="46254"/>
                    <a:pt x="38762" y="46036"/>
                  </a:cubicBezTo>
                  <a:cubicBezTo>
                    <a:pt x="38762" y="46036"/>
                    <a:pt x="37938" y="45818"/>
                    <a:pt x="39175" y="45818"/>
                  </a:cubicBezTo>
                  <a:cubicBezTo>
                    <a:pt x="40412" y="45600"/>
                    <a:pt x="40412" y="45600"/>
                    <a:pt x="40412" y="45600"/>
                  </a:cubicBezTo>
                  <a:cubicBezTo>
                    <a:pt x="40412" y="45600"/>
                    <a:pt x="39587" y="44945"/>
                    <a:pt x="40412" y="45381"/>
                  </a:cubicBezTo>
                  <a:cubicBezTo>
                    <a:pt x="41649" y="45818"/>
                    <a:pt x="41649" y="46036"/>
                    <a:pt x="41649" y="46036"/>
                  </a:cubicBezTo>
                  <a:cubicBezTo>
                    <a:pt x="40824" y="46472"/>
                    <a:pt x="40824" y="46472"/>
                    <a:pt x="40824" y="46472"/>
                  </a:cubicBezTo>
                  <a:cubicBezTo>
                    <a:pt x="40824" y="46690"/>
                    <a:pt x="40824" y="46690"/>
                    <a:pt x="40824" y="46690"/>
                  </a:cubicBezTo>
                  <a:cubicBezTo>
                    <a:pt x="40824" y="46690"/>
                    <a:pt x="40000" y="46690"/>
                    <a:pt x="39587" y="47127"/>
                  </a:cubicBezTo>
                  <a:cubicBezTo>
                    <a:pt x="39175" y="47563"/>
                    <a:pt x="37938" y="48218"/>
                    <a:pt x="37938" y="48436"/>
                  </a:cubicBezTo>
                  <a:cubicBezTo>
                    <a:pt x="37938" y="48436"/>
                    <a:pt x="38350" y="48218"/>
                    <a:pt x="37525" y="48654"/>
                  </a:cubicBezTo>
                  <a:cubicBezTo>
                    <a:pt x="36288" y="49090"/>
                    <a:pt x="35876" y="49090"/>
                    <a:pt x="35051" y="49309"/>
                  </a:cubicBezTo>
                  <a:cubicBezTo>
                    <a:pt x="34639" y="49745"/>
                    <a:pt x="34639" y="49527"/>
                    <a:pt x="34226" y="49745"/>
                  </a:cubicBezTo>
                  <a:cubicBezTo>
                    <a:pt x="34226" y="49963"/>
                    <a:pt x="33814" y="50181"/>
                    <a:pt x="33814" y="50181"/>
                  </a:cubicBezTo>
                  <a:cubicBezTo>
                    <a:pt x="33402" y="50618"/>
                    <a:pt x="33402" y="50618"/>
                    <a:pt x="33402" y="50618"/>
                  </a:cubicBezTo>
                  <a:cubicBezTo>
                    <a:pt x="32164" y="50836"/>
                    <a:pt x="32164" y="50836"/>
                    <a:pt x="32164" y="50836"/>
                  </a:cubicBezTo>
                  <a:cubicBezTo>
                    <a:pt x="30927" y="50618"/>
                    <a:pt x="30927" y="50618"/>
                    <a:pt x="30927" y="50618"/>
                  </a:cubicBezTo>
                  <a:cubicBezTo>
                    <a:pt x="30103" y="51054"/>
                    <a:pt x="30103" y="51054"/>
                    <a:pt x="30103" y="51054"/>
                  </a:cubicBezTo>
                  <a:cubicBezTo>
                    <a:pt x="30103" y="51054"/>
                    <a:pt x="28865" y="50836"/>
                    <a:pt x="28453" y="50836"/>
                  </a:cubicBezTo>
                  <a:cubicBezTo>
                    <a:pt x="28041" y="51054"/>
                    <a:pt x="27628" y="51272"/>
                    <a:pt x="27628" y="51272"/>
                  </a:cubicBezTo>
                  <a:cubicBezTo>
                    <a:pt x="27628" y="51272"/>
                    <a:pt x="27216" y="51272"/>
                    <a:pt x="27216" y="51709"/>
                  </a:cubicBezTo>
                  <a:cubicBezTo>
                    <a:pt x="27216" y="51927"/>
                    <a:pt x="26804" y="52581"/>
                    <a:pt x="26804" y="52581"/>
                  </a:cubicBezTo>
                  <a:cubicBezTo>
                    <a:pt x="25979" y="53018"/>
                    <a:pt x="25979" y="53018"/>
                    <a:pt x="25979" y="53018"/>
                  </a:cubicBezTo>
                  <a:cubicBezTo>
                    <a:pt x="25979" y="53018"/>
                    <a:pt x="25567" y="53454"/>
                    <a:pt x="26391" y="53236"/>
                  </a:cubicBezTo>
                  <a:cubicBezTo>
                    <a:pt x="27216" y="53018"/>
                    <a:pt x="27628" y="52800"/>
                    <a:pt x="28041" y="52581"/>
                  </a:cubicBezTo>
                  <a:cubicBezTo>
                    <a:pt x="28041" y="52581"/>
                    <a:pt x="28865" y="52363"/>
                    <a:pt x="28865" y="52363"/>
                  </a:cubicBezTo>
                  <a:cubicBezTo>
                    <a:pt x="28865" y="52800"/>
                    <a:pt x="28865" y="52800"/>
                    <a:pt x="28865" y="52800"/>
                  </a:cubicBezTo>
                  <a:cubicBezTo>
                    <a:pt x="28453" y="53672"/>
                    <a:pt x="28453" y="53672"/>
                    <a:pt x="28453" y="53672"/>
                  </a:cubicBezTo>
                  <a:cubicBezTo>
                    <a:pt x="28041" y="53890"/>
                    <a:pt x="28041" y="53890"/>
                    <a:pt x="28041" y="53890"/>
                  </a:cubicBezTo>
                  <a:cubicBezTo>
                    <a:pt x="27628" y="54109"/>
                    <a:pt x="27628" y="54109"/>
                    <a:pt x="27628" y="54109"/>
                  </a:cubicBezTo>
                  <a:cubicBezTo>
                    <a:pt x="27628" y="54109"/>
                    <a:pt x="26804" y="54981"/>
                    <a:pt x="27628" y="54981"/>
                  </a:cubicBezTo>
                  <a:cubicBezTo>
                    <a:pt x="28453" y="54763"/>
                    <a:pt x="28041" y="54763"/>
                    <a:pt x="28865" y="54545"/>
                  </a:cubicBezTo>
                  <a:cubicBezTo>
                    <a:pt x="29690" y="54545"/>
                    <a:pt x="29278" y="54327"/>
                    <a:pt x="30927" y="54109"/>
                  </a:cubicBezTo>
                  <a:cubicBezTo>
                    <a:pt x="32164" y="54109"/>
                    <a:pt x="32164" y="53672"/>
                    <a:pt x="32164" y="53454"/>
                  </a:cubicBezTo>
                  <a:cubicBezTo>
                    <a:pt x="32164" y="53454"/>
                    <a:pt x="32164" y="53236"/>
                    <a:pt x="32164" y="53018"/>
                  </a:cubicBezTo>
                  <a:cubicBezTo>
                    <a:pt x="32164" y="52800"/>
                    <a:pt x="31340" y="52581"/>
                    <a:pt x="32577" y="52363"/>
                  </a:cubicBezTo>
                  <a:cubicBezTo>
                    <a:pt x="33402" y="52363"/>
                    <a:pt x="32989" y="52581"/>
                    <a:pt x="33402" y="52363"/>
                  </a:cubicBezTo>
                  <a:cubicBezTo>
                    <a:pt x="33814" y="52145"/>
                    <a:pt x="33814" y="52581"/>
                    <a:pt x="33814" y="51927"/>
                  </a:cubicBezTo>
                  <a:cubicBezTo>
                    <a:pt x="33814" y="51490"/>
                    <a:pt x="33814" y="51490"/>
                    <a:pt x="34639" y="51272"/>
                  </a:cubicBezTo>
                  <a:cubicBezTo>
                    <a:pt x="35463" y="50836"/>
                    <a:pt x="35051" y="51054"/>
                    <a:pt x="35463" y="50836"/>
                  </a:cubicBezTo>
                  <a:cubicBezTo>
                    <a:pt x="35876" y="50618"/>
                    <a:pt x="35463" y="50618"/>
                    <a:pt x="35876" y="50400"/>
                  </a:cubicBezTo>
                  <a:cubicBezTo>
                    <a:pt x="36701" y="50181"/>
                    <a:pt x="36701" y="50181"/>
                    <a:pt x="36701" y="50181"/>
                  </a:cubicBezTo>
                  <a:cubicBezTo>
                    <a:pt x="36701" y="49963"/>
                    <a:pt x="37938" y="49527"/>
                    <a:pt x="37938" y="49527"/>
                  </a:cubicBezTo>
                  <a:cubicBezTo>
                    <a:pt x="37938" y="49090"/>
                    <a:pt x="37938" y="49090"/>
                    <a:pt x="37938" y="49090"/>
                  </a:cubicBezTo>
                  <a:cubicBezTo>
                    <a:pt x="39587" y="48654"/>
                    <a:pt x="39587" y="48654"/>
                    <a:pt x="39587" y="48654"/>
                  </a:cubicBezTo>
                  <a:cubicBezTo>
                    <a:pt x="39587" y="48654"/>
                    <a:pt x="40000" y="48436"/>
                    <a:pt x="40000" y="48654"/>
                  </a:cubicBezTo>
                  <a:cubicBezTo>
                    <a:pt x="39587" y="48872"/>
                    <a:pt x="39175" y="49309"/>
                    <a:pt x="39175" y="49309"/>
                  </a:cubicBezTo>
                  <a:cubicBezTo>
                    <a:pt x="39175" y="49745"/>
                    <a:pt x="39175" y="49745"/>
                    <a:pt x="39175" y="49745"/>
                  </a:cubicBezTo>
                  <a:cubicBezTo>
                    <a:pt x="37938" y="50181"/>
                    <a:pt x="37938" y="50181"/>
                    <a:pt x="37938" y="50181"/>
                  </a:cubicBezTo>
                  <a:cubicBezTo>
                    <a:pt x="37938" y="50181"/>
                    <a:pt x="38762" y="50400"/>
                    <a:pt x="38350" y="50618"/>
                  </a:cubicBezTo>
                  <a:cubicBezTo>
                    <a:pt x="37938" y="50836"/>
                    <a:pt x="37113" y="51054"/>
                    <a:pt x="37113" y="51054"/>
                  </a:cubicBezTo>
                  <a:cubicBezTo>
                    <a:pt x="37113" y="51490"/>
                    <a:pt x="37113" y="51490"/>
                    <a:pt x="37113" y="51490"/>
                  </a:cubicBezTo>
                  <a:cubicBezTo>
                    <a:pt x="37525" y="51709"/>
                    <a:pt x="37525" y="51709"/>
                    <a:pt x="37525" y="51709"/>
                  </a:cubicBezTo>
                  <a:cubicBezTo>
                    <a:pt x="36701" y="52581"/>
                    <a:pt x="36701" y="52581"/>
                    <a:pt x="36701" y="52581"/>
                  </a:cubicBezTo>
                  <a:cubicBezTo>
                    <a:pt x="37525" y="53018"/>
                    <a:pt x="37525" y="53018"/>
                    <a:pt x="37525" y="53018"/>
                  </a:cubicBezTo>
                  <a:cubicBezTo>
                    <a:pt x="37938" y="53454"/>
                    <a:pt x="37938" y="53454"/>
                    <a:pt x="37938" y="53454"/>
                  </a:cubicBezTo>
                  <a:cubicBezTo>
                    <a:pt x="37938" y="53454"/>
                    <a:pt x="37525" y="53672"/>
                    <a:pt x="37113" y="53890"/>
                  </a:cubicBezTo>
                  <a:cubicBezTo>
                    <a:pt x="36701" y="53890"/>
                    <a:pt x="35876" y="54545"/>
                    <a:pt x="35876" y="54545"/>
                  </a:cubicBezTo>
                  <a:cubicBezTo>
                    <a:pt x="35051" y="55200"/>
                    <a:pt x="35051" y="55200"/>
                    <a:pt x="35051" y="55200"/>
                  </a:cubicBezTo>
                  <a:cubicBezTo>
                    <a:pt x="34226" y="55854"/>
                    <a:pt x="34226" y="55854"/>
                    <a:pt x="34226" y="55854"/>
                  </a:cubicBezTo>
                  <a:cubicBezTo>
                    <a:pt x="34226" y="56509"/>
                    <a:pt x="34226" y="56509"/>
                    <a:pt x="34226" y="56509"/>
                  </a:cubicBezTo>
                  <a:cubicBezTo>
                    <a:pt x="33814" y="57381"/>
                    <a:pt x="33814" y="57381"/>
                    <a:pt x="33814" y="57381"/>
                  </a:cubicBezTo>
                  <a:cubicBezTo>
                    <a:pt x="32989" y="57600"/>
                    <a:pt x="32989" y="57600"/>
                    <a:pt x="32989" y="57600"/>
                  </a:cubicBezTo>
                  <a:cubicBezTo>
                    <a:pt x="32989" y="57600"/>
                    <a:pt x="32577" y="58254"/>
                    <a:pt x="33402" y="58254"/>
                  </a:cubicBezTo>
                  <a:cubicBezTo>
                    <a:pt x="34226" y="58472"/>
                    <a:pt x="34226" y="58472"/>
                    <a:pt x="34639" y="58472"/>
                  </a:cubicBezTo>
                  <a:cubicBezTo>
                    <a:pt x="35463" y="58472"/>
                    <a:pt x="35051" y="58472"/>
                    <a:pt x="35463" y="58472"/>
                  </a:cubicBezTo>
                  <a:cubicBezTo>
                    <a:pt x="35876" y="58472"/>
                    <a:pt x="36701" y="58472"/>
                    <a:pt x="36701" y="58036"/>
                  </a:cubicBezTo>
                  <a:cubicBezTo>
                    <a:pt x="36701" y="57600"/>
                    <a:pt x="36701" y="57163"/>
                    <a:pt x="36701" y="56945"/>
                  </a:cubicBezTo>
                  <a:cubicBezTo>
                    <a:pt x="36701" y="56945"/>
                    <a:pt x="37525" y="56290"/>
                    <a:pt x="37525" y="56290"/>
                  </a:cubicBezTo>
                  <a:cubicBezTo>
                    <a:pt x="37525" y="55418"/>
                    <a:pt x="37525" y="55418"/>
                    <a:pt x="37525" y="55418"/>
                  </a:cubicBezTo>
                  <a:cubicBezTo>
                    <a:pt x="37525" y="55418"/>
                    <a:pt x="37525" y="55200"/>
                    <a:pt x="38350" y="54763"/>
                  </a:cubicBezTo>
                  <a:cubicBezTo>
                    <a:pt x="39175" y="54545"/>
                    <a:pt x="38762" y="54545"/>
                    <a:pt x="39175" y="54545"/>
                  </a:cubicBezTo>
                  <a:cubicBezTo>
                    <a:pt x="39587" y="54327"/>
                    <a:pt x="39587" y="54109"/>
                    <a:pt x="39587" y="53890"/>
                  </a:cubicBezTo>
                  <a:cubicBezTo>
                    <a:pt x="40000" y="53672"/>
                    <a:pt x="40000" y="53672"/>
                    <a:pt x="40000" y="53672"/>
                  </a:cubicBezTo>
                  <a:cubicBezTo>
                    <a:pt x="40412" y="53236"/>
                    <a:pt x="40412" y="53236"/>
                    <a:pt x="40412" y="53236"/>
                  </a:cubicBezTo>
                  <a:cubicBezTo>
                    <a:pt x="40412" y="51490"/>
                    <a:pt x="40412" y="51490"/>
                    <a:pt x="40412" y="51490"/>
                  </a:cubicBezTo>
                  <a:cubicBezTo>
                    <a:pt x="40412" y="51490"/>
                    <a:pt x="40412" y="51054"/>
                    <a:pt x="40824" y="51054"/>
                  </a:cubicBezTo>
                  <a:cubicBezTo>
                    <a:pt x="41237" y="51054"/>
                    <a:pt x="41649" y="51054"/>
                    <a:pt x="41649" y="51054"/>
                  </a:cubicBezTo>
                  <a:cubicBezTo>
                    <a:pt x="41649" y="51054"/>
                    <a:pt x="41649" y="51272"/>
                    <a:pt x="41649" y="51709"/>
                  </a:cubicBezTo>
                  <a:cubicBezTo>
                    <a:pt x="41237" y="52145"/>
                    <a:pt x="41649" y="52800"/>
                    <a:pt x="41649" y="52800"/>
                  </a:cubicBezTo>
                  <a:cubicBezTo>
                    <a:pt x="44536" y="54109"/>
                    <a:pt x="44536" y="54109"/>
                    <a:pt x="44536" y="54109"/>
                  </a:cubicBezTo>
                  <a:cubicBezTo>
                    <a:pt x="44536" y="54109"/>
                    <a:pt x="45773" y="55200"/>
                    <a:pt x="45773" y="55418"/>
                  </a:cubicBezTo>
                  <a:cubicBezTo>
                    <a:pt x="45773" y="55418"/>
                    <a:pt x="47835" y="56290"/>
                    <a:pt x="47835" y="56290"/>
                  </a:cubicBezTo>
                  <a:cubicBezTo>
                    <a:pt x="47835" y="56290"/>
                    <a:pt x="48247" y="56509"/>
                    <a:pt x="47835" y="56727"/>
                  </a:cubicBezTo>
                  <a:cubicBezTo>
                    <a:pt x="47835" y="56945"/>
                    <a:pt x="48247" y="57163"/>
                    <a:pt x="48247" y="57381"/>
                  </a:cubicBezTo>
                  <a:cubicBezTo>
                    <a:pt x="47835" y="57600"/>
                    <a:pt x="47422" y="58254"/>
                    <a:pt x="47422" y="58254"/>
                  </a:cubicBezTo>
                  <a:cubicBezTo>
                    <a:pt x="46597" y="58472"/>
                    <a:pt x="46597" y="58472"/>
                    <a:pt x="46597" y="58472"/>
                  </a:cubicBezTo>
                  <a:cubicBezTo>
                    <a:pt x="45360" y="59127"/>
                    <a:pt x="45360" y="59127"/>
                    <a:pt x="45360" y="59127"/>
                  </a:cubicBezTo>
                  <a:cubicBezTo>
                    <a:pt x="44948" y="60000"/>
                    <a:pt x="44948" y="60000"/>
                    <a:pt x="44948" y="60000"/>
                  </a:cubicBezTo>
                  <a:cubicBezTo>
                    <a:pt x="44123" y="60654"/>
                    <a:pt x="44123" y="60654"/>
                    <a:pt x="44123" y="60654"/>
                  </a:cubicBezTo>
                  <a:cubicBezTo>
                    <a:pt x="42474" y="61090"/>
                    <a:pt x="42474" y="61090"/>
                    <a:pt x="42474" y="61090"/>
                  </a:cubicBezTo>
                  <a:cubicBezTo>
                    <a:pt x="40412" y="62181"/>
                    <a:pt x="40412" y="62181"/>
                    <a:pt x="40412" y="62181"/>
                  </a:cubicBezTo>
                  <a:cubicBezTo>
                    <a:pt x="39587" y="63054"/>
                    <a:pt x="39587" y="63054"/>
                    <a:pt x="39587" y="63054"/>
                  </a:cubicBezTo>
                  <a:cubicBezTo>
                    <a:pt x="38350" y="63927"/>
                    <a:pt x="38350" y="63927"/>
                    <a:pt x="38350" y="63927"/>
                  </a:cubicBezTo>
                  <a:cubicBezTo>
                    <a:pt x="38350" y="64581"/>
                    <a:pt x="38350" y="64581"/>
                    <a:pt x="38350" y="64581"/>
                  </a:cubicBezTo>
                  <a:cubicBezTo>
                    <a:pt x="38350" y="64581"/>
                    <a:pt x="39175" y="65454"/>
                    <a:pt x="39587" y="65454"/>
                  </a:cubicBezTo>
                  <a:cubicBezTo>
                    <a:pt x="39587" y="65454"/>
                    <a:pt x="40000" y="65672"/>
                    <a:pt x="40000" y="65672"/>
                  </a:cubicBezTo>
                  <a:cubicBezTo>
                    <a:pt x="40412" y="66763"/>
                    <a:pt x="40412" y="66763"/>
                    <a:pt x="40412" y="66763"/>
                  </a:cubicBezTo>
                  <a:cubicBezTo>
                    <a:pt x="40412" y="66763"/>
                    <a:pt x="40412" y="67418"/>
                    <a:pt x="40824" y="67418"/>
                  </a:cubicBezTo>
                  <a:cubicBezTo>
                    <a:pt x="41237" y="67200"/>
                    <a:pt x="41649" y="66545"/>
                    <a:pt x="41649" y="66545"/>
                  </a:cubicBezTo>
                  <a:cubicBezTo>
                    <a:pt x="41649" y="66545"/>
                    <a:pt x="40824" y="66109"/>
                    <a:pt x="40824" y="65672"/>
                  </a:cubicBezTo>
                  <a:cubicBezTo>
                    <a:pt x="40824" y="65236"/>
                    <a:pt x="41649" y="64581"/>
                    <a:pt x="41649" y="64581"/>
                  </a:cubicBezTo>
                  <a:cubicBezTo>
                    <a:pt x="42474" y="64363"/>
                    <a:pt x="42474" y="64363"/>
                    <a:pt x="42474" y="64363"/>
                  </a:cubicBezTo>
                  <a:cubicBezTo>
                    <a:pt x="42474" y="64363"/>
                    <a:pt x="42061" y="64363"/>
                    <a:pt x="42474" y="64581"/>
                  </a:cubicBezTo>
                  <a:cubicBezTo>
                    <a:pt x="42886" y="65018"/>
                    <a:pt x="42886" y="64800"/>
                    <a:pt x="43298" y="65018"/>
                  </a:cubicBezTo>
                  <a:cubicBezTo>
                    <a:pt x="43298" y="65236"/>
                    <a:pt x="44536" y="65890"/>
                    <a:pt x="44536" y="65890"/>
                  </a:cubicBezTo>
                  <a:cubicBezTo>
                    <a:pt x="44536" y="65890"/>
                    <a:pt x="45773" y="66545"/>
                    <a:pt x="46185" y="66763"/>
                  </a:cubicBezTo>
                  <a:cubicBezTo>
                    <a:pt x="46597" y="66981"/>
                    <a:pt x="47010" y="67418"/>
                    <a:pt x="47422" y="67418"/>
                  </a:cubicBezTo>
                  <a:cubicBezTo>
                    <a:pt x="47835" y="67200"/>
                    <a:pt x="48247" y="67418"/>
                    <a:pt x="48247" y="66981"/>
                  </a:cubicBezTo>
                  <a:cubicBezTo>
                    <a:pt x="48247" y="66545"/>
                    <a:pt x="48659" y="66545"/>
                    <a:pt x="48659" y="66109"/>
                  </a:cubicBezTo>
                  <a:cubicBezTo>
                    <a:pt x="48247" y="65890"/>
                    <a:pt x="48247" y="65236"/>
                    <a:pt x="48247" y="65236"/>
                  </a:cubicBezTo>
                  <a:cubicBezTo>
                    <a:pt x="48247" y="65236"/>
                    <a:pt x="48247" y="65018"/>
                    <a:pt x="48659" y="65018"/>
                  </a:cubicBezTo>
                  <a:cubicBezTo>
                    <a:pt x="49484" y="65018"/>
                    <a:pt x="49484" y="65454"/>
                    <a:pt x="49484" y="65454"/>
                  </a:cubicBezTo>
                  <a:cubicBezTo>
                    <a:pt x="49484" y="65454"/>
                    <a:pt x="49896" y="66109"/>
                    <a:pt x="50309" y="66327"/>
                  </a:cubicBezTo>
                  <a:cubicBezTo>
                    <a:pt x="50721" y="66327"/>
                    <a:pt x="51134" y="66327"/>
                    <a:pt x="51546" y="66545"/>
                  </a:cubicBezTo>
                  <a:cubicBezTo>
                    <a:pt x="51958" y="66981"/>
                    <a:pt x="54020" y="67200"/>
                    <a:pt x="54020" y="67200"/>
                  </a:cubicBezTo>
                  <a:cubicBezTo>
                    <a:pt x="54020" y="67200"/>
                    <a:pt x="54432" y="66981"/>
                    <a:pt x="54845" y="66763"/>
                  </a:cubicBezTo>
                  <a:cubicBezTo>
                    <a:pt x="54845" y="66545"/>
                    <a:pt x="55670" y="66545"/>
                    <a:pt x="55670" y="66545"/>
                  </a:cubicBezTo>
                  <a:cubicBezTo>
                    <a:pt x="55670" y="66545"/>
                    <a:pt x="55257" y="66109"/>
                    <a:pt x="56494" y="66327"/>
                  </a:cubicBezTo>
                  <a:cubicBezTo>
                    <a:pt x="57319" y="66327"/>
                    <a:pt x="57731" y="66545"/>
                    <a:pt x="57731" y="66327"/>
                  </a:cubicBezTo>
                  <a:cubicBezTo>
                    <a:pt x="58144" y="66109"/>
                    <a:pt x="58969" y="65236"/>
                    <a:pt x="58969" y="65236"/>
                  </a:cubicBezTo>
                  <a:cubicBezTo>
                    <a:pt x="58969" y="65236"/>
                    <a:pt x="58556" y="64581"/>
                    <a:pt x="59793" y="64800"/>
                  </a:cubicBezTo>
                  <a:cubicBezTo>
                    <a:pt x="60618" y="65236"/>
                    <a:pt x="65154" y="65672"/>
                    <a:pt x="65154" y="65672"/>
                  </a:cubicBezTo>
                  <a:cubicBezTo>
                    <a:pt x="64742" y="66109"/>
                    <a:pt x="64742" y="66109"/>
                    <a:pt x="64742" y="66109"/>
                  </a:cubicBezTo>
                  <a:cubicBezTo>
                    <a:pt x="63092" y="65890"/>
                    <a:pt x="63092" y="65890"/>
                    <a:pt x="63092" y="65890"/>
                  </a:cubicBezTo>
                  <a:cubicBezTo>
                    <a:pt x="61855" y="66109"/>
                    <a:pt x="61855" y="66109"/>
                    <a:pt x="61855" y="66109"/>
                  </a:cubicBezTo>
                  <a:cubicBezTo>
                    <a:pt x="61855" y="66109"/>
                    <a:pt x="61443" y="66109"/>
                    <a:pt x="61030" y="66545"/>
                  </a:cubicBezTo>
                  <a:cubicBezTo>
                    <a:pt x="61030" y="66763"/>
                    <a:pt x="61030" y="66981"/>
                    <a:pt x="60618" y="67200"/>
                  </a:cubicBezTo>
                  <a:cubicBezTo>
                    <a:pt x="60618" y="67418"/>
                    <a:pt x="60206" y="67636"/>
                    <a:pt x="59793" y="67636"/>
                  </a:cubicBezTo>
                  <a:cubicBezTo>
                    <a:pt x="59793" y="67854"/>
                    <a:pt x="58144" y="68509"/>
                    <a:pt x="58144" y="68509"/>
                  </a:cubicBezTo>
                  <a:cubicBezTo>
                    <a:pt x="57319" y="69163"/>
                    <a:pt x="57319" y="69163"/>
                    <a:pt x="57319" y="69163"/>
                  </a:cubicBezTo>
                  <a:cubicBezTo>
                    <a:pt x="56494" y="70254"/>
                    <a:pt x="56494" y="70254"/>
                    <a:pt x="56494" y="70254"/>
                  </a:cubicBezTo>
                  <a:cubicBezTo>
                    <a:pt x="56494" y="70254"/>
                    <a:pt x="56494" y="71127"/>
                    <a:pt x="56907" y="71127"/>
                  </a:cubicBezTo>
                  <a:cubicBezTo>
                    <a:pt x="57319" y="71345"/>
                    <a:pt x="58144" y="72000"/>
                    <a:pt x="58144" y="72000"/>
                  </a:cubicBezTo>
                  <a:cubicBezTo>
                    <a:pt x="58144" y="72000"/>
                    <a:pt x="58144" y="72436"/>
                    <a:pt x="58144" y="72654"/>
                  </a:cubicBezTo>
                  <a:cubicBezTo>
                    <a:pt x="58144" y="72872"/>
                    <a:pt x="58144" y="73090"/>
                    <a:pt x="58556" y="73527"/>
                  </a:cubicBezTo>
                  <a:cubicBezTo>
                    <a:pt x="58969" y="73745"/>
                    <a:pt x="59381" y="74618"/>
                    <a:pt x="59381" y="74618"/>
                  </a:cubicBezTo>
                  <a:cubicBezTo>
                    <a:pt x="59793" y="74618"/>
                    <a:pt x="59793" y="74618"/>
                    <a:pt x="59793" y="74618"/>
                  </a:cubicBezTo>
                  <a:cubicBezTo>
                    <a:pt x="59793" y="75272"/>
                    <a:pt x="59793" y="75272"/>
                    <a:pt x="59793" y="75272"/>
                  </a:cubicBezTo>
                  <a:cubicBezTo>
                    <a:pt x="59793" y="75272"/>
                    <a:pt x="59793" y="75927"/>
                    <a:pt x="60206" y="75927"/>
                  </a:cubicBezTo>
                  <a:cubicBezTo>
                    <a:pt x="61030" y="75927"/>
                    <a:pt x="62268" y="75490"/>
                    <a:pt x="62268" y="75490"/>
                  </a:cubicBezTo>
                  <a:cubicBezTo>
                    <a:pt x="65567" y="75054"/>
                    <a:pt x="65567" y="75054"/>
                    <a:pt x="65567" y="75054"/>
                  </a:cubicBezTo>
                  <a:cubicBezTo>
                    <a:pt x="65567" y="75054"/>
                    <a:pt x="65154" y="75927"/>
                    <a:pt x="65154" y="76145"/>
                  </a:cubicBezTo>
                  <a:cubicBezTo>
                    <a:pt x="65154" y="76363"/>
                    <a:pt x="64329" y="76363"/>
                    <a:pt x="63917" y="76581"/>
                  </a:cubicBezTo>
                  <a:cubicBezTo>
                    <a:pt x="63917" y="76800"/>
                    <a:pt x="63917" y="77018"/>
                    <a:pt x="63917" y="77018"/>
                  </a:cubicBezTo>
                  <a:cubicBezTo>
                    <a:pt x="63917" y="77018"/>
                    <a:pt x="63505" y="77672"/>
                    <a:pt x="63092" y="77672"/>
                  </a:cubicBezTo>
                  <a:cubicBezTo>
                    <a:pt x="62268" y="77672"/>
                    <a:pt x="61443" y="77890"/>
                    <a:pt x="61443" y="77890"/>
                  </a:cubicBezTo>
                  <a:cubicBezTo>
                    <a:pt x="61443" y="77890"/>
                    <a:pt x="61030" y="77454"/>
                    <a:pt x="61030" y="78109"/>
                  </a:cubicBezTo>
                  <a:cubicBezTo>
                    <a:pt x="60618" y="78545"/>
                    <a:pt x="60206" y="78981"/>
                    <a:pt x="60206" y="79200"/>
                  </a:cubicBezTo>
                  <a:cubicBezTo>
                    <a:pt x="60206" y="79418"/>
                    <a:pt x="59381" y="79636"/>
                    <a:pt x="60618" y="79854"/>
                  </a:cubicBezTo>
                  <a:cubicBezTo>
                    <a:pt x="61443" y="79854"/>
                    <a:pt x="61443" y="80509"/>
                    <a:pt x="61443" y="80509"/>
                  </a:cubicBezTo>
                  <a:cubicBezTo>
                    <a:pt x="61443" y="80509"/>
                    <a:pt x="60618" y="80945"/>
                    <a:pt x="60206" y="81163"/>
                  </a:cubicBezTo>
                  <a:cubicBezTo>
                    <a:pt x="59793" y="81381"/>
                    <a:pt x="59381" y="81163"/>
                    <a:pt x="59381" y="81381"/>
                  </a:cubicBezTo>
                  <a:cubicBezTo>
                    <a:pt x="59381" y="81600"/>
                    <a:pt x="60206" y="82690"/>
                    <a:pt x="60206" y="82690"/>
                  </a:cubicBezTo>
                  <a:cubicBezTo>
                    <a:pt x="60206" y="82690"/>
                    <a:pt x="60206" y="83345"/>
                    <a:pt x="59381" y="83345"/>
                  </a:cubicBezTo>
                  <a:cubicBezTo>
                    <a:pt x="58556" y="83345"/>
                    <a:pt x="58556" y="83345"/>
                    <a:pt x="58144" y="83345"/>
                  </a:cubicBezTo>
                  <a:cubicBezTo>
                    <a:pt x="57731" y="83345"/>
                    <a:pt x="57319" y="83345"/>
                    <a:pt x="57319" y="83345"/>
                  </a:cubicBezTo>
                  <a:cubicBezTo>
                    <a:pt x="57319" y="83345"/>
                    <a:pt x="57731" y="83563"/>
                    <a:pt x="57731" y="84000"/>
                  </a:cubicBezTo>
                  <a:cubicBezTo>
                    <a:pt x="57731" y="84436"/>
                    <a:pt x="57731" y="84872"/>
                    <a:pt x="57731" y="84872"/>
                  </a:cubicBezTo>
                  <a:cubicBezTo>
                    <a:pt x="56494" y="84654"/>
                    <a:pt x="56494" y="84654"/>
                    <a:pt x="56494" y="84654"/>
                  </a:cubicBezTo>
                  <a:cubicBezTo>
                    <a:pt x="55257" y="84000"/>
                    <a:pt x="55257" y="84000"/>
                    <a:pt x="55257" y="84000"/>
                  </a:cubicBezTo>
                  <a:cubicBezTo>
                    <a:pt x="55257" y="84000"/>
                    <a:pt x="54020" y="84000"/>
                    <a:pt x="53608" y="84000"/>
                  </a:cubicBezTo>
                  <a:cubicBezTo>
                    <a:pt x="53195" y="84218"/>
                    <a:pt x="51958" y="84218"/>
                    <a:pt x="51958" y="84218"/>
                  </a:cubicBezTo>
                  <a:cubicBezTo>
                    <a:pt x="51958" y="84218"/>
                    <a:pt x="49896" y="83781"/>
                    <a:pt x="49484" y="83563"/>
                  </a:cubicBezTo>
                  <a:cubicBezTo>
                    <a:pt x="49484" y="83345"/>
                    <a:pt x="49484" y="83345"/>
                    <a:pt x="49072" y="83563"/>
                  </a:cubicBezTo>
                  <a:cubicBezTo>
                    <a:pt x="49072" y="83563"/>
                    <a:pt x="49484" y="83563"/>
                    <a:pt x="49072" y="83563"/>
                  </a:cubicBezTo>
                  <a:cubicBezTo>
                    <a:pt x="48659" y="83781"/>
                    <a:pt x="49484" y="83781"/>
                    <a:pt x="47835" y="83781"/>
                  </a:cubicBezTo>
                  <a:cubicBezTo>
                    <a:pt x="46185" y="84000"/>
                    <a:pt x="44536" y="84218"/>
                    <a:pt x="44536" y="84218"/>
                  </a:cubicBezTo>
                  <a:cubicBezTo>
                    <a:pt x="44536" y="84218"/>
                    <a:pt x="45773" y="83563"/>
                    <a:pt x="45360" y="83345"/>
                  </a:cubicBezTo>
                  <a:cubicBezTo>
                    <a:pt x="44948" y="83127"/>
                    <a:pt x="45360" y="83345"/>
                    <a:pt x="44536" y="83127"/>
                  </a:cubicBezTo>
                  <a:cubicBezTo>
                    <a:pt x="44123" y="82909"/>
                    <a:pt x="43298" y="82472"/>
                    <a:pt x="43298" y="82254"/>
                  </a:cubicBezTo>
                  <a:cubicBezTo>
                    <a:pt x="43298" y="82036"/>
                    <a:pt x="43298" y="81600"/>
                    <a:pt x="42474" y="81600"/>
                  </a:cubicBezTo>
                  <a:cubicBezTo>
                    <a:pt x="42061" y="81600"/>
                    <a:pt x="41649" y="81163"/>
                    <a:pt x="40824" y="81600"/>
                  </a:cubicBezTo>
                  <a:cubicBezTo>
                    <a:pt x="40412" y="81818"/>
                    <a:pt x="40000" y="81818"/>
                    <a:pt x="40000" y="82036"/>
                  </a:cubicBezTo>
                  <a:cubicBezTo>
                    <a:pt x="39587" y="82254"/>
                    <a:pt x="37938" y="82472"/>
                    <a:pt x="37938" y="82472"/>
                  </a:cubicBezTo>
                  <a:cubicBezTo>
                    <a:pt x="37938" y="82472"/>
                    <a:pt x="39175" y="83345"/>
                    <a:pt x="39175" y="83563"/>
                  </a:cubicBezTo>
                  <a:cubicBezTo>
                    <a:pt x="39175" y="83781"/>
                    <a:pt x="40000" y="84654"/>
                    <a:pt x="40000" y="84654"/>
                  </a:cubicBezTo>
                  <a:cubicBezTo>
                    <a:pt x="42886" y="84654"/>
                    <a:pt x="42886" y="84654"/>
                    <a:pt x="42886" y="84654"/>
                  </a:cubicBezTo>
                  <a:cubicBezTo>
                    <a:pt x="42886" y="84654"/>
                    <a:pt x="40824" y="85090"/>
                    <a:pt x="40824" y="85527"/>
                  </a:cubicBezTo>
                  <a:cubicBezTo>
                    <a:pt x="40412" y="85745"/>
                    <a:pt x="40412" y="85963"/>
                    <a:pt x="40000" y="86181"/>
                  </a:cubicBezTo>
                  <a:cubicBezTo>
                    <a:pt x="39587" y="86400"/>
                    <a:pt x="39587" y="86618"/>
                    <a:pt x="38762" y="86836"/>
                  </a:cubicBezTo>
                  <a:cubicBezTo>
                    <a:pt x="37525" y="86836"/>
                    <a:pt x="36288" y="87054"/>
                    <a:pt x="35463" y="87272"/>
                  </a:cubicBezTo>
                  <a:cubicBezTo>
                    <a:pt x="35051" y="87490"/>
                    <a:pt x="34639" y="87490"/>
                    <a:pt x="34639" y="87709"/>
                  </a:cubicBezTo>
                  <a:cubicBezTo>
                    <a:pt x="34639" y="88145"/>
                    <a:pt x="32164" y="87927"/>
                    <a:pt x="34639" y="88363"/>
                  </a:cubicBezTo>
                  <a:cubicBezTo>
                    <a:pt x="37113" y="88581"/>
                    <a:pt x="37525" y="88800"/>
                    <a:pt x="37525" y="88800"/>
                  </a:cubicBezTo>
                  <a:cubicBezTo>
                    <a:pt x="37525" y="88800"/>
                    <a:pt x="38762" y="88145"/>
                    <a:pt x="39175" y="87927"/>
                  </a:cubicBezTo>
                  <a:cubicBezTo>
                    <a:pt x="40000" y="87490"/>
                    <a:pt x="40000" y="87490"/>
                    <a:pt x="41649" y="87490"/>
                  </a:cubicBezTo>
                  <a:cubicBezTo>
                    <a:pt x="43298" y="87709"/>
                    <a:pt x="43298" y="87490"/>
                    <a:pt x="43298" y="87709"/>
                  </a:cubicBezTo>
                  <a:cubicBezTo>
                    <a:pt x="43298" y="88145"/>
                    <a:pt x="43298" y="88363"/>
                    <a:pt x="43298" y="88800"/>
                  </a:cubicBezTo>
                  <a:cubicBezTo>
                    <a:pt x="42886" y="89236"/>
                    <a:pt x="42061" y="89454"/>
                    <a:pt x="42886" y="90109"/>
                  </a:cubicBezTo>
                  <a:cubicBezTo>
                    <a:pt x="43711" y="90545"/>
                    <a:pt x="42474" y="90981"/>
                    <a:pt x="42474" y="91200"/>
                  </a:cubicBezTo>
                  <a:cubicBezTo>
                    <a:pt x="42474" y="91200"/>
                    <a:pt x="41649" y="91854"/>
                    <a:pt x="42061" y="91854"/>
                  </a:cubicBezTo>
                  <a:cubicBezTo>
                    <a:pt x="42474" y="92072"/>
                    <a:pt x="42474" y="92072"/>
                    <a:pt x="42474" y="92072"/>
                  </a:cubicBezTo>
                  <a:cubicBezTo>
                    <a:pt x="42474" y="92072"/>
                    <a:pt x="41649" y="93163"/>
                    <a:pt x="41649" y="93381"/>
                  </a:cubicBezTo>
                  <a:cubicBezTo>
                    <a:pt x="41649" y="93381"/>
                    <a:pt x="40412" y="94690"/>
                    <a:pt x="40000" y="94690"/>
                  </a:cubicBezTo>
                  <a:cubicBezTo>
                    <a:pt x="39587" y="94909"/>
                    <a:pt x="40412" y="94909"/>
                    <a:pt x="37938" y="95345"/>
                  </a:cubicBezTo>
                  <a:cubicBezTo>
                    <a:pt x="35463" y="95563"/>
                    <a:pt x="34226" y="95781"/>
                    <a:pt x="34226" y="95781"/>
                  </a:cubicBezTo>
                  <a:cubicBezTo>
                    <a:pt x="32164" y="96218"/>
                    <a:pt x="32164" y="96218"/>
                    <a:pt x="32164" y="96218"/>
                  </a:cubicBezTo>
                  <a:cubicBezTo>
                    <a:pt x="30515" y="96872"/>
                    <a:pt x="30515" y="96872"/>
                    <a:pt x="30515" y="96872"/>
                  </a:cubicBezTo>
                  <a:cubicBezTo>
                    <a:pt x="29278" y="96872"/>
                    <a:pt x="29278" y="96872"/>
                    <a:pt x="29278" y="96872"/>
                  </a:cubicBezTo>
                  <a:cubicBezTo>
                    <a:pt x="27216" y="96654"/>
                    <a:pt x="27216" y="96654"/>
                    <a:pt x="27216" y="96654"/>
                  </a:cubicBezTo>
                  <a:cubicBezTo>
                    <a:pt x="27216" y="96654"/>
                    <a:pt x="25154" y="97309"/>
                    <a:pt x="25154" y="97527"/>
                  </a:cubicBezTo>
                  <a:cubicBezTo>
                    <a:pt x="25154" y="97527"/>
                    <a:pt x="23917" y="97745"/>
                    <a:pt x="23505" y="97963"/>
                  </a:cubicBezTo>
                  <a:cubicBezTo>
                    <a:pt x="23505" y="98181"/>
                    <a:pt x="25567" y="98618"/>
                    <a:pt x="25567" y="98618"/>
                  </a:cubicBezTo>
                  <a:cubicBezTo>
                    <a:pt x="25979" y="99272"/>
                    <a:pt x="25979" y="99272"/>
                    <a:pt x="25979" y="99272"/>
                  </a:cubicBezTo>
                  <a:cubicBezTo>
                    <a:pt x="25154" y="99272"/>
                    <a:pt x="25154" y="99272"/>
                    <a:pt x="25154" y="99272"/>
                  </a:cubicBezTo>
                  <a:cubicBezTo>
                    <a:pt x="23505" y="99490"/>
                    <a:pt x="23505" y="99490"/>
                    <a:pt x="23505" y="99490"/>
                  </a:cubicBezTo>
                  <a:cubicBezTo>
                    <a:pt x="23505" y="99927"/>
                    <a:pt x="23505" y="99927"/>
                    <a:pt x="23505" y="99927"/>
                  </a:cubicBezTo>
                  <a:cubicBezTo>
                    <a:pt x="24329" y="100145"/>
                    <a:pt x="24329" y="100145"/>
                    <a:pt x="24329" y="100145"/>
                  </a:cubicBezTo>
                  <a:cubicBezTo>
                    <a:pt x="24329" y="100145"/>
                    <a:pt x="24742" y="100363"/>
                    <a:pt x="25154" y="100363"/>
                  </a:cubicBezTo>
                  <a:cubicBezTo>
                    <a:pt x="25979" y="100363"/>
                    <a:pt x="27628" y="99927"/>
                    <a:pt x="27628" y="99927"/>
                  </a:cubicBezTo>
                  <a:cubicBezTo>
                    <a:pt x="25567" y="100581"/>
                    <a:pt x="25567" y="100581"/>
                    <a:pt x="25567" y="100581"/>
                  </a:cubicBezTo>
                  <a:cubicBezTo>
                    <a:pt x="25154" y="101236"/>
                    <a:pt x="25154" y="101236"/>
                    <a:pt x="25154" y="101236"/>
                  </a:cubicBezTo>
                  <a:cubicBezTo>
                    <a:pt x="25154" y="101236"/>
                    <a:pt x="24742" y="101672"/>
                    <a:pt x="25567" y="101672"/>
                  </a:cubicBezTo>
                  <a:cubicBezTo>
                    <a:pt x="26391" y="101672"/>
                    <a:pt x="27216" y="101672"/>
                    <a:pt x="27216" y="101672"/>
                  </a:cubicBezTo>
                  <a:cubicBezTo>
                    <a:pt x="27216" y="101672"/>
                    <a:pt x="27628" y="101236"/>
                    <a:pt x="28453" y="101236"/>
                  </a:cubicBezTo>
                  <a:cubicBezTo>
                    <a:pt x="29690" y="101454"/>
                    <a:pt x="29690" y="101454"/>
                    <a:pt x="29690" y="101454"/>
                  </a:cubicBezTo>
                  <a:cubicBezTo>
                    <a:pt x="29690" y="101454"/>
                    <a:pt x="30103" y="100800"/>
                    <a:pt x="30515" y="100800"/>
                  </a:cubicBezTo>
                  <a:cubicBezTo>
                    <a:pt x="30515" y="100800"/>
                    <a:pt x="30103" y="100800"/>
                    <a:pt x="31340" y="100800"/>
                  </a:cubicBezTo>
                  <a:cubicBezTo>
                    <a:pt x="32164" y="101018"/>
                    <a:pt x="35051" y="100800"/>
                    <a:pt x="35051" y="100800"/>
                  </a:cubicBezTo>
                  <a:cubicBezTo>
                    <a:pt x="35051" y="100800"/>
                    <a:pt x="35463" y="100800"/>
                    <a:pt x="35463" y="101018"/>
                  </a:cubicBezTo>
                  <a:cubicBezTo>
                    <a:pt x="35463" y="101454"/>
                    <a:pt x="36288" y="101454"/>
                    <a:pt x="36701" y="101890"/>
                  </a:cubicBezTo>
                  <a:cubicBezTo>
                    <a:pt x="37525" y="102109"/>
                    <a:pt x="39175" y="102327"/>
                    <a:pt x="39175" y="102327"/>
                  </a:cubicBezTo>
                  <a:cubicBezTo>
                    <a:pt x="37938" y="102545"/>
                    <a:pt x="37938" y="102545"/>
                    <a:pt x="37938" y="102545"/>
                  </a:cubicBezTo>
                  <a:cubicBezTo>
                    <a:pt x="36288" y="102327"/>
                    <a:pt x="36288" y="102327"/>
                    <a:pt x="36288" y="102327"/>
                  </a:cubicBezTo>
                  <a:cubicBezTo>
                    <a:pt x="36288" y="102327"/>
                    <a:pt x="35463" y="102109"/>
                    <a:pt x="35463" y="102327"/>
                  </a:cubicBezTo>
                  <a:cubicBezTo>
                    <a:pt x="35463" y="102763"/>
                    <a:pt x="35051" y="103418"/>
                    <a:pt x="35051" y="103418"/>
                  </a:cubicBezTo>
                  <a:cubicBezTo>
                    <a:pt x="35463" y="103418"/>
                    <a:pt x="37525" y="103636"/>
                    <a:pt x="37525" y="103636"/>
                  </a:cubicBezTo>
                  <a:cubicBezTo>
                    <a:pt x="39587" y="103636"/>
                    <a:pt x="39587" y="103636"/>
                    <a:pt x="39587" y="103636"/>
                  </a:cubicBezTo>
                  <a:cubicBezTo>
                    <a:pt x="40412" y="103418"/>
                    <a:pt x="40412" y="103418"/>
                    <a:pt x="40412" y="103418"/>
                  </a:cubicBezTo>
                  <a:cubicBezTo>
                    <a:pt x="41649" y="102981"/>
                    <a:pt x="41649" y="102981"/>
                    <a:pt x="41649" y="102981"/>
                  </a:cubicBezTo>
                  <a:cubicBezTo>
                    <a:pt x="41649" y="102981"/>
                    <a:pt x="42061" y="103418"/>
                    <a:pt x="41649" y="103418"/>
                  </a:cubicBezTo>
                  <a:cubicBezTo>
                    <a:pt x="41649" y="103636"/>
                    <a:pt x="42061" y="104072"/>
                    <a:pt x="42061" y="104072"/>
                  </a:cubicBezTo>
                  <a:cubicBezTo>
                    <a:pt x="42061" y="104072"/>
                    <a:pt x="42061" y="104727"/>
                    <a:pt x="42474" y="104727"/>
                  </a:cubicBezTo>
                  <a:cubicBezTo>
                    <a:pt x="42886" y="104727"/>
                    <a:pt x="43711" y="105381"/>
                    <a:pt x="43711" y="105381"/>
                  </a:cubicBezTo>
                  <a:cubicBezTo>
                    <a:pt x="44536" y="106036"/>
                    <a:pt x="44536" y="106036"/>
                    <a:pt x="44536" y="106036"/>
                  </a:cubicBezTo>
                  <a:cubicBezTo>
                    <a:pt x="46185" y="106254"/>
                    <a:pt x="46185" y="106254"/>
                    <a:pt x="46185" y="106254"/>
                  </a:cubicBezTo>
                  <a:cubicBezTo>
                    <a:pt x="46185" y="106254"/>
                    <a:pt x="47422" y="106254"/>
                    <a:pt x="47835" y="106254"/>
                  </a:cubicBezTo>
                  <a:cubicBezTo>
                    <a:pt x="48247" y="106472"/>
                    <a:pt x="49072" y="106690"/>
                    <a:pt x="49072" y="106472"/>
                  </a:cubicBezTo>
                  <a:cubicBezTo>
                    <a:pt x="49484" y="106254"/>
                    <a:pt x="50309" y="105818"/>
                    <a:pt x="50309" y="105818"/>
                  </a:cubicBezTo>
                  <a:cubicBezTo>
                    <a:pt x="51958" y="105163"/>
                    <a:pt x="51958" y="105163"/>
                    <a:pt x="51958" y="105163"/>
                  </a:cubicBezTo>
                  <a:cubicBezTo>
                    <a:pt x="51958" y="105163"/>
                    <a:pt x="52783" y="105163"/>
                    <a:pt x="53608" y="105163"/>
                  </a:cubicBezTo>
                  <a:cubicBezTo>
                    <a:pt x="54020" y="105163"/>
                    <a:pt x="56907" y="104945"/>
                    <a:pt x="56907" y="104945"/>
                  </a:cubicBezTo>
                  <a:cubicBezTo>
                    <a:pt x="56907" y="104945"/>
                    <a:pt x="57319" y="104509"/>
                    <a:pt x="58144" y="104290"/>
                  </a:cubicBezTo>
                  <a:cubicBezTo>
                    <a:pt x="58556" y="104072"/>
                    <a:pt x="60206" y="103636"/>
                    <a:pt x="60206" y="103636"/>
                  </a:cubicBezTo>
                  <a:cubicBezTo>
                    <a:pt x="63092" y="103200"/>
                    <a:pt x="63092" y="103200"/>
                    <a:pt x="63092" y="103200"/>
                  </a:cubicBezTo>
                  <a:cubicBezTo>
                    <a:pt x="60618" y="103636"/>
                    <a:pt x="60618" y="103636"/>
                    <a:pt x="60618" y="103636"/>
                  </a:cubicBezTo>
                  <a:cubicBezTo>
                    <a:pt x="59793" y="104072"/>
                    <a:pt x="59793" y="104072"/>
                    <a:pt x="59793" y="104072"/>
                  </a:cubicBezTo>
                  <a:cubicBezTo>
                    <a:pt x="58144" y="104727"/>
                    <a:pt x="58144" y="104727"/>
                    <a:pt x="58144" y="104727"/>
                  </a:cubicBezTo>
                  <a:cubicBezTo>
                    <a:pt x="57319" y="105163"/>
                    <a:pt x="57319" y="105163"/>
                    <a:pt x="57319" y="105163"/>
                  </a:cubicBezTo>
                  <a:cubicBezTo>
                    <a:pt x="57319" y="105163"/>
                    <a:pt x="56494" y="105381"/>
                    <a:pt x="56082" y="105600"/>
                  </a:cubicBezTo>
                  <a:cubicBezTo>
                    <a:pt x="56082" y="105600"/>
                    <a:pt x="54845" y="106690"/>
                    <a:pt x="54845" y="106690"/>
                  </a:cubicBezTo>
                  <a:cubicBezTo>
                    <a:pt x="53608" y="106909"/>
                    <a:pt x="53608" y="106909"/>
                    <a:pt x="53608" y="106909"/>
                  </a:cubicBezTo>
                  <a:cubicBezTo>
                    <a:pt x="53608" y="106909"/>
                    <a:pt x="52371" y="107345"/>
                    <a:pt x="51958" y="107781"/>
                  </a:cubicBezTo>
                  <a:cubicBezTo>
                    <a:pt x="51546" y="108000"/>
                    <a:pt x="51134" y="108218"/>
                    <a:pt x="51134" y="108218"/>
                  </a:cubicBezTo>
                  <a:cubicBezTo>
                    <a:pt x="51134" y="108218"/>
                    <a:pt x="51546" y="108654"/>
                    <a:pt x="49484" y="108654"/>
                  </a:cubicBezTo>
                  <a:cubicBezTo>
                    <a:pt x="47422" y="108436"/>
                    <a:pt x="45773" y="108218"/>
                    <a:pt x="45773" y="108218"/>
                  </a:cubicBezTo>
                  <a:cubicBezTo>
                    <a:pt x="45773" y="108218"/>
                    <a:pt x="43711" y="108000"/>
                    <a:pt x="43298" y="108000"/>
                  </a:cubicBezTo>
                  <a:cubicBezTo>
                    <a:pt x="42886" y="107781"/>
                    <a:pt x="42886" y="107781"/>
                    <a:pt x="41649" y="107781"/>
                  </a:cubicBezTo>
                  <a:cubicBezTo>
                    <a:pt x="40824" y="107781"/>
                    <a:pt x="36701" y="107127"/>
                    <a:pt x="36701" y="107127"/>
                  </a:cubicBezTo>
                  <a:cubicBezTo>
                    <a:pt x="36701" y="107127"/>
                    <a:pt x="35876" y="107127"/>
                    <a:pt x="35463" y="107345"/>
                  </a:cubicBezTo>
                  <a:cubicBezTo>
                    <a:pt x="35051" y="107563"/>
                    <a:pt x="34226" y="107563"/>
                    <a:pt x="34226" y="107781"/>
                  </a:cubicBezTo>
                  <a:cubicBezTo>
                    <a:pt x="34226" y="108218"/>
                    <a:pt x="34226" y="108436"/>
                    <a:pt x="34226" y="108436"/>
                  </a:cubicBezTo>
                  <a:cubicBezTo>
                    <a:pt x="33814" y="109090"/>
                    <a:pt x="33814" y="109090"/>
                    <a:pt x="33814" y="109090"/>
                  </a:cubicBezTo>
                  <a:cubicBezTo>
                    <a:pt x="32164" y="109309"/>
                    <a:pt x="32164" y="109309"/>
                    <a:pt x="32164" y="109309"/>
                  </a:cubicBezTo>
                  <a:cubicBezTo>
                    <a:pt x="30103" y="109309"/>
                    <a:pt x="30103" y="109309"/>
                    <a:pt x="30103" y="109309"/>
                  </a:cubicBezTo>
                  <a:close/>
                  <a:moveTo>
                    <a:pt x="17731" y="58036"/>
                  </a:moveTo>
                  <a:cubicBezTo>
                    <a:pt x="17731" y="58036"/>
                    <a:pt x="17731" y="58036"/>
                    <a:pt x="17731" y="58036"/>
                  </a:cubicBezTo>
                  <a:cubicBezTo>
                    <a:pt x="18144" y="58036"/>
                    <a:pt x="20618" y="58036"/>
                    <a:pt x="20618" y="58036"/>
                  </a:cubicBezTo>
                  <a:cubicBezTo>
                    <a:pt x="22268" y="58036"/>
                    <a:pt x="22268" y="58036"/>
                    <a:pt x="22268" y="58036"/>
                  </a:cubicBezTo>
                  <a:cubicBezTo>
                    <a:pt x="22268" y="58036"/>
                    <a:pt x="24329" y="58036"/>
                    <a:pt x="24742" y="58036"/>
                  </a:cubicBezTo>
                  <a:cubicBezTo>
                    <a:pt x="25154" y="58036"/>
                    <a:pt x="25567" y="58254"/>
                    <a:pt x="25567" y="58254"/>
                  </a:cubicBezTo>
                  <a:cubicBezTo>
                    <a:pt x="25567" y="58254"/>
                    <a:pt x="26391" y="57818"/>
                    <a:pt x="26804" y="58036"/>
                  </a:cubicBezTo>
                  <a:cubicBezTo>
                    <a:pt x="27216" y="58036"/>
                    <a:pt x="28041" y="58690"/>
                    <a:pt x="28041" y="58690"/>
                  </a:cubicBezTo>
                  <a:cubicBezTo>
                    <a:pt x="28865" y="59781"/>
                    <a:pt x="28865" y="59781"/>
                    <a:pt x="28865" y="59781"/>
                  </a:cubicBezTo>
                  <a:cubicBezTo>
                    <a:pt x="29278" y="61090"/>
                    <a:pt x="29278" y="61090"/>
                    <a:pt x="29278" y="61090"/>
                  </a:cubicBezTo>
                  <a:cubicBezTo>
                    <a:pt x="29690" y="62181"/>
                    <a:pt x="29690" y="62181"/>
                    <a:pt x="29690" y="62181"/>
                  </a:cubicBezTo>
                  <a:cubicBezTo>
                    <a:pt x="31340" y="63272"/>
                    <a:pt x="31340" y="63272"/>
                    <a:pt x="31340" y="63272"/>
                  </a:cubicBezTo>
                  <a:cubicBezTo>
                    <a:pt x="30515" y="63927"/>
                    <a:pt x="30515" y="63927"/>
                    <a:pt x="30515" y="63927"/>
                  </a:cubicBezTo>
                  <a:cubicBezTo>
                    <a:pt x="30515" y="63927"/>
                    <a:pt x="30515" y="64800"/>
                    <a:pt x="30515" y="64800"/>
                  </a:cubicBezTo>
                  <a:cubicBezTo>
                    <a:pt x="30103" y="64800"/>
                    <a:pt x="28865" y="65018"/>
                    <a:pt x="28865" y="65018"/>
                  </a:cubicBezTo>
                  <a:cubicBezTo>
                    <a:pt x="28453" y="65236"/>
                    <a:pt x="28041" y="65890"/>
                    <a:pt x="28041" y="65890"/>
                  </a:cubicBezTo>
                  <a:cubicBezTo>
                    <a:pt x="28041" y="65890"/>
                    <a:pt x="29690" y="65018"/>
                    <a:pt x="30103" y="65236"/>
                  </a:cubicBezTo>
                  <a:cubicBezTo>
                    <a:pt x="30515" y="65236"/>
                    <a:pt x="31752" y="65236"/>
                    <a:pt x="31752" y="65236"/>
                  </a:cubicBezTo>
                  <a:cubicBezTo>
                    <a:pt x="32577" y="65672"/>
                    <a:pt x="32577" y="65672"/>
                    <a:pt x="32577" y="65672"/>
                  </a:cubicBezTo>
                  <a:cubicBezTo>
                    <a:pt x="33402" y="66545"/>
                    <a:pt x="33402" y="66545"/>
                    <a:pt x="33402" y="66545"/>
                  </a:cubicBezTo>
                  <a:cubicBezTo>
                    <a:pt x="33402" y="67636"/>
                    <a:pt x="33402" y="67636"/>
                    <a:pt x="33402" y="67636"/>
                  </a:cubicBezTo>
                  <a:cubicBezTo>
                    <a:pt x="33402" y="67636"/>
                    <a:pt x="33402" y="68509"/>
                    <a:pt x="32989" y="68509"/>
                  </a:cubicBezTo>
                  <a:cubicBezTo>
                    <a:pt x="32989" y="68727"/>
                    <a:pt x="32577" y="68945"/>
                    <a:pt x="32164" y="68945"/>
                  </a:cubicBezTo>
                  <a:cubicBezTo>
                    <a:pt x="31752" y="68945"/>
                    <a:pt x="31340" y="68945"/>
                    <a:pt x="31752" y="68509"/>
                  </a:cubicBezTo>
                  <a:cubicBezTo>
                    <a:pt x="31752" y="68072"/>
                    <a:pt x="32164" y="67636"/>
                    <a:pt x="32164" y="67636"/>
                  </a:cubicBezTo>
                  <a:cubicBezTo>
                    <a:pt x="32164" y="67418"/>
                    <a:pt x="32577" y="66545"/>
                    <a:pt x="32164" y="66545"/>
                  </a:cubicBezTo>
                  <a:cubicBezTo>
                    <a:pt x="31340" y="66545"/>
                    <a:pt x="30927" y="66109"/>
                    <a:pt x="30927" y="66545"/>
                  </a:cubicBezTo>
                  <a:cubicBezTo>
                    <a:pt x="30515" y="66763"/>
                    <a:pt x="30927" y="67636"/>
                    <a:pt x="30927" y="67636"/>
                  </a:cubicBezTo>
                  <a:cubicBezTo>
                    <a:pt x="30927" y="67636"/>
                    <a:pt x="31340" y="67854"/>
                    <a:pt x="31340" y="68072"/>
                  </a:cubicBezTo>
                  <a:cubicBezTo>
                    <a:pt x="30927" y="68290"/>
                    <a:pt x="30927" y="68072"/>
                    <a:pt x="30515" y="68509"/>
                  </a:cubicBezTo>
                  <a:cubicBezTo>
                    <a:pt x="29690" y="68727"/>
                    <a:pt x="30927" y="68945"/>
                    <a:pt x="30927" y="68945"/>
                  </a:cubicBezTo>
                  <a:cubicBezTo>
                    <a:pt x="31340" y="69381"/>
                    <a:pt x="31340" y="69381"/>
                    <a:pt x="31340" y="69381"/>
                  </a:cubicBezTo>
                  <a:cubicBezTo>
                    <a:pt x="31340" y="69381"/>
                    <a:pt x="31340" y="70036"/>
                    <a:pt x="30927" y="70036"/>
                  </a:cubicBezTo>
                  <a:cubicBezTo>
                    <a:pt x="30515" y="70254"/>
                    <a:pt x="30515" y="70472"/>
                    <a:pt x="28865" y="70036"/>
                  </a:cubicBezTo>
                  <a:cubicBezTo>
                    <a:pt x="27216" y="69818"/>
                    <a:pt x="26804" y="69600"/>
                    <a:pt x="26804" y="69600"/>
                  </a:cubicBezTo>
                  <a:cubicBezTo>
                    <a:pt x="26391" y="70690"/>
                    <a:pt x="26391" y="70690"/>
                    <a:pt x="26391" y="70690"/>
                  </a:cubicBezTo>
                  <a:cubicBezTo>
                    <a:pt x="25567" y="71563"/>
                    <a:pt x="25567" y="71563"/>
                    <a:pt x="25567" y="71563"/>
                  </a:cubicBezTo>
                  <a:cubicBezTo>
                    <a:pt x="22680" y="72000"/>
                    <a:pt x="22680" y="72000"/>
                    <a:pt x="22680" y="72000"/>
                  </a:cubicBezTo>
                  <a:cubicBezTo>
                    <a:pt x="21030" y="70909"/>
                    <a:pt x="21030" y="70909"/>
                    <a:pt x="21030" y="70909"/>
                  </a:cubicBezTo>
                  <a:cubicBezTo>
                    <a:pt x="21030" y="70909"/>
                    <a:pt x="19793" y="71127"/>
                    <a:pt x="19381" y="71127"/>
                  </a:cubicBezTo>
                  <a:cubicBezTo>
                    <a:pt x="18969" y="70909"/>
                    <a:pt x="16907" y="70690"/>
                    <a:pt x="16907" y="70690"/>
                  </a:cubicBezTo>
                  <a:cubicBezTo>
                    <a:pt x="16494" y="69600"/>
                    <a:pt x="16494" y="69600"/>
                    <a:pt x="16494" y="69600"/>
                  </a:cubicBezTo>
                  <a:cubicBezTo>
                    <a:pt x="14432" y="68509"/>
                    <a:pt x="14432" y="68509"/>
                    <a:pt x="14432" y="68509"/>
                  </a:cubicBezTo>
                  <a:cubicBezTo>
                    <a:pt x="14845" y="67636"/>
                    <a:pt x="14845" y="67636"/>
                    <a:pt x="14845" y="67636"/>
                  </a:cubicBezTo>
                  <a:cubicBezTo>
                    <a:pt x="13608" y="66327"/>
                    <a:pt x="13608" y="66327"/>
                    <a:pt x="13608" y="66327"/>
                  </a:cubicBezTo>
                  <a:cubicBezTo>
                    <a:pt x="11134" y="66545"/>
                    <a:pt x="11134" y="66545"/>
                    <a:pt x="11134" y="66545"/>
                  </a:cubicBezTo>
                  <a:cubicBezTo>
                    <a:pt x="10309" y="67636"/>
                    <a:pt x="10309" y="67636"/>
                    <a:pt x="10309" y="67636"/>
                  </a:cubicBezTo>
                  <a:cubicBezTo>
                    <a:pt x="10309" y="67636"/>
                    <a:pt x="11134" y="68072"/>
                    <a:pt x="10309" y="68290"/>
                  </a:cubicBezTo>
                  <a:cubicBezTo>
                    <a:pt x="9484" y="68290"/>
                    <a:pt x="7835" y="68509"/>
                    <a:pt x="7835" y="68509"/>
                  </a:cubicBezTo>
                  <a:cubicBezTo>
                    <a:pt x="7835" y="68509"/>
                    <a:pt x="5773" y="68727"/>
                    <a:pt x="5360" y="68727"/>
                  </a:cubicBezTo>
                  <a:cubicBezTo>
                    <a:pt x="5360" y="68727"/>
                    <a:pt x="3711" y="67418"/>
                    <a:pt x="3711" y="67418"/>
                  </a:cubicBezTo>
                  <a:cubicBezTo>
                    <a:pt x="3711" y="67418"/>
                    <a:pt x="2886" y="67418"/>
                    <a:pt x="2474" y="67418"/>
                  </a:cubicBezTo>
                  <a:cubicBezTo>
                    <a:pt x="2061" y="67418"/>
                    <a:pt x="2061" y="67636"/>
                    <a:pt x="2061" y="67200"/>
                  </a:cubicBezTo>
                  <a:cubicBezTo>
                    <a:pt x="2061" y="66763"/>
                    <a:pt x="1649" y="66109"/>
                    <a:pt x="1649" y="66109"/>
                  </a:cubicBezTo>
                  <a:cubicBezTo>
                    <a:pt x="1649" y="66109"/>
                    <a:pt x="2886" y="66763"/>
                    <a:pt x="1649" y="65890"/>
                  </a:cubicBezTo>
                  <a:cubicBezTo>
                    <a:pt x="412" y="65018"/>
                    <a:pt x="0" y="64145"/>
                    <a:pt x="0" y="64145"/>
                  </a:cubicBezTo>
                  <a:cubicBezTo>
                    <a:pt x="2061" y="63490"/>
                    <a:pt x="2061" y="63490"/>
                    <a:pt x="2061" y="63490"/>
                  </a:cubicBezTo>
                  <a:cubicBezTo>
                    <a:pt x="2061" y="63490"/>
                    <a:pt x="4123" y="63490"/>
                    <a:pt x="4536" y="63709"/>
                  </a:cubicBezTo>
                  <a:cubicBezTo>
                    <a:pt x="4948" y="63709"/>
                    <a:pt x="5360" y="63272"/>
                    <a:pt x="5360" y="63272"/>
                  </a:cubicBezTo>
                  <a:cubicBezTo>
                    <a:pt x="5360" y="63272"/>
                    <a:pt x="6185" y="62836"/>
                    <a:pt x="5360" y="62618"/>
                  </a:cubicBezTo>
                  <a:cubicBezTo>
                    <a:pt x="4948" y="62618"/>
                    <a:pt x="4123" y="62181"/>
                    <a:pt x="4123" y="62181"/>
                  </a:cubicBezTo>
                  <a:cubicBezTo>
                    <a:pt x="4123" y="62181"/>
                    <a:pt x="3298" y="61745"/>
                    <a:pt x="4536" y="61527"/>
                  </a:cubicBezTo>
                  <a:cubicBezTo>
                    <a:pt x="5773" y="61527"/>
                    <a:pt x="5773" y="61527"/>
                    <a:pt x="6597" y="61527"/>
                  </a:cubicBezTo>
                  <a:cubicBezTo>
                    <a:pt x="7422" y="61745"/>
                    <a:pt x="7835" y="62400"/>
                    <a:pt x="8247" y="61527"/>
                  </a:cubicBezTo>
                  <a:cubicBezTo>
                    <a:pt x="8659" y="60872"/>
                    <a:pt x="7835" y="60872"/>
                    <a:pt x="9072" y="60654"/>
                  </a:cubicBezTo>
                  <a:cubicBezTo>
                    <a:pt x="10309" y="60654"/>
                    <a:pt x="11134" y="60436"/>
                    <a:pt x="11134" y="60218"/>
                  </a:cubicBezTo>
                  <a:cubicBezTo>
                    <a:pt x="11134" y="60000"/>
                    <a:pt x="11134" y="59127"/>
                    <a:pt x="11546" y="59127"/>
                  </a:cubicBezTo>
                  <a:cubicBezTo>
                    <a:pt x="11958" y="59127"/>
                    <a:pt x="14020" y="59345"/>
                    <a:pt x="14020" y="59345"/>
                  </a:cubicBezTo>
                  <a:cubicBezTo>
                    <a:pt x="14020" y="59345"/>
                    <a:pt x="14845" y="58909"/>
                    <a:pt x="15670" y="59127"/>
                  </a:cubicBezTo>
                  <a:cubicBezTo>
                    <a:pt x="16494" y="59127"/>
                    <a:pt x="16907" y="58909"/>
                    <a:pt x="16907" y="58909"/>
                  </a:cubicBezTo>
                  <a:cubicBezTo>
                    <a:pt x="16907" y="58909"/>
                    <a:pt x="17731" y="58036"/>
                    <a:pt x="17731" y="58036"/>
                  </a:cubicBezTo>
                  <a:close/>
                  <a:moveTo>
                    <a:pt x="30515" y="49527"/>
                  </a:moveTo>
                  <a:cubicBezTo>
                    <a:pt x="30515" y="49527"/>
                    <a:pt x="30515" y="49527"/>
                    <a:pt x="30515" y="49527"/>
                  </a:cubicBezTo>
                  <a:cubicBezTo>
                    <a:pt x="30515" y="49527"/>
                    <a:pt x="30103" y="48872"/>
                    <a:pt x="30515" y="48872"/>
                  </a:cubicBezTo>
                  <a:cubicBezTo>
                    <a:pt x="30927" y="48872"/>
                    <a:pt x="32164" y="48654"/>
                    <a:pt x="32164" y="48654"/>
                  </a:cubicBezTo>
                  <a:cubicBezTo>
                    <a:pt x="32164" y="48654"/>
                    <a:pt x="32577" y="48218"/>
                    <a:pt x="32577" y="48436"/>
                  </a:cubicBezTo>
                  <a:cubicBezTo>
                    <a:pt x="32989" y="48436"/>
                    <a:pt x="32989" y="48872"/>
                    <a:pt x="32577" y="48872"/>
                  </a:cubicBezTo>
                  <a:cubicBezTo>
                    <a:pt x="32577" y="48872"/>
                    <a:pt x="31752" y="49309"/>
                    <a:pt x="31752" y="49309"/>
                  </a:cubicBezTo>
                  <a:cubicBezTo>
                    <a:pt x="31752" y="49309"/>
                    <a:pt x="30927" y="49527"/>
                    <a:pt x="30927" y="49527"/>
                  </a:cubicBezTo>
                  <a:cubicBezTo>
                    <a:pt x="30515" y="49527"/>
                    <a:pt x="30515" y="49527"/>
                    <a:pt x="30515" y="49527"/>
                  </a:cubicBezTo>
                  <a:close/>
                  <a:moveTo>
                    <a:pt x="35876" y="54109"/>
                  </a:moveTo>
                  <a:cubicBezTo>
                    <a:pt x="35876" y="54109"/>
                    <a:pt x="35876" y="54109"/>
                    <a:pt x="35876" y="54109"/>
                  </a:cubicBezTo>
                  <a:cubicBezTo>
                    <a:pt x="35876" y="54109"/>
                    <a:pt x="35876" y="54327"/>
                    <a:pt x="35463" y="54327"/>
                  </a:cubicBezTo>
                  <a:cubicBezTo>
                    <a:pt x="35051" y="54327"/>
                    <a:pt x="34226" y="54327"/>
                    <a:pt x="34226" y="54109"/>
                  </a:cubicBezTo>
                  <a:cubicBezTo>
                    <a:pt x="34226" y="54109"/>
                    <a:pt x="34639" y="53672"/>
                    <a:pt x="35051" y="53672"/>
                  </a:cubicBezTo>
                  <a:cubicBezTo>
                    <a:pt x="35051" y="53672"/>
                    <a:pt x="35463" y="53454"/>
                    <a:pt x="35463" y="53454"/>
                  </a:cubicBezTo>
                  <a:cubicBezTo>
                    <a:pt x="35463" y="53454"/>
                    <a:pt x="35463" y="53236"/>
                    <a:pt x="35463" y="53236"/>
                  </a:cubicBezTo>
                  <a:cubicBezTo>
                    <a:pt x="35876" y="53236"/>
                    <a:pt x="36288" y="53672"/>
                    <a:pt x="36288" y="53672"/>
                  </a:cubicBezTo>
                  <a:cubicBezTo>
                    <a:pt x="35876" y="54109"/>
                    <a:pt x="35876" y="54109"/>
                    <a:pt x="35876" y="54109"/>
                  </a:cubicBezTo>
                  <a:close/>
                  <a:moveTo>
                    <a:pt x="39175" y="55636"/>
                  </a:moveTo>
                  <a:cubicBezTo>
                    <a:pt x="39175" y="55636"/>
                    <a:pt x="39175" y="55636"/>
                    <a:pt x="39175" y="55636"/>
                  </a:cubicBezTo>
                  <a:cubicBezTo>
                    <a:pt x="39175" y="55418"/>
                    <a:pt x="40000" y="54981"/>
                    <a:pt x="40000" y="54763"/>
                  </a:cubicBezTo>
                  <a:cubicBezTo>
                    <a:pt x="40412" y="54763"/>
                    <a:pt x="40412" y="54545"/>
                    <a:pt x="40412" y="54545"/>
                  </a:cubicBezTo>
                  <a:cubicBezTo>
                    <a:pt x="40824" y="54327"/>
                    <a:pt x="41237" y="54327"/>
                    <a:pt x="41649" y="54327"/>
                  </a:cubicBezTo>
                  <a:cubicBezTo>
                    <a:pt x="42474" y="54545"/>
                    <a:pt x="43298" y="54981"/>
                    <a:pt x="42886" y="54981"/>
                  </a:cubicBezTo>
                  <a:cubicBezTo>
                    <a:pt x="42886" y="55200"/>
                    <a:pt x="42474" y="54981"/>
                    <a:pt x="42474" y="55636"/>
                  </a:cubicBezTo>
                  <a:cubicBezTo>
                    <a:pt x="42474" y="56290"/>
                    <a:pt x="42474" y="56290"/>
                    <a:pt x="42474" y="56509"/>
                  </a:cubicBezTo>
                  <a:cubicBezTo>
                    <a:pt x="42886" y="56727"/>
                    <a:pt x="42474" y="57381"/>
                    <a:pt x="42474" y="57381"/>
                  </a:cubicBezTo>
                  <a:cubicBezTo>
                    <a:pt x="42474" y="57381"/>
                    <a:pt x="42061" y="57818"/>
                    <a:pt x="41649" y="57818"/>
                  </a:cubicBezTo>
                  <a:cubicBezTo>
                    <a:pt x="41649" y="57818"/>
                    <a:pt x="41649" y="57818"/>
                    <a:pt x="40824" y="57600"/>
                  </a:cubicBezTo>
                  <a:cubicBezTo>
                    <a:pt x="40412" y="57600"/>
                    <a:pt x="39175" y="57163"/>
                    <a:pt x="39175" y="57163"/>
                  </a:cubicBezTo>
                  <a:cubicBezTo>
                    <a:pt x="39175" y="57163"/>
                    <a:pt x="39175" y="56072"/>
                    <a:pt x="39175" y="56072"/>
                  </a:cubicBezTo>
                  <a:cubicBezTo>
                    <a:pt x="39175" y="55854"/>
                    <a:pt x="38762" y="55636"/>
                    <a:pt x="38762" y="55636"/>
                  </a:cubicBezTo>
                  <a:cubicBezTo>
                    <a:pt x="39175" y="55636"/>
                    <a:pt x="39175" y="55636"/>
                    <a:pt x="39175" y="55636"/>
                  </a:cubicBezTo>
                  <a:close/>
                  <a:moveTo>
                    <a:pt x="30515" y="45818"/>
                  </a:moveTo>
                  <a:cubicBezTo>
                    <a:pt x="30515" y="45818"/>
                    <a:pt x="30515" y="45818"/>
                    <a:pt x="30515" y="45818"/>
                  </a:cubicBezTo>
                  <a:cubicBezTo>
                    <a:pt x="30515" y="45818"/>
                    <a:pt x="30515" y="45600"/>
                    <a:pt x="31340" y="45600"/>
                  </a:cubicBezTo>
                  <a:cubicBezTo>
                    <a:pt x="31752" y="45818"/>
                    <a:pt x="31752" y="46036"/>
                    <a:pt x="31752" y="46254"/>
                  </a:cubicBezTo>
                  <a:cubicBezTo>
                    <a:pt x="31752" y="46472"/>
                    <a:pt x="32989" y="46472"/>
                    <a:pt x="32577" y="46690"/>
                  </a:cubicBezTo>
                  <a:cubicBezTo>
                    <a:pt x="31752" y="46909"/>
                    <a:pt x="31340" y="46909"/>
                    <a:pt x="31340" y="46909"/>
                  </a:cubicBezTo>
                  <a:cubicBezTo>
                    <a:pt x="31340" y="46690"/>
                    <a:pt x="30927" y="46909"/>
                    <a:pt x="30927" y="46690"/>
                  </a:cubicBezTo>
                  <a:cubicBezTo>
                    <a:pt x="30927" y="46472"/>
                    <a:pt x="30103" y="46254"/>
                    <a:pt x="30103" y="46254"/>
                  </a:cubicBezTo>
                  <a:cubicBezTo>
                    <a:pt x="30103" y="46254"/>
                    <a:pt x="30515" y="45818"/>
                    <a:pt x="30515" y="45818"/>
                  </a:cubicBezTo>
                  <a:close/>
                  <a:moveTo>
                    <a:pt x="25154" y="42763"/>
                  </a:moveTo>
                  <a:cubicBezTo>
                    <a:pt x="25154" y="42763"/>
                    <a:pt x="25154" y="42763"/>
                    <a:pt x="25154" y="42763"/>
                  </a:cubicBezTo>
                  <a:cubicBezTo>
                    <a:pt x="25979" y="42981"/>
                    <a:pt x="26391" y="42763"/>
                    <a:pt x="26391" y="42981"/>
                  </a:cubicBezTo>
                  <a:cubicBezTo>
                    <a:pt x="26804" y="42981"/>
                    <a:pt x="27216" y="43200"/>
                    <a:pt x="26804" y="43418"/>
                  </a:cubicBezTo>
                  <a:cubicBezTo>
                    <a:pt x="25979" y="43636"/>
                    <a:pt x="25979" y="43636"/>
                    <a:pt x="25154" y="43636"/>
                  </a:cubicBezTo>
                  <a:cubicBezTo>
                    <a:pt x="24742" y="43636"/>
                    <a:pt x="25567" y="43636"/>
                    <a:pt x="24742" y="43636"/>
                  </a:cubicBezTo>
                  <a:cubicBezTo>
                    <a:pt x="23917" y="43636"/>
                    <a:pt x="22680" y="44072"/>
                    <a:pt x="23505" y="43418"/>
                  </a:cubicBezTo>
                  <a:cubicBezTo>
                    <a:pt x="24329" y="42981"/>
                    <a:pt x="25154" y="42763"/>
                    <a:pt x="25154" y="42763"/>
                  </a:cubicBezTo>
                  <a:close/>
                  <a:moveTo>
                    <a:pt x="29690" y="41672"/>
                  </a:moveTo>
                  <a:cubicBezTo>
                    <a:pt x="29690" y="41672"/>
                    <a:pt x="29690" y="41672"/>
                    <a:pt x="29690" y="41672"/>
                  </a:cubicBezTo>
                  <a:cubicBezTo>
                    <a:pt x="30103" y="41672"/>
                    <a:pt x="30515" y="41236"/>
                    <a:pt x="30927" y="41454"/>
                  </a:cubicBezTo>
                  <a:cubicBezTo>
                    <a:pt x="31340" y="41672"/>
                    <a:pt x="32164" y="41890"/>
                    <a:pt x="31340" y="42109"/>
                  </a:cubicBezTo>
                  <a:cubicBezTo>
                    <a:pt x="30515" y="42327"/>
                    <a:pt x="30515" y="42327"/>
                    <a:pt x="30103" y="42545"/>
                  </a:cubicBezTo>
                  <a:cubicBezTo>
                    <a:pt x="29278" y="42763"/>
                    <a:pt x="28453" y="42981"/>
                    <a:pt x="28041" y="42981"/>
                  </a:cubicBezTo>
                  <a:cubicBezTo>
                    <a:pt x="27628" y="42981"/>
                    <a:pt x="27216" y="42545"/>
                    <a:pt x="27628" y="42545"/>
                  </a:cubicBezTo>
                  <a:cubicBezTo>
                    <a:pt x="28041" y="42545"/>
                    <a:pt x="28453" y="42327"/>
                    <a:pt x="28865" y="42327"/>
                  </a:cubicBezTo>
                  <a:cubicBezTo>
                    <a:pt x="28865" y="42109"/>
                    <a:pt x="29690" y="41672"/>
                    <a:pt x="29690" y="41672"/>
                  </a:cubicBezTo>
                  <a:close/>
                  <a:moveTo>
                    <a:pt x="32164" y="37309"/>
                  </a:moveTo>
                  <a:cubicBezTo>
                    <a:pt x="32164" y="37309"/>
                    <a:pt x="32164" y="37309"/>
                    <a:pt x="32164" y="37309"/>
                  </a:cubicBezTo>
                  <a:cubicBezTo>
                    <a:pt x="32164" y="37309"/>
                    <a:pt x="32164" y="36654"/>
                    <a:pt x="32577" y="36872"/>
                  </a:cubicBezTo>
                  <a:cubicBezTo>
                    <a:pt x="33402" y="36872"/>
                    <a:pt x="33402" y="36872"/>
                    <a:pt x="33402" y="37090"/>
                  </a:cubicBezTo>
                  <a:cubicBezTo>
                    <a:pt x="33402" y="37309"/>
                    <a:pt x="34226" y="37090"/>
                    <a:pt x="33402" y="37309"/>
                  </a:cubicBezTo>
                  <a:cubicBezTo>
                    <a:pt x="32989" y="37309"/>
                    <a:pt x="32164" y="37309"/>
                    <a:pt x="32164" y="37309"/>
                  </a:cubicBezTo>
                  <a:close/>
                  <a:moveTo>
                    <a:pt x="35876" y="39490"/>
                  </a:moveTo>
                  <a:cubicBezTo>
                    <a:pt x="35876" y="39490"/>
                    <a:pt x="35876" y="39490"/>
                    <a:pt x="35876" y="39490"/>
                  </a:cubicBezTo>
                  <a:cubicBezTo>
                    <a:pt x="35876" y="39490"/>
                    <a:pt x="36288" y="39054"/>
                    <a:pt x="36701" y="39054"/>
                  </a:cubicBezTo>
                  <a:cubicBezTo>
                    <a:pt x="36701" y="39054"/>
                    <a:pt x="37113" y="39054"/>
                    <a:pt x="37113" y="39272"/>
                  </a:cubicBezTo>
                  <a:cubicBezTo>
                    <a:pt x="37113" y="39490"/>
                    <a:pt x="37113" y="39927"/>
                    <a:pt x="36701" y="39927"/>
                  </a:cubicBezTo>
                  <a:cubicBezTo>
                    <a:pt x="36288" y="39927"/>
                    <a:pt x="36288" y="40145"/>
                    <a:pt x="35876" y="39927"/>
                  </a:cubicBezTo>
                  <a:cubicBezTo>
                    <a:pt x="35463" y="39927"/>
                    <a:pt x="35876" y="39490"/>
                    <a:pt x="35876" y="39490"/>
                  </a:cubicBezTo>
                  <a:close/>
                  <a:moveTo>
                    <a:pt x="33814" y="38618"/>
                  </a:moveTo>
                  <a:cubicBezTo>
                    <a:pt x="33814" y="38618"/>
                    <a:pt x="33814" y="38618"/>
                    <a:pt x="33814" y="38618"/>
                  </a:cubicBezTo>
                  <a:cubicBezTo>
                    <a:pt x="33814" y="38618"/>
                    <a:pt x="33402" y="37745"/>
                    <a:pt x="34226" y="37745"/>
                  </a:cubicBezTo>
                  <a:cubicBezTo>
                    <a:pt x="35051" y="37527"/>
                    <a:pt x="35463" y="37527"/>
                    <a:pt x="35463" y="37527"/>
                  </a:cubicBezTo>
                  <a:cubicBezTo>
                    <a:pt x="35463" y="37527"/>
                    <a:pt x="36701" y="38400"/>
                    <a:pt x="36701" y="38400"/>
                  </a:cubicBezTo>
                  <a:cubicBezTo>
                    <a:pt x="36288" y="38618"/>
                    <a:pt x="36288" y="38836"/>
                    <a:pt x="35463" y="38836"/>
                  </a:cubicBezTo>
                  <a:cubicBezTo>
                    <a:pt x="35051" y="38836"/>
                    <a:pt x="34639" y="39054"/>
                    <a:pt x="34639" y="38836"/>
                  </a:cubicBezTo>
                  <a:cubicBezTo>
                    <a:pt x="34226" y="38618"/>
                    <a:pt x="33814" y="38618"/>
                    <a:pt x="33814" y="38618"/>
                  </a:cubicBezTo>
                  <a:close/>
                  <a:moveTo>
                    <a:pt x="18556" y="37963"/>
                  </a:moveTo>
                  <a:cubicBezTo>
                    <a:pt x="18556" y="37963"/>
                    <a:pt x="18556" y="37963"/>
                    <a:pt x="18556" y="37963"/>
                  </a:cubicBezTo>
                  <a:cubicBezTo>
                    <a:pt x="18969" y="37963"/>
                    <a:pt x="18969" y="37745"/>
                    <a:pt x="18969" y="38181"/>
                  </a:cubicBezTo>
                  <a:cubicBezTo>
                    <a:pt x="18969" y="38400"/>
                    <a:pt x="18969" y="38618"/>
                    <a:pt x="18969" y="38618"/>
                  </a:cubicBezTo>
                  <a:cubicBezTo>
                    <a:pt x="18969" y="38618"/>
                    <a:pt x="18556" y="39054"/>
                    <a:pt x="18144" y="38836"/>
                  </a:cubicBezTo>
                  <a:cubicBezTo>
                    <a:pt x="17731" y="38618"/>
                    <a:pt x="17731" y="38400"/>
                    <a:pt x="17731" y="38400"/>
                  </a:cubicBezTo>
                  <a:cubicBezTo>
                    <a:pt x="18556" y="37963"/>
                    <a:pt x="18556" y="37963"/>
                    <a:pt x="18556" y="37963"/>
                  </a:cubicBezTo>
                  <a:close/>
                  <a:moveTo>
                    <a:pt x="21855" y="35781"/>
                  </a:moveTo>
                  <a:cubicBezTo>
                    <a:pt x="21855" y="35781"/>
                    <a:pt x="21855" y="35781"/>
                    <a:pt x="21855" y="35781"/>
                  </a:cubicBezTo>
                  <a:cubicBezTo>
                    <a:pt x="22268" y="36000"/>
                    <a:pt x="23092" y="36436"/>
                    <a:pt x="23092" y="36436"/>
                  </a:cubicBezTo>
                  <a:cubicBezTo>
                    <a:pt x="21855" y="37090"/>
                    <a:pt x="21855" y="37090"/>
                    <a:pt x="21855" y="37090"/>
                  </a:cubicBezTo>
                  <a:cubicBezTo>
                    <a:pt x="21855" y="37090"/>
                    <a:pt x="20618" y="37309"/>
                    <a:pt x="20618" y="37527"/>
                  </a:cubicBezTo>
                  <a:cubicBezTo>
                    <a:pt x="20206" y="37527"/>
                    <a:pt x="21030" y="38181"/>
                    <a:pt x="20206" y="37963"/>
                  </a:cubicBezTo>
                  <a:cubicBezTo>
                    <a:pt x="19381" y="37745"/>
                    <a:pt x="18969" y="37309"/>
                    <a:pt x="19381" y="37309"/>
                  </a:cubicBezTo>
                  <a:cubicBezTo>
                    <a:pt x="19793" y="37090"/>
                    <a:pt x="19793" y="37090"/>
                    <a:pt x="20206" y="36872"/>
                  </a:cubicBezTo>
                  <a:cubicBezTo>
                    <a:pt x="20618" y="36654"/>
                    <a:pt x="21443" y="36000"/>
                    <a:pt x="21443" y="36000"/>
                  </a:cubicBezTo>
                  <a:cubicBezTo>
                    <a:pt x="21855" y="35781"/>
                    <a:pt x="21855" y="35781"/>
                    <a:pt x="21855" y="35781"/>
                  </a:cubicBezTo>
                  <a:close/>
                  <a:moveTo>
                    <a:pt x="23917" y="32727"/>
                  </a:moveTo>
                  <a:cubicBezTo>
                    <a:pt x="23917" y="32727"/>
                    <a:pt x="23917" y="32727"/>
                    <a:pt x="23917" y="32727"/>
                  </a:cubicBezTo>
                  <a:cubicBezTo>
                    <a:pt x="23917" y="32727"/>
                    <a:pt x="24742" y="32727"/>
                    <a:pt x="25154" y="32945"/>
                  </a:cubicBezTo>
                  <a:cubicBezTo>
                    <a:pt x="25154" y="32945"/>
                    <a:pt x="25567" y="33600"/>
                    <a:pt x="25567" y="33600"/>
                  </a:cubicBezTo>
                  <a:cubicBezTo>
                    <a:pt x="25567" y="33600"/>
                    <a:pt x="25979" y="33818"/>
                    <a:pt x="25567" y="34036"/>
                  </a:cubicBezTo>
                  <a:cubicBezTo>
                    <a:pt x="25154" y="34254"/>
                    <a:pt x="24329" y="34472"/>
                    <a:pt x="24329" y="34472"/>
                  </a:cubicBezTo>
                  <a:cubicBezTo>
                    <a:pt x="24329" y="35563"/>
                    <a:pt x="24329" y="35563"/>
                    <a:pt x="24329" y="35563"/>
                  </a:cubicBezTo>
                  <a:cubicBezTo>
                    <a:pt x="23917" y="36000"/>
                    <a:pt x="23917" y="36000"/>
                    <a:pt x="23917" y="36000"/>
                  </a:cubicBezTo>
                  <a:cubicBezTo>
                    <a:pt x="22680" y="35781"/>
                    <a:pt x="22680" y="35781"/>
                    <a:pt x="22680" y="35781"/>
                  </a:cubicBezTo>
                  <a:cubicBezTo>
                    <a:pt x="22680" y="34472"/>
                    <a:pt x="22680" y="34472"/>
                    <a:pt x="22680" y="34472"/>
                  </a:cubicBezTo>
                  <a:cubicBezTo>
                    <a:pt x="22268" y="33818"/>
                    <a:pt x="22268" y="33818"/>
                    <a:pt x="22268" y="33818"/>
                  </a:cubicBezTo>
                  <a:cubicBezTo>
                    <a:pt x="23505" y="33163"/>
                    <a:pt x="23505" y="33163"/>
                    <a:pt x="23505" y="33163"/>
                  </a:cubicBezTo>
                  <a:cubicBezTo>
                    <a:pt x="23917" y="32727"/>
                    <a:pt x="23917" y="32727"/>
                    <a:pt x="23917" y="32727"/>
                  </a:cubicBezTo>
                  <a:close/>
                  <a:moveTo>
                    <a:pt x="24742" y="30981"/>
                  </a:moveTo>
                  <a:cubicBezTo>
                    <a:pt x="24742" y="30981"/>
                    <a:pt x="24742" y="30981"/>
                    <a:pt x="24742" y="30981"/>
                  </a:cubicBezTo>
                  <a:cubicBezTo>
                    <a:pt x="24742" y="30981"/>
                    <a:pt x="25567" y="30763"/>
                    <a:pt x="25979" y="30981"/>
                  </a:cubicBezTo>
                  <a:cubicBezTo>
                    <a:pt x="26391" y="31200"/>
                    <a:pt x="26391" y="30763"/>
                    <a:pt x="26804" y="31200"/>
                  </a:cubicBezTo>
                  <a:cubicBezTo>
                    <a:pt x="27216" y="31636"/>
                    <a:pt x="27628" y="31636"/>
                    <a:pt x="27216" y="31854"/>
                  </a:cubicBezTo>
                  <a:cubicBezTo>
                    <a:pt x="27216" y="32072"/>
                    <a:pt x="27216" y="32290"/>
                    <a:pt x="26804" y="32509"/>
                  </a:cubicBezTo>
                  <a:cubicBezTo>
                    <a:pt x="26391" y="32727"/>
                    <a:pt x="26804" y="32945"/>
                    <a:pt x="25979" y="32727"/>
                  </a:cubicBezTo>
                  <a:cubicBezTo>
                    <a:pt x="25154" y="32509"/>
                    <a:pt x="25154" y="32509"/>
                    <a:pt x="24742" y="32290"/>
                  </a:cubicBezTo>
                  <a:cubicBezTo>
                    <a:pt x="24329" y="32072"/>
                    <a:pt x="24329" y="32072"/>
                    <a:pt x="24329" y="32072"/>
                  </a:cubicBezTo>
                  <a:cubicBezTo>
                    <a:pt x="24742" y="30981"/>
                    <a:pt x="24742" y="30981"/>
                    <a:pt x="24742" y="30981"/>
                  </a:cubicBezTo>
                  <a:close/>
                  <a:moveTo>
                    <a:pt x="28453" y="28800"/>
                  </a:moveTo>
                  <a:cubicBezTo>
                    <a:pt x="28453" y="28800"/>
                    <a:pt x="28453" y="28800"/>
                    <a:pt x="28453" y="28800"/>
                  </a:cubicBezTo>
                  <a:cubicBezTo>
                    <a:pt x="28453" y="28800"/>
                    <a:pt x="28865" y="28581"/>
                    <a:pt x="28453" y="29018"/>
                  </a:cubicBezTo>
                  <a:cubicBezTo>
                    <a:pt x="27628" y="29672"/>
                    <a:pt x="27628" y="29890"/>
                    <a:pt x="28041" y="29890"/>
                  </a:cubicBezTo>
                  <a:cubicBezTo>
                    <a:pt x="28041" y="29890"/>
                    <a:pt x="28453" y="29890"/>
                    <a:pt x="28453" y="29890"/>
                  </a:cubicBezTo>
                  <a:cubicBezTo>
                    <a:pt x="28453" y="30763"/>
                    <a:pt x="28453" y="30763"/>
                    <a:pt x="28453" y="30763"/>
                  </a:cubicBezTo>
                  <a:cubicBezTo>
                    <a:pt x="28453" y="30763"/>
                    <a:pt x="28453" y="30981"/>
                    <a:pt x="27216" y="30763"/>
                  </a:cubicBezTo>
                  <a:cubicBezTo>
                    <a:pt x="25979" y="30763"/>
                    <a:pt x="25154" y="30545"/>
                    <a:pt x="25154" y="30545"/>
                  </a:cubicBezTo>
                  <a:cubicBezTo>
                    <a:pt x="23917" y="29890"/>
                    <a:pt x="23917" y="29890"/>
                    <a:pt x="23917" y="29890"/>
                  </a:cubicBezTo>
                  <a:cubicBezTo>
                    <a:pt x="23917" y="29890"/>
                    <a:pt x="23505" y="29672"/>
                    <a:pt x="24329" y="29236"/>
                  </a:cubicBezTo>
                  <a:cubicBezTo>
                    <a:pt x="24742" y="28800"/>
                    <a:pt x="25979" y="29018"/>
                    <a:pt x="25979" y="29018"/>
                  </a:cubicBezTo>
                  <a:cubicBezTo>
                    <a:pt x="25979" y="29018"/>
                    <a:pt x="26391" y="29454"/>
                    <a:pt x="26804" y="29018"/>
                  </a:cubicBezTo>
                  <a:cubicBezTo>
                    <a:pt x="27216" y="28581"/>
                    <a:pt x="27216" y="28145"/>
                    <a:pt x="27628" y="28363"/>
                  </a:cubicBezTo>
                  <a:cubicBezTo>
                    <a:pt x="28041" y="28581"/>
                    <a:pt x="28453" y="28800"/>
                    <a:pt x="28453" y="28800"/>
                  </a:cubicBezTo>
                  <a:close/>
                  <a:moveTo>
                    <a:pt x="31752" y="26400"/>
                  </a:moveTo>
                  <a:cubicBezTo>
                    <a:pt x="31752" y="26400"/>
                    <a:pt x="31752" y="26400"/>
                    <a:pt x="31752" y="26400"/>
                  </a:cubicBezTo>
                  <a:cubicBezTo>
                    <a:pt x="31340" y="26181"/>
                    <a:pt x="31340" y="25745"/>
                    <a:pt x="31340" y="25745"/>
                  </a:cubicBezTo>
                  <a:cubicBezTo>
                    <a:pt x="31752" y="25309"/>
                    <a:pt x="31752" y="25309"/>
                    <a:pt x="31752" y="25309"/>
                  </a:cubicBezTo>
                  <a:cubicBezTo>
                    <a:pt x="31752" y="25309"/>
                    <a:pt x="30927" y="24872"/>
                    <a:pt x="30927" y="24654"/>
                  </a:cubicBezTo>
                  <a:cubicBezTo>
                    <a:pt x="30927" y="24436"/>
                    <a:pt x="30927" y="24000"/>
                    <a:pt x="31752" y="23781"/>
                  </a:cubicBezTo>
                  <a:cubicBezTo>
                    <a:pt x="32164" y="23563"/>
                    <a:pt x="32577" y="23127"/>
                    <a:pt x="32989" y="23127"/>
                  </a:cubicBezTo>
                  <a:cubicBezTo>
                    <a:pt x="32989" y="23345"/>
                    <a:pt x="32989" y="23345"/>
                    <a:pt x="33402" y="23781"/>
                  </a:cubicBezTo>
                  <a:cubicBezTo>
                    <a:pt x="33814" y="24000"/>
                    <a:pt x="33814" y="24436"/>
                    <a:pt x="34226" y="24218"/>
                  </a:cubicBezTo>
                  <a:cubicBezTo>
                    <a:pt x="34639" y="24000"/>
                    <a:pt x="34639" y="23781"/>
                    <a:pt x="35051" y="23563"/>
                  </a:cubicBezTo>
                  <a:cubicBezTo>
                    <a:pt x="35463" y="23345"/>
                    <a:pt x="35876" y="22690"/>
                    <a:pt x="35876" y="22690"/>
                  </a:cubicBezTo>
                  <a:cubicBezTo>
                    <a:pt x="35876" y="22690"/>
                    <a:pt x="36701" y="22909"/>
                    <a:pt x="37113" y="22690"/>
                  </a:cubicBezTo>
                  <a:cubicBezTo>
                    <a:pt x="37938" y="22472"/>
                    <a:pt x="37113" y="22472"/>
                    <a:pt x="38350" y="22254"/>
                  </a:cubicBezTo>
                  <a:cubicBezTo>
                    <a:pt x="39587" y="22254"/>
                    <a:pt x="40000" y="22254"/>
                    <a:pt x="40412" y="21818"/>
                  </a:cubicBezTo>
                  <a:cubicBezTo>
                    <a:pt x="40824" y="21600"/>
                    <a:pt x="40824" y="21818"/>
                    <a:pt x="41237" y="21600"/>
                  </a:cubicBezTo>
                  <a:cubicBezTo>
                    <a:pt x="41649" y="21381"/>
                    <a:pt x="42061" y="21163"/>
                    <a:pt x="42474" y="21163"/>
                  </a:cubicBezTo>
                  <a:cubicBezTo>
                    <a:pt x="42886" y="21381"/>
                    <a:pt x="43298" y="21600"/>
                    <a:pt x="43298" y="21818"/>
                  </a:cubicBezTo>
                  <a:cubicBezTo>
                    <a:pt x="43298" y="22036"/>
                    <a:pt x="43711" y="22472"/>
                    <a:pt x="43298" y="22690"/>
                  </a:cubicBezTo>
                  <a:cubicBezTo>
                    <a:pt x="42886" y="22909"/>
                    <a:pt x="42886" y="23127"/>
                    <a:pt x="42474" y="23127"/>
                  </a:cubicBezTo>
                  <a:cubicBezTo>
                    <a:pt x="42061" y="23345"/>
                    <a:pt x="40824" y="23781"/>
                    <a:pt x="40824" y="23781"/>
                  </a:cubicBezTo>
                  <a:cubicBezTo>
                    <a:pt x="40824" y="23781"/>
                    <a:pt x="40824" y="24218"/>
                    <a:pt x="41237" y="24218"/>
                  </a:cubicBezTo>
                  <a:cubicBezTo>
                    <a:pt x="41649" y="24218"/>
                    <a:pt x="42474" y="23563"/>
                    <a:pt x="42474" y="24000"/>
                  </a:cubicBezTo>
                  <a:cubicBezTo>
                    <a:pt x="42061" y="24436"/>
                    <a:pt x="43298" y="24654"/>
                    <a:pt x="42061" y="24872"/>
                  </a:cubicBezTo>
                  <a:cubicBezTo>
                    <a:pt x="41237" y="24872"/>
                    <a:pt x="40412" y="24654"/>
                    <a:pt x="40412" y="24654"/>
                  </a:cubicBezTo>
                  <a:cubicBezTo>
                    <a:pt x="39587" y="25309"/>
                    <a:pt x="39587" y="25309"/>
                    <a:pt x="39587" y="25309"/>
                  </a:cubicBezTo>
                  <a:cubicBezTo>
                    <a:pt x="39587" y="25309"/>
                    <a:pt x="38762" y="25090"/>
                    <a:pt x="38762" y="25309"/>
                  </a:cubicBezTo>
                  <a:cubicBezTo>
                    <a:pt x="38762" y="25527"/>
                    <a:pt x="39175" y="25963"/>
                    <a:pt x="39175" y="25963"/>
                  </a:cubicBezTo>
                  <a:cubicBezTo>
                    <a:pt x="38350" y="26400"/>
                    <a:pt x="38350" y="26400"/>
                    <a:pt x="38350" y="26400"/>
                  </a:cubicBezTo>
                  <a:cubicBezTo>
                    <a:pt x="38350" y="26400"/>
                    <a:pt x="37113" y="26181"/>
                    <a:pt x="37113" y="26400"/>
                  </a:cubicBezTo>
                  <a:cubicBezTo>
                    <a:pt x="37525" y="26618"/>
                    <a:pt x="37938" y="27054"/>
                    <a:pt x="37938" y="27054"/>
                  </a:cubicBezTo>
                  <a:cubicBezTo>
                    <a:pt x="37938" y="27054"/>
                    <a:pt x="37938" y="27490"/>
                    <a:pt x="37113" y="27490"/>
                  </a:cubicBezTo>
                  <a:cubicBezTo>
                    <a:pt x="36288" y="27490"/>
                    <a:pt x="35463" y="27490"/>
                    <a:pt x="35051" y="27490"/>
                  </a:cubicBezTo>
                  <a:cubicBezTo>
                    <a:pt x="34639" y="27272"/>
                    <a:pt x="34639" y="27272"/>
                    <a:pt x="34639" y="27272"/>
                  </a:cubicBezTo>
                  <a:cubicBezTo>
                    <a:pt x="34226" y="27927"/>
                    <a:pt x="34226" y="27927"/>
                    <a:pt x="34226" y="27927"/>
                  </a:cubicBezTo>
                  <a:cubicBezTo>
                    <a:pt x="34226" y="27927"/>
                    <a:pt x="34639" y="28145"/>
                    <a:pt x="34226" y="28363"/>
                  </a:cubicBezTo>
                  <a:cubicBezTo>
                    <a:pt x="33814" y="28581"/>
                    <a:pt x="32577" y="28581"/>
                    <a:pt x="32577" y="28581"/>
                  </a:cubicBezTo>
                  <a:cubicBezTo>
                    <a:pt x="32577" y="28581"/>
                    <a:pt x="32164" y="28581"/>
                    <a:pt x="32164" y="28581"/>
                  </a:cubicBezTo>
                  <a:cubicBezTo>
                    <a:pt x="32164" y="28800"/>
                    <a:pt x="31752" y="29236"/>
                    <a:pt x="31340" y="29236"/>
                  </a:cubicBezTo>
                  <a:cubicBezTo>
                    <a:pt x="30927" y="29018"/>
                    <a:pt x="30103" y="28800"/>
                    <a:pt x="29690" y="28581"/>
                  </a:cubicBezTo>
                  <a:cubicBezTo>
                    <a:pt x="29690" y="28363"/>
                    <a:pt x="29278" y="27490"/>
                    <a:pt x="30103" y="27709"/>
                  </a:cubicBezTo>
                  <a:cubicBezTo>
                    <a:pt x="30927" y="27709"/>
                    <a:pt x="31752" y="27927"/>
                    <a:pt x="31752" y="27490"/>
                  </a:cubicBezTo>
                  <a:cubicBezTo>
                    <a:pt x="31752" y="27054"/>
                    <a:pt x="31340" y="26836"/>
                    <a:pt x="31340" y="26836"/>
                  </a:cubicBezTo>
                  <a:cubicBezTo>
                    <a:pt x="31752" y="26400"/>
                    <a:pt x="31752" y="26400"/>
                    <a:pt x="31752" y="26400"/>
                  </a:cubicBezTo>
                  <a:close/>
                  <a:moveTo>
                    <a:pt x="110103" y="3272"/>
                  </a:moveTo>
                  <a:cubicBezTo>
                    <a:pt x="110103" y="3272"/>
                    <a:pt x="110103" y="3272"/>
                    <a:pt x="110103" y="3272"/>
                  </a:cubicBezTo>
                  <a:cubicBezTo>
                    <a:pt x="110515" y="3272"/>
                    <a:pt x="111752" y="3490"/>
                    <a:pt x="111752" y="3272"/>
                  </a:cubicBezTo>
                  <a:cubicBezTo>
                    <a:pt x="111752" y="3272"/>
                    <a:pt x="112164" y="2836"/>
                    <a:pt x="112164" y="2836"/>
                  </a:cubicBezTo>
                  <a:cubicBezTo>
                    <a:pt x="111752" y="2618"/>
                    <a:pt x="111340" y="2400"/>
                    <a:pt x="110927" y="2618"/>
                  </a:cubicBezTo>
                  <a:cubicBezTo>
                    <a:pt x="110515" y="2618"/>
                    <a:pt x="110103" y="2836"/>
                    <a:pt x="110103" y="2836"/>
                  </a:cubicBezTo>
                  <a:cubicBezTo>
                    <a:pt x="110103" y="3054"/>
                    <a:pt x="110103" y="3272"/>
                    <a:pt x="110103" y="3272"/>
                  </a:cubicBezTo>
                  <a:close/>
                  <a:moveTo>
                    <a:pt x="96907" y="6981"/>
                  </a:moveTo>
                  <a:cubicBezTo>
                    <a:pt x="96907" y="6981"/>
                    <a:pt x="96907" y="6981"/>
                    <a:pt x="96907" y="6981"/>
                  </a:cubicBezTo>
                  <a:cubicBezTo>
                    <a:pt x="97319" y="6981"/>
                    <a:pt x="97731" y="6545"/>
                    <a:pt x="97731" y="6763"/>
                  </a:cubicBezTo>
                  <a:cubicBezTo>
                    <a:pt x="97731" y="7200"/>
                    <a:pt x="98144" y="7200"/>
                    <a:pt x="97731" y="7418"/>
                  </a:cubicBezTo>
                  <a:cubicBezTo>
                    <a:pt x="97319" y="7418"/>
                    <a:pt x="96494" y="7854"/>
                    <a:pt x="96082" y="7636"/>
                  </a:cubicBezTo>
                  <a:cubicBezTo>
                    <a:pt x="96082" y="7636"/>
                    <a:pt x="96494" y="6763"/>
                    <a:pt x="96494" y="6763"/>
                  </a:cubicBezTo>
                  <a:cubicBezTo>
                    <a:pt x="96907" y="6981"/>
                    <a:pt x="96907" y="6981"/>
                    <a:pt x="96907" y="6981"/>
                  </a:cubicBezTo>
                  <a:close/>
                  <a:moveTo>
                    <a:pt x="104742" y="7418"/>
                  </a:moveTo>
                  <a:cubicBezTo>
                    <a:pt x="104742" y="7418"/>
                    <a:pt x="104742" y="7418"/>
                    <a:pt x="104742" y="7418"/>
                  </a:cubicBezTo>
                  <a:cubicBezTo>
                    <a:pt x="104742" y="7418"/>
                    <a:pt x="104742" y="7636"/>
                    <a:pt x="103917" y="7418"/>
                  </a:cubicBezTo>
                  <a:cubicBezTo>
                    <a:pt x="102680" y="7418"/>
                    <a:pt x="102268" y="7636"/>
                    <a:pt x="102268" y="7200"/>
                  </a:cubicBezTo>
                  <a:cubicBezTo>
                    <a:pt x="102268" y="6981"/>
                    <a:pt x="102680" y="6763"/>
                    <a:pt x="101855" y="6545"/>
                  </a:cubicBezTo>
                  <a:cubicBezTo>
                    <a:pt x="101030" y="6545"/>
                    <a:pt x="101030" y="6545"/>
                    <a:pt x="101030" y="6545"/>
                  </a:cubicBezTo>
                  <a:cubicBezTo>
                    <a:pt x="101030" y="6545"/>
                    <a:pt x="100618" y="6109"/>
                    <a:pt x="101030" y="5890"/>
                  </a:cubicBezTo>
                  <a:cubicBezTo>
                    <a:pt x="101855" y="5454"/>
                    <a:pt x="101855" y="5672"/>
                    <a:pt x="102268" y="5672"/>
                  </a:cubicBezTo>
                  <a:cubicBezTo>
                    <a:pt x="103092" y="5672"/>
                    <a:pt x="102680" y="5672"/>
                    <a:pt x="103505" y="5890"/>
                  </a:cubicBezTo>
                  <a:cubicBezTo>
                    <a:pt x="104329" y="5890"/>
                    <a:pt x="104742" y="6109"/>
                    <a:pt x="104742" y="5672"/>
                  </a:cubicBezTo>
                  <a:cubicBezTo>
                    <a:pt x="104742" y="5454"/>
                    <a:pt x="105154" y="5454"/>
                    <a:pt x="104329" y="5018"/>
                  </a:cubicBezTo>
                  <a:cubicBezTo>
                    <a:pt x="103917" y="4581"/>
                    <a:pt x="103917" y="4800"/>
                    <a:pt x="103505" y="4581"/>
                  </a:cubicBezTo>
                  <a:cubicBezTo>
                    <a:pt x="103092" y="4145"/>
                    <a:pt x="102268" y="3709"/>
                    <a:pt x="102680" y="3490"/>
                  </a:cubicBezTo>
                  <a:cubicBezTo>
                    <a:pt x="102680" y="3272"/>
                    <a:pt x="102268" y="3272"/>
                    <a:pt x="103092" y="2836"/>
                  </a:cubicBezTo>
                  <a:cubicBezTo>
                    <a:pt x="104329" y="2618"/>
                    <a:pt x="105154" y="2181"/>
                    <a:pt x="105567" y="2181"/>
                  </a:cubicBezTo>
                  <a:cubicBezTo>
                    <a:pt x="105979" y="2181"/>
                    <a:pt x="106391" y="2181"/>
                    <a:pt x="106391" y="2400"/>
                  </a:cubicBezTo>
                  <a:cubicBezTo>
                    <a:pt x="106391" y="2836"/>
                    <a:pt x="106391" y="3054"/>
                    <a:pt x="105979" y="3272"/>
                  </a:cubicBezTo>
                  <a:cubicBezTo>
                    <a:pt x="105567" y="3272"/>
                    <a:pt x="105567" y="3490"/>
                    <a:pt x="105567" y="3490"/>
                  </a:cubicBezTo>
                  <a:cubicBezTo>
                    <a:pt x="105567" y="3490"/>
                    <a:pt x="105154" y="4145"/>
                    <a:pt x="105979" y="4145"/>
                  </a:cubicBezTo>
                  <a:cubicBezTo>
                    <a:pt x="106804" y="3927"/>
                    <a:pt x="107216" y="3490"/>
                    <a:pt x="107216" y="3272"/>
                  </a:cubicBezTo>
                  <a:cubicBezTo>
                    <a:pt x="107628" y="3054"/>
                    <a:pt x="108041" y="3272"/>
                    <a:pt x="107628" y="2836"/>
                  </a:cubicBezTo>
                  <a:cubicBezTo>
                    <a:pt x="107628" y="2400"/>
                    <a:pt x="107216" y="2181"/>
                    <a:pt x="107628" y="2181"/>
                  </a:cubicBezTo>
                  <a:cubicBezTo>
                    <a:pt x="108041" y="2181"/>
                    <a:pt x="108453" y="2618"/>
                    <a:pt x="108865" y="2181"/>
                  </a:cubicBezTo>
                  <a:cubicBezTo>
                    <a:pt x="109690" y="1527"/>
                    <a:pt x="109690" y="1309"/>
                    <a:pt x="109690" y="1309"/>
                  </a:cubicBezTo>
                  <a:cubicBezTo>
                    <a:pt x="109690" y="1309"/>
                    <a:pt x="109278" y="1309"/>
                    <a:pt x="110103" y="1090"/>
                  </a:cubicBezTo>
                  <a:cubicBezTo>
                    <a:pt x="110927" y="872"/>
                    <a:pt x="110515" y="654"/>
                    <a:pt x="110927" y="436"/>
                  </a:cubicBezTo>
                  <a:cubicBezTo>
                    <a:pt x="111340" y="218"/>
                    <a:pt x="110515" y="0"/>
                    <a:pt x="111752" y="0"/>
                  </a:cubicBezTo>
                  <a:cubicBezTo>
                    <a:pt x="112577" y="218"/>
                    <a:pt x="112577" y="218"/>
                    <a:pt x="112989" y="436"/>
                  </a:cubicBezTo>
                  <a:cubicBezTo>
                    <a:pt x="113402" y="436"/>
                    <a:pt x="112577" y="1309"/>
                    <a:pt x="112164" y="1309"/>
                  </a:cubicBezTo>
                  <a:cubicBezTo>
                    <a:pt x="111752" y="1309"/>
                    <a:pt x="111752" y="1090"/>
                    <a:pt x="110927" y="1309"/>
                  </a:cubicBezTo>
                  <a:cubicBezTo>
                    <a:pt x="110515" y="1527"/>
                    <a:pt x="111340" y="1963"/>
                    <a:pt x="110927" y="2181"/>
                  </a:cubicBezTo>
                  <a:cubicBezTo>
                    <a:pt x="110515" y="2400"/>
                    <a:pt x="110103" y="2181"/>
                    <a:pt x="109690" y="2400"/>
                  </a:cubicBezTo>
                  <a:cubicBezTo>
                    <a:pt x="109278" y="2618"/>
                    <a:pt x="109278" y="2618"/>
                    <a:pt x="109278" y="2836"/>
                  </a:cubicBezTo>
                  <a:cubicBezTo>
                    <a:pt x="109278" y="3054"/>
                    <a:pt x="108865" y="3272"/>
                    <a:pt x="108453" y="3490"/>
                  </a:cubicBezTo>
                  <a:cubicBezTo>
                    <a:pt x="108453" y="3490"/>
                    <a:pt x="107216" y="3054"/>
                    <a:pt x="108453" y="3490"/>
                  </a:cubicBezTo>
                  <a:cubicBezTo>
                    <a:pt x="109690" y="3927"/>
                    <a:pt x="110103" y="3927"/>
                    <a:pt x="109690" y="4145"/>
                  </a:cubicBezTo>
                  <a:cubicBezTo>
                    <a:pt x="109278" y="4145"/>
                    <a:pt x="108453" y="4145"/>
                    <a:pt x="108041" y="4363"/>
                  </a:cubicBezTo>
                  <a:cubicBezTo>
                    <a:pt x="107628" y="4363"/>
                    <a:pt x="107216" y="4581"/>
                    <a:pt x="108041" y="4800"/>
                  </a:cubicBezTo>
                  <a:cubicBezTo>
                    <a:pt x="108865" y="5018"/>
                    <a:pt x="108453" y="5018"/>
                    <a:pt x="108865" y="5018"/>
                  </a:cubicBezTo>
                  <a:cubicBezTo>
                    <a:pt x="109278" y="4800"/>
                    <a:pt x="111340" y="4800"/>
                    <a:pt x="111340" y="5018"/>
                  </a:cubicBezTo>
                  <a:cubicBezTo>
                    <a:pt x="110927" y="5454"/>
                    <a:pt x="111340" y="5454"/>
                    <a:pt x="110515" y="5672"/>
                  </a:cubicBezTo>
                  <a:cubicBezTo>
                    <a:pt x="109278" y="5890"/>
                    <a:pt x="108453" y="5672"/>
                    <a:pt x="108041" y="5454"/>
                  </a:cubicBezTo>
                  <a:cubicBezTo>
                    <a:pt x="107628" y="5454"/>
                    <a:pt x="107628" y="5018"/>
                    <a:pt x="107628" y="5672"/>
                  </a:cubicBezTo>
                  <a:cubicBezTo>
                    <a:pt x="108041" y="6327"/>
                    <a:pt x="108865" y="6327"/>
                    <a:pt x="108453" y="6327"/>
                  </a:cubicBezTo>
                  <a:cubicBezTo>
                    <a:pt x="107628" y="6327"/>
                    <a:pt x="106804" y="6327"/>
                    <a:pt x="106804" y="6327"/>
                  </a:cubicBezTo>
                  <a:cubicBezTo>
                    <a:pt x="106804" y="6327"/>
                    <a:pt x="106391" y="5890"/>
                    <a:pt x="106804" y="6545"/>
                  </a:cubicBezTo>
                  <a:cubicBezTo>
                    <a:pt x="107216" y="7200"/>
                    <a:pt x="107216" y="7200"/>
                    <a:pt x="107216" y="7200"/>
                  </a:cubicBezTo>
                  <a:cubicBezTo>
                    <a:pt x="107216" y="7200"/>
                    <a:pt x="106391" y="7418"/>
                    <a:pt x="106391" y="7418"/>
                  </a:cubicBezTo>
                  <a:cubicBezTo>
                    <a:pt x="106391" y="7636"/>
                    <a:pt x="106804" y="8072"/>
                    <a:pt x="107216" y="8290"/>
                  </a:cubicBezTo>
                  <a:cubicBezTo>
                    <a:pt x="107216" y="8290"/>
                    <a:pt x="106804" y="9163"/>
                    <a:pt x="106391" y="9163"/>
                  </a:cubicBezTo>
                  <a:cubicBezTo>
                    <a:pt x="106391" y="9163"/>
                    <a:pt x="106391" y="9381"/>
                    <a:pt x="105979" y="9600"/>
                  </a:cubicBezTo>
                  <a:cubicBezTo>
                    <a:pt x="105567" y="9818"/>
                    <a:pt x="105154" y="10036"/>
                    <a:pt x="105154" y="10036"/>
                  </a:cubicBezTo>
                  <a:cubicBezTo>
                    <a:pt x="104329" y="11345"/>
                    <a:pt x="104329" y="11345"/>
                    <a:pt x="104329" y="11345"/>
                  </a:cubicBezTo>
                  <a:cubicBezTo>
                    <a:pt x="104329" y="11345"/>
                    <a:pt x="103917" y="11781"/>
                    <a:pt x="103505" y="11345"/>
                  </a:cubicBezTo>
                  <a:cubicBezTo>
                    <a:pt x="103505" y="10909"/>
                    <a:pt x="103092" y="10909"/>
                    <a:pt x="103505" y="10690"/>
                  </a:cubicBezTo>
                  <a:cubicBezTo>
                    <a:pt x="103917" y="10690"/>
                    <a:pt x="103917" y="10254"/>
                    <a:pt x="104329" y="10036"/>
                  </a:cubicBezTo>
                  <a:cubicBezTo>
                    <a:pt x="104329" y="9818"/>
                    <a:pt x="104742" y="8945"/>
                    <a:pt x="104742" y="8945"/>
                  </a:cubicBezTo>
                  <a:cubicBezTo>
                    <a:pt x="104742" y="8945"/>
                    <a:pt x="105567" y="8945"/>
                    <a:pt x="105979" y="8727"/>
                  </a:cubicBezTo>
                  <a:cubicBezTo>
                    <a:pt x="105979" y="8727"/>
                    <a:pt x="105154" y="7854"/>
                    <a:pt x="105154" y="7854"/>
                  </a:cubicBezTo>
                  <a:cubicBezTo>
                    <a:pt x="105567" y="7418"/>
                    <a:pt x="105567" y="7418"/>
                    <a:pt x="105567" y="7418"/>
                  </a:cubicBezTo>
                  <a:cubicBezTo>
                    <a:pt x="104742" y="7418"/>
                    <a:pt x="104742" y="7418"/>
                    <a:pt x="104742" y="7418"/>
                  </a:cubicBezTo>
                  <a:close/>
                  <a:moveTo>
                    <a:pt x="98556" y="14618"/>
                  </a:moveTo>
                  <a:cubicBezTo>
                    <a:pt x="98556" y="14618"/>
                    <a:pt x="98556" y="14618"/>
                    <a:pt x="98556" y="14618"/>
                  </a:cubicBezTo>
                  <a:cubicBezTo>
                    <a:pt x="98556" y="14618"/>
                    <a:pt x="99793" y="13745"/>
                    <a:pt x="100206" y="13963"/>
                  </a:cubicBezTo>
                  <a:cubicBezTo>
                    <a:pt x="100206" y="13963"/>
                    <a:pt x="100206" y="14181"/>
                    <a:pt x="100206" y="14400"/>
                  </a:cubicBezTo>
                  <a:cubicBezTo>
                    <a:pt x="100206" y="14400"/>
                    <a:pt x="100618" y="14836"/>
                    <a:pt x="100206" y="14836"/>
                  </a:cubicBezTo>
                  <a:cubicBezTo>
                    <a:pt x="99793" y="14836"/>
                    <a:pt x="99381" y="14836"/>
                    <a:pt x="98969" y="14836"/>
                  </a:cubicBezTo>
                  <a:cubicBezTo>
                    <a:pt x="98969" y="14836"/>
                    <a:pt x="98556" y="14618"/>
                    <a:pt x="98556" y="14618"/>
                  </a:cubicBezTo>
                  <a:close/>
                  <a:moveTo>
                    <a:pt x="80824" y="21381"/>
                  </a:moveTo>
                  <a:cubicBezTo>
                    <a:pt x="80824" y="21381"/>
                    <a:pt x="80824" y="21381"/>
                    <a:pt x="80824" y="21381"/>
                  </a:cubicBezTo>
                  <a:cubicBezTo>
                    <a:pt x="81649" y="20945"/>
                    <a:pt x="81649" y="20945"/>
                    <a:pt x="81649" y="20945"/>
                  </a:cubicBezTo>
                  <a:cubicBezTo>
                    <a:pt x="82886" y="21163"/>
                    <a:pt x="82886" y="21163"/>
                    <a:pt x="82886" y="21163"/>
                  </a:cubicBezTo>
                  <a:cubicBezTo>
                    <a:pt x="82886" y="21163"/>
                    <a:pt x="83298" y="20727"/>
                    <a:pt x="83298" y="21163"/>
                  </a:cubicBezTo>
                  <a:cubicBezTo>
                    <a:pt x="82886" y="21600"/>
                    <a:pt x="82061" y="22254"/>
                    <a:pt x="82061" y="22254"/>
                  </a:cubicBezTo>
                  <a:cubicBezTo>
                    <a:pt x="82061" y="22254"/>
                    <a:pt x="82474" y="22254"/>
                    <a:pt x="81649" y="22472"/>
                  </a:cubicBezTo>
                  <a:cubicBezTo>
                    <a:pt x="80824" y="22690"/>
                    <a:pt x="80824" y="22909"/>
                    <a:pt x="80412" y="22472"/>
                  </a:cubicBezTo>
                  <a:cubicBezTo>
                    <a:pt x="80000" y="22254"/>
                    <a:pt x="79587" y="22254"/>
                    <a:pt x="79587" y="22036"/>
                  </a:cubicBezTo>
                  <a:cubicBezTo>
                    <a:pt x="80000" y="21818"/>
                    <a:pt x="80000" y="21381"/>
                    <a:pt x="80000" y="21381"/>
                  </a:cubicBezTo>
                  <a:cubicBezTo>
                    <a:pt x="80824" y="21381"/>
                    <a:pt x="80824" y="21381"/>
                    <a:pt x="80824" y="21381"/>
                  </a:cubicBezTo>
                  <a:close/>
                  <a:moveTo>
                    <a:pt x="89484" y="15709"/>
                  </a:moveTo>
                  <a:cubicBezTo>
                    <a:pt x="89484" y="15709"/>
                    <a:pt x="89484" y="15709"/>
                    <a:pt x="89484" y="15709"/>
                  </a:cubicBezTo>
                  <a:cubicBezTo>
                    <a:pt x="89484" y="15709"/>
                    <a:pt x="89896" y="15272"/>
                    <a:pt x="90309" y="15272"/>
                  </a:cubicBezTo>
                  <a:cubicBezTo>
                    <a:pt x="90721" y="15490"/>
                    <a:pt x="91134" y="15490"/>
                    <a:pt x="91134" y="15709"/>
                  </a:cubicBezTo>
                  <a:cubicBezTo>
                    <a:pt x="90721" y="15927"/>
                    <a:pt x="90309" y="16145"/>
                    <a:pt x="89896" y="16145"/>
                  </a:cubicBezTo>
                  <a:cubicBezTo>
                    <a:pt x="89484" y="16145"/>
                    <a:pt x="89484" y="15709"/>
                    <a:pt x="89484" y="15709"/>
                  </a:cubicBezTo>
                  <a:close/>
                  <a:moveTo>
                    <a:pt x="87835" y="16800"/>
                  </a:moveTo>
                  <a:cubicBezTo>
                    <a:pt x="87835" y="16800"/>
                    <a:pt x="87835" y="16800"/>
                    <a:pt x="87835" y="16800"/>
                  </a:cubicBezTo>
                  <a:cubicBezTo>
                    <a:pt x="87835" y="16800"/>
                    <a:pt x="88659" y="16363"/>
                    <a:pt x="89072" y="16581"/>
                  </a:cubicBezTo>
                  <a:cubicBezTo>
                    <a:pt x="89072" y="16581"/>
                    <a:pt x="89484" y="16581"/>
                    <a:pt x="89072" y="16800"/>
                  </a:cubicBezTo>
                  <a:cubicBezTo>
                    <a:pt x="89072" y="17018"/>
                    <a:pt x="89896" y="16800"/>
                    <a:pt x="88659" y="17018"/>
                  </a:cubicBezTo>
                  <a:cubicBezTo>
                    <a:pt x="87835" y="17454"/>
                    <a:pt x="88247" y="17672"/>
                    <a:pt x="87422" y="17454"/>
                  </a:cubicBezTo>
                  <a:cubicBezTo>
                    <a:pt x="87010" y="17236"/>
                    <a:pt x="87010" y="17018"/>
                    <a:pt x="87010" y="16800"/>
                  </a:cubicBezTo>
                  <a:cubicBezTo>
                    <a:pt x="87010" y="16800"/>
                    <a:pt x="87422" y="16363"/>
                    <a:pt x="87422" y="16363"/>
                  </a:cubicBezTo>
                  <a:cubicBezTo>
                    <a:pt x="87835" y="16581"/>
                    <a:pt x="87835" y="16800"/>
                    <a:pt x="87835" y="16800"/>
                  </a:cubicBezTo>
                  <a:close/>
                  <a:moveTo>
                    <a:pt x="84536" y="17454"/>
                  </a:moveTo>
                  <a:cubicBezTo>
                    <a:pt x="84536" y="17454"/>
                    <a:pt x="84536" y="17454"/>
                    <a:pt x="84536" y="17454"/>
                  </a:cubicBezTo>
                  <a:cubicBezTo>
                    <a:pt x="84536" y="17454"/>
                    <a:pt x="85360" y="17672"/>
                    <a:pt x="85360" y="17672"/>
                  </a:cubicBezTo>
                  <a:cubicBezTo>
                    <a:pt x="85773" y="17890"/>
                    <a:pt x="85773" y="17672"/>
                    <a:pt x="86185" y="17454"/>
                  </a:cubicBezTo>
                  <a:cubicBezTo>
                    <a:pt x="87010" y="17454"/>
                    <a:pt x="86185" y="17454"/>
                    <a:pt x="86597" y="17236"/>
                  </a:cubicBezTo>
                  <a:cubicBezTo>
                    <a:pt x="87010" y="16800"/>
                    <a:pt x="86597" y="17018"/>
                    <a:pt x="86597" y="16800"/>
                  </a:cubicBezTo>
                  <a:cubicBezTo>
                    <a:pt x="86185" y="16800"/>
                    <a:pt x="86185" y="16800"/>
                    <a:pt x="85773" y="16800"/>
                  </a:cubicBezTo>
                  <a:cubicBezTo>
                    <a:pt x="84948" y="16800"/>
                    <a:pt x="84536" y="17454"/>
                    <a:pt x="84536" y="17454"/>
                  </a:cubicBezTo>
                  <a:close/>
                  <a:moveTo>
                    <a:pt x="86185" y="18763"/>
                  </a:moveTo>
                  <a:cubicBezTo>
                    <a:pt x="86185" y="18763"/>
                    <a:pt x="86185" y="18763"/>
                    <a:pt x="86185" y="18763"/>
                  </a:cubicBezTo>
                  <a:cubicBezTo>
                    <a:pt x="86185" y="18763"/>
                    <a:pt x="86597" y="18109"/>
                    <a:pt x="87010" y="18109"/>
                  </a:cubicBezTo>
                  <a:cubicBezTo>
                    <a:pt x="87422" y="18327"/>
                    <a:pt x="87422" y="18109"/>
                    <a:pt x="87422" y="18327"/>
                  </a:cubicBezTo>
                  <a:cubicBezTo>
                    <a:pt x="87422" y="18545"/>
                    <a:pt x="87422" y="18981"/>
                    <a:pt x="87010" y="18981"/>
                  </a:cubicBezTo>
                  <a:cubicBezTo>
                    <a:pt x="86597" y="18981"/>
                    <a:pt x="86185" y="18763"/>
                    <a:pt x="86185" y="18763"/>
                  </a:cubicBezTo>
                  <a:close/>
                  <a:moveTo>
                    <a:pt x="82886" y="18763"/>
                  </a:moveTo>
                  <a:cubicBezTo>
                    <a:pt x="82886" y="18763"/>
                    <a:pt x="82886" y="18763"/>
                    <a:pt x="82886" y="18763"/>
                  </a:cubicBezTo>
                  <a:cubicBezTo>
                    <a:pt x="83298" y="18327"/>
                    <a:pt x="83298" y="18327"/>
                    <a:pt x="83298" y="18327"/>
                  </a:cubicBezTo>
                  <a:cubicBezTo>
                    <a:pt x="84123" y="18545"/>
                    <a:pt x="84123" y="18545"/>
                    <a:pt x="84123" y="18545"/>
                  </a:cubicBezTo>
                  <a:cubicBezTo>
                    <a:pt x="84123" y="18545"/>
                    <a:pt x="84536" y="18763"/>
                    <a:pt x="84123" y="18763"/>
                  </a:cubicBezTo>
                  <a:cubicBezTo>
                    <a:pt x="84123" y="18981"/>
                    <a:pt x="83711" y="18981"/>
                    <a:pt x="83711" y="19200"/>
                  </a:cubicBezTo>
                  <a:cubicBezTo>
                    <a:pt x="83298" y="19200"/>
                    <a:pt x="82886" y="18981"/>
                    <a:pt x="82886" y="18981"/>
                  </a:cubicBezTo>
                  <a:cubicBezTo>
                    <a:pt x="82886" y="18763"/>
                    <a:pt x="82886" y="18763"/>
                    <a:pt x="82886" y="18763"/>
                  </a:cubicBezTo>
                  <a:close/>
                  <a:moveTo>
                    <a:pt x="82886" y="15927"/>
                  </a:moveTo>
                  <a:cubicBezTo>
                    <a:pt x="82886" y="15927"/>
                    <a:pt x="82886" y="15927"/>
                    <a:pt x="82886" y="15927"/>
                  </a:cubicBezTo>
                  <a:cubicBezTo>
                    <a:pt x="82886" y="15927"/>
                    <a:pt x="83711" y="15272"/>
                    <a:pt x="83711" y="15272"/>
                  </a:cubicBezTo>
                  <a:cubicBezTo>
                    <a:pt x="84123" y="15272"/>
                    <a:pt x="84536" y="15054"/>
                    <a:pt x="84536" y="15490"/>
                  </a:cubicBezTo>
                  <a:cubicBezTo>
                    <a:pt x="84536" y="15927"/>
                    <a:pt x="85360" y="16363"/>
                    <a:pt x="84123" y="16363"/>
                  </a:cubicBezTo>
                  <a:cubicBezTo>
                    <a:pt x="83298" y="16363"/>
                    <a:pt x="82886" y="16581"/>
                    <a:pt x="82886" y="16363"/>
                  </a:cubicBezTo>
                  <a:cubicBezTo>
                    <a:pt x="82474" y="16145"/>
                    <a:pt x="82886" y="15927"/>
                    <a:pt x="82886" y="15927"/>
                  </a:cubicBezTo>
                  <a:close/>
                  <a:moveTo>
                    <a:pt x="81237" y="17236"/>
                  </a:moveTo>
                  <a:cubicBezTo>
                    <a:pt x="81237" y="17236"/>
                    <a:pt x="81237" y="17236"/>
                    <a:pt x="81237" y="17236"/>
                  </a:cubicBezTo>
                  <a:cubicBezTo>
                    <a:pt x="81237" y="17236"/>
                    <a:pt x="82061" y="16800"/>
                    <a:pt x="82474" y="16800"/>
                  </a:cubicBezTo>
                  <a:cubicBezTo>
                    <a:pt x="82886" y="17018"/>
                    <a:pt x="83298" y="17018"/>
                    <a:pt x="83298" y="17236"/>
                  </a:cubicBezTo>
                  <a:cubicBezTo>
                    <a:pt x="83298" y="17454"/>
                    <a:pt x="83298" y="17454"/>
                    <a:pt x="82886" y="17672"/>
                  </a:cubicBezTo>
                  <a:cubicBezTo>
                    <a:pt x="82886" y="17890"/>
                    <a:pt x="82474" y="17890"/>
                    <a:pt x="82061" y="17890"/>
                  </a:cubicBezTo>
                  <a:cubicBezTo>
                    <a:pt x="82061" y="17890"/>
                    <a:pt x="81237" y="17236"/>
                    <a:pt x="81237" y="17236"/>
                  </a:cubicBezTo>
                  <a:close/>
                  <a:moveTo>
                    <a:pt x="82474" y="19854"/>
                  </a:moveTo>
                  <a:cubicBezTo>
                    <a:pt x="82474" y="19854"/>
                    <a:pt x="82474" y="19854"/>
                    <a:pt x="82474" y="19854"/>
                  </a:cubicBezTo>
                  <a:cubicBezTo>
                    <a:pt x="82474" y="19854"/>
                    <a:pt x="82061" y="20509"/>
                    <a:pt x="82061" y="20727"/>
                  </a:cubicBezTo>
                  <a:cubicBezTo>
                    <a:pt x="82061" y="20945"/>
                    <a:pt x="83298" y="20945"/>
                    <a:pt x="83711" y="20727"/>
                  </a:cubicBezTo>
                  <a:cubicBezTo>
                    <a:pt x="83711" y="20727"/>
                    <a:pt x="84123" y="20290"/>
                    <a:pt x="84123" y="20290"/>
                  </a:cubicBezTo>
                  <a:cubicBezTo>
                    <a:pt x="84123" y="20290"/>
                    <a:pt x="83711" y="19854"/>
                    <a:pt x="83298" y="19636"/>
                  </a:cubicBezTo>
                  <a:cubicBezTo>
                    <a:pt x="82886" y="19418"/>
                    <a:pt x="82474" y="19854"/>
                    <a:pt x="82474" y="19854"/>
                  </a:cubicBezTo>
                  <a:close/>
                  <a:moveTo>
                    <a:pt x="78762" y="19200"/>
                  </a:moveTo>
                  <a:cubicBezTo>
                    <a:pt x="78762" y="19200"/>
                    <a:pt x="78762" y="19200"/>
                    <a:pt x="78762" y="19200"/>
                  </a:cubicBezTo>
                  <a:cubicBezTo>
                    <a:pt x="78762" y="19854"/>
                    <a:pt x="78762" y="19854"/>
                    <a:pt x="78762" y="19854"/>
                  </a:cubicBezTo>
                  <a:cubicBezTo>
                    <a:pt x="78762" y="19854"/>
                    <a:pt x="79587" y="20290"/>
                    <a:pt x="80000" y="20290"/>
                  </a:cubicBezTo>
                  <a:cubicBezTo>
                    <a:pt x="80412" y="20509"/>
                    <a:pt x="80412" y="20290"/>
                    <a:pt x="81237" y="20509"/>
                  </a:cubicBezTo>
                  <a:cubicBezTo>
                    <a:pt x="81649" y="20509"/>
                    <a:pt x="81649" y="20290"/>
                    <a:pt x="81649" y="20290"/>
                  </a:cubicBezTo>
                  <a:cubicBezTo>
                    <a:pt x="82061" y="20290"/>
                    <a:pt x="82061" y="20290"/>
                    <a:pt x="82061" y="20072"/>
                  </a:cubicBezTo>
                  <a:cubicBezTo>
                    <a:pt x="82061" y="20072"/>
                    <a:pt x="81237" y="19854"/>
                    <a:pt x="80824" y="19636"/>
                  </a:cubicBezTo>
                  <a:cubicBezTo>
                    <a:pt x="80824" y="19418"/>
                    <a:pt x="80824" y="19418"/>
                    <a:pt x="80824" y="19200"/>
                  </a:cubicBezTo>
                  <a:cubicBezTo>
                    <a:pt x="80824" y="19200"/>
                    <a:pt x="81237" y="18981"/>
                    <a:pt x="81649" y="18981"/>
                  </a:cubicBezTo>
                  <a:cubicBezTo>
                    <a:pt x="81649" y="18763"/>
                    <a:pt x="81649" y="18327"/>
                    <a:pt x="81649" y="18327"/>
                  </a:cubicBezTo>
                  <a:cubicBezTo>
                    <a:pt x="81649" y="18327"/>
                    <a:pt x="80824" y="18327"/>
                    <a:pt x="80824" y="18109"/>
                  </a:cubicBezTo>
                  <a:cubicBezTo>
                    <a:pt x="80824" y="18109"/>
                    <a:pt x="80412" y="17890"/>
                    <a:pt x="80000" y="17672"/>
                  </a:cubicBezTo>
                  <a:cubicBezTo>
                    <a:pt x="80000" y="17454"/>
                    <a:pt x="79175" y="17454"/>
                    <a:pt x="78762" y="17454"/>
                  </a:cubicBezTo>
                  <a:cubicBezTo>
                    <a:pt x="78762" y="17454"/>
                    <a:pt x="78350" y="18109"/>
                    <a:pt x="77938" y="18327"/>
                  </a:cubicBezTo>
                  <a:cubicBezTo>
                    <a:pt x="77938" y="18327"/>
                    <a:pt x="77525" y="18763"/>
                    <a:pt x="77525" y="18763"/>
                  </a:cubicBezTo>
                  <a:cubicBezTo>
                    <a:pt x="77525" y="18981"/>
                    <a:pt x="77525" y="19200"/>
                    <a:pt x="77938" y="19418"/>
                  </a:cubicBezTo>
                  <a:cubicBezTo>
                    <a:pt x="78350" y="19418"/>
                    <a:pt x="78762" y="19200"/>
                    <a:pt x="78762" y="19200"/>
                  </a:cubicBezTo>
                  <a:close/>
                  <a:moveTo>
                    <a:pt x="77525" y="20945"/>
                  </a:moveTo>
                  <a:cubicBezTo>
                    <a:pt x="77525" y="20945"/>
                    <a:pt x="77525" y="20945"/>
                    <a:pt x="77525" y="20945"/>
                  </a:cubicBezTo>
                  <a:cubicBezTo>
                    <a:pt x="77113" y="20945"/>
                    <a:pt x="76288" y="20509"/>
                    <a:pt x="76288" y="20509"/>
                  </a:cubicBezTo>
                  <a:cubicBezTo>
                    <a:pt x="76288" y="20509"/>
                    <a:pt x="77113" y="20290"/>
                    <a:pt x="77113" y="20072"/>
                  </a:cubicBezTo>
                  <a:cubicBezTo>
                    <a:pt x="77525" y="20072"/>
                    <a:pt x="77113" y="19854"/>
                    <a:pt x="77938" y="19854"/>
                  </a:cubicBezTo>
                  <a:cubicBezTo>
                    <a:pt x="78762" y="20072"/>
                    <a:pt x="78762" y="20290"/>
                    <a:pt x="78762" y="20290"/>
                  </a:cubicBezTo>
                  <a:cubicBezTo>
                    <a:pt x="78762" y="20290"/>
                    <a:pt x="79175" y="20727"/>
                    <a:pt x="79175" y="20945"/>
                  </a:cubicBezTo>
                  <a:cubicBezTo>
                    <a:pt x="79175" y="20945"/>
                    <a:pt x="79175" y="21163"/>
                    <a:pt x="79175" y="21163"/>
                  </a:cubicBezTo>
                  <a:cubicBezTo>
                    <a:pt x="79175" y="21381"/>
                    <a:pt x="80000" y="21600"/>
                    <a:pt x="78762" y="21600"/>
                  </a:cubicBezTo>
                  <a:cubicBezTo>
                    <a:pt x="77938" y="21600"/>
                    <a:pt x="77938" y="21600"/>
                    <a:pt x="77938" y="21600"/>
                  </a:cubicBezTo>
                  <a:lnTo>
                    <a:pt x="77525" y="20945"/>
                  </a:ln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3" name="Shape 2054"/>
            <p:cNvSpPr/>
            <p:nvPr/>
          </p:nvSpPr>
          <p:spPr>
            <a:xfrm>
              <a:off x="3278971" y="3425810"/>
              <a:ext cx="1218169" cy="9705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460" y="43462"/>
                  </a:moveTo>
                  <a:cubicBezTo>
                    <a:pt x="110786" y="44009"/>
                    <a:pt x="110561" y="42642"/>
                    <a:pt x="110112" y="43462"/>
                  </a:cubicBezTo>
                  <a:cubicBezTo>
                    <a:pt x="109438" y="44555"/>
                    <a:pt x="111235" y="47015"/>
                    <a:pt x="110561" y="48382"/>
                  </a:cubicBezTo>
                  <a:cubicBezTo>
                    <a:pt x="109662" y="49749"/>
                    <a:pt x="107865" y="51662"/>
                    <a:pt x="105393" y="52209"/>
                  </a:cubicBezTo>
                  <a:cubicBezTo>
                    <a:pt x="104269" y="52482"/>
                    <a:pt x="103370" y="53849"/>
                    <a:pt x="102471" y="53576"/>
                  </a:cubicBezTo>
                  <a:cubicBezTo>
                    <a:pt x="101797" y="53576"/>
                    <a:pt x="100224" y="55489"/>
                    <a:pt x="100000" y="56036"/>
                  </a:cubicBezTo>
                  <a:cubicBezTo>
                    <a:pt x="99550" y="56856"/>
                    <a:pt x="98202" y="56036"/>
                    <a:pt x="97078" y="56856"/>
                  </a:cubicBezTo>
                  <a:cubicBezTo>
                    <a:pt x="95505" y="57676"/>
                    <a:pt x="96404" y="56583"/>
                    <a:pt x="90786" y="58496"/>
                  </a:cubicBezTo>
                  <a:cubicBezTo>
                    <a:pt x="89662" y="58769"/>
                    <a:pt x="88764" y="59316"/>
                    <a:pt x="87865" y="59589"/>
                  </a:cubicBezTo>
                  <a:cubicBezTo>
                    <a:pt x="86966" y="60136"/>
                    <a:pt x="86067" y="59863"/>
                    <a:pt x="86067" y="62050"/>
                  </a:cubicBezTo>
                  <a:cubicBezTo>
                    <a:pt x="86292" y="63143"/>
                    <a:pt x="87415" y="62323"/>
                    <a:pt x="87191" y="63416"/>
                  </a:cubicBezTo>
                  <a:cubicBezTo>
                    <a:pt x="87191" y="64236"/>
                    <a:pt x="85617" y="63963"/>
                    <a:pt x="84044" y="65056"/>
                  </a:cubicBezTo>
                  <a:cubicBezTo>
                    <a:pt x="83370" y="65603"/>
                    <a:pt x="82921" y="67517"/>
                    <a:pt x="82471" y="68063"/>
                  </a:cubicBezTo>
                  <a:cubicBezTo>
                    <a:pt x="80224" y="69703"/>
                    <a:pt x="78651" y="73257"/>
                    <a:pt x="78651" y="73257"/>
                  </a:cubicBezTo>
                  <a:cubicBezTo>
                    <a:pt x="77528" y="74624"/>
                    <a:pt x="76179" y="75717"/>
                    <a:pt x="75505" y="77357"/>
                  </a:cubicBezTo>
                  <a:cubicBezTo>
                    <a:pt x="73932" y="80911"/>
                    <a:pt x="73483" y="78997"/>
                    <a:pt x="74382" y="83371"/>
                  </a:cubicBezTo>
                  <a:cubicBezTo>
                    <a:pt x="74606" y="83917"/>
                    <a:pt x="74606" y="85831"/>
                    <a:pt x="75280" y="87198"/>
                  </a:cubicBezTo>
                  <a:cubicBezTo>
                    <a:pt x="76404" y="89111"/>
                    <a:pt x="78876" y="91025"/>
                    <a:pt x="78202" y="91571"/>
                  </a:cubicBezTo>
                  <a:cubicBezTo>
                    <a:pt x="77752" y="91845"/>
                    <a:pt x="75056" y="94031"/>
                    <a:pt x="74157" y="94031"/>
                  </a:cubicBezTo>
                  <a:cubicBezTo>
                    <a:pt x="72808" y="94305"/>
                    <a:pt x="72134" y="95398"/>
                    <a:pt x="70337" y="97858"/>
                  </a:cubicBezTo>
                  <a:cubicBezTo>
                    <a:pt x="69438" y="98678"/>
                    <a:pt x="69213" y="99498"/>
                    <a:pt x="68539" y="100592"/>
                  </a:cubicBezTo>
                  <a:cubicBezTo>
                    <a:pt x="67415" y="102232"/>
                    <a:pt x="67865" y="101958"/>
                    <a:pt x="66966" y="103872"/>
                  </a:cubicBezTo>
                  <a:cubicBezTo>
                    <a:pt x="66741" y="104419"/>
                    <a:pt x="66966" y="106332"/>
                    <a:pt x="66966" y="107152"/>
                  </a:cubicBezTo>
                  <a:cubicBezTo>
                    <a:pt x="64719" y="107425"/>
                    <a:pt x="64719" y="107425"/>
                    <a:pt x="64719" y="107425"/>
                  </a:cubicBezTo>
                  <a:cubicBezTo>
                    <a:pt x="60898" y="106059"/>
                    <a:pt x="60898" y="106059"/>
                    <a:pt x="60898" y="106059"/>
                  </a:cubicBezTo>
                  <a:cubicBezTo>
                    <a:pt x="58651" y="108519"/>
                    <a:pt x="58651" y="108519"/>
                    <a:pt x="58651" y="108519"/>
                  </a:cubicBezTo>
                  <a:cubicBezTo>
                    <a:pt x="57752" y="109339"/>
                    <a:pt x="56404" y="108792"/>
                    <a:pt x="55505" y="109612"/>
                  </a:cubicBezTo>
                  <a:cubicBezTo>
                    <a:pt x="55505" y="109612"/>
                    <a:pt x="54831" y="112072"/>
                    <a:pt x="54606" y="112619"/>
                  </a:cubicBezTo>
                  <a:cubicBezTo>
                    <a:pt x="54606" y="113439"/>
                    <a:pt x="53033" y="115626"/>
                    <a:pt x="53033" y="115626"/>
                  </a:cubicBezTo>
                  <a:cubicBezTo>
                    <a:pt x="52808" y="115899"/>
                    <a:pt x="51685" y="117266"/>
                    <a:pt x="51235" y="117539"/>
                  </a:cubicBezTo>
                  <a:cubicBezTo>
                    <a:pt x="50561" y="117813"/>
                    <a:pt x="50112" y="115626"/>
                    <a:pt x="49662" y="115626"/>
                  </a:cubicBezTo>
                  <a:cubicBezTo>
                    <a:pt x="48764" y="115626"/>
                    <a:pt x="48764" y="115353"/>
                    <a:pt x="47865" y="115079"/>
                  </a:cubicBezTo>
                  <a:cubicBezTo>
                    <a:pt x="46741" y="115079"/>
                    <a:pt x="46516" y="116993"/>
                    <a:pt x="45393" y="116993"/>
                  </a:cubicBezTo>
                  <a:cubicBezTo>
                    <a:pt x="43595" y="116719"/>
                    <a:pt x="40449" y="114533"/>
                    <a:pt x="40449" y="114533"/>
                  </a:cubicBezTo>
                  <a:cubicBezTo>
                    <a:pt x="39775" y="114259"/>
                    <a:pt x="39775" y="115353"/>
                    <a:pt x="39101" y="115353"/>
                  </a:cubicBezTo>
                  <a:cubicBezTo>
                    <a:pt x="37752" y="115079"/>
                    <a:pt x="35955" y="113986"/>
                    <a:pt x="34157" y="113439"/>
                  </a:cubicBezTo>
                  <a:cubicBezTo>
                    <a:pt x="32808" y="113166"/>
                    <a:pt x="30112" y="112619"/>
                    <a:pt x="30112" y="112619"/>
                  </a:cubicBezTo>
                  <a:cubicBezTo>
                    <a:pt x="29438" y="113166"/>
                    <a:pt x="28764" y="113166"/>
                    <a:pt x="28089" y="113439"/>
                  </a:cubicBezTo>
                  <a:cubicBezTo>
                    <a:pt x="27191" y="113986"/>
                    <a:pt x="26292" y="114806"/>
                    <a:pt x="25617" y="115079"/>
                  </a:cubicBezTo>
                  <a:cubicBezTo>
                    <a:pt x="24943" y="115353"/>
                    <a:pt x="23595" y="113986"/>
                    <a:pt x="21573" y="115353"/>
                  </a:cubicBezTo>
                  <a:cubicBezTo>
                    <a:pt x="20898" y="115626"/>
                    <a:pt x="20000" y="115353"/>
                    <a:pt x="19550" y="115899"/>
                  </a:cubicBezTo>
                  <a:cubicBezTo>
                    <a:pt x="18876" y="116719"/>
                    <a:pt x="18651" y="117813"/>
                    <a:pt x="17528" y="118359"/>
                  </a:cubicBezTo>
                  <a:cubicBezTo>
                    <a:pt x="16853" y="118633"/>
                    <a:pt x="15955" y="119726"/>
                    <a:pt x="15505" y="120000"/>
                  </a:cubicBezTo>
                  <a:cubicBezTo>
                    <a:pt x="14382" y="119179"/>
                    <a:pt x="12808" y="119179"/>
                    <a:pt x="12359" y="116993"/>
                  </a:cubicBezTo>
                  <a:cubicBezTo>
                    <a:pt x="12134" y="116173"/>
                    <a:pt x="11460" y="116993"/>
                    <a:pt x="11011" y="116173"/>
                  </a:cubicBezTo>
                  <a:cubicBezTo>
                    <a:pt x="10112" y="115079"/>
                    <a:pt x="9438" y="112619"/>
                    <a:pt x="9438" y="111526"/>
                  </a:cubicBezTo>
                  <a:cubicBezTo>
                    <a:pt x="9438" y="111526"/>
                    <a:pt x="10112" y="110432"/>
                    <a:pt x="9438" y="109339"/>
                  </a:cubicBezTo>
                  <a:cubicBezTo>
                    <a:pt x="8988" y="108246"/>
                    <a:pt x="8314" y="107972"/>
                    <a:pt x="8539" y="106879"/>
                  </a:cubicBezTo>
                  <a:cubicBezTo>
                    <a:pt x="9213" y="106879"/>
                    <a:pt x="8988" y="104965"/>
                    <a:pt x="8988" y="104965"/>
                  </a:cubicBezTo>
                  <a:cubicBezTo>
                    <a:pt x="8988" y="104419"/>
                    <a:pt x="7415" y="101138"/>
                    <a:pt x="6966" y="100592"/>
                  </a:cubicBezTo>
                  <a:cubicBezTo>
                    <a:pt x="5842" y="99772"/>
                    <a:pt x="4494" y="98678"/>
                    <a:pt x="3146" y="98405"/>
                  </a:cubicBezTo>
                  <a:cubicBezTo>
                    <a:pt x="0" y="97858"/>
                    <a:pt x="0" y="97858"/>
                    <a:pt x="0" y="97858"/>
                  </a:cubicBezTo>
                  <a:cubicBezTo>
                    <a:pt x="0" y="96765"/>
                    <a:pt x="0" y="96765"/>
                    <a:pt x="0" y="96765"/>
                  </a:cubicBezTo>
                  <a:cubicBezTo>
                    <a:pt x="0" y="96218"/>
                    <a:pt x="0" y="96218"/>
                    <a:pt x="0" y="96218"/>
                  </a:cubicBezTo>
                  <a:cubicBezTo>
                    <a:pt x="0" y="95945"/>
                    <a:pt x="0" y="95945"/>
                    <a:pt x="0" y="95945"/>
                  </a:cubicBezTo>
                  <a:cubicBezTo>
                    <a:pt x="224" y="95125"/>
                    <a:pt x="224" y="95125"/>
                    <a:pt x="224" y="95125"/>
                  </a:cubicBezTo>
                  <a:cubicBezTo>
                    <a:pt x="449" y="94578"/>
                    <a:pt x="449" y="94578"/>
                    <a:pt x="449" y="94578"/>
                  </a:cubicBezTo>
                  <a:cubicBezTo>
                    <a:pt x="224" y="94031"/>
                    <a:pt x="224" y="94031"/>
                    <a:pt x="224" y="94031"/>
                  </a:cubicBezTo>
                  <a:cubicBezTo>
                    <a:pt x="224" y="93485"/>
                    <a:pt x="224" y="93485"/>
                    <a:pt x="224" y="93485"/>
                  </a:cubicBezTo>
                  <a:cubicBezTo>
                    <a:pt x="224" y="92665"/>
                    <a:pt x="224" y="92665"/>
                    <a:pt x="224" y="92665"/>
                  </a:cubicBezTo>
                  <a:cubicBezTo>
                    <a:pt x="224" y="92665"/>
                    <a:pt x="0" y="92118"/>
                    <a:pt x="0" y="92118"/>
                  </a:cubicBezTo>
                  <a:cubicBezTo>
                    <a:pt x="0" y="92118"/>
                    <a:pt x="0" y="91571"/>
                    <a:pt x="0" y="91571"/>
                  </a:cubicBezTo>
                  <a:cubicBezTo>
                    <a:pt x="0" y="91571"/>
                    <a:pt x="449" y="91298"/>
                    <a:pt x="449" y="91298"/>
                  </a:cubicBezTo>
                  <a:cubicBezTo>
                    <a:pt x="449" y="91025"/>
                    <a:pt x="898" y="90751"/>
                    <a:pt x="898" y="90751"/>
                  </a:cubicBezTo>
                  <a:cubicBezTo>
                    <a:pt x="898" y="90751"/>
                    <a:pt x="1123" y="89931"/>
                    <a:pt x="1123" y="89658"/>
                  </a:cubicBezTo>
                  <a:cubicBezTo>
                    <a:pt x="1123" y="89658"/>
                    <a:pt x="1348" y="89384"/>
                    <a:pt x="1348" y="89384"/>
                  </a:cubicBezTo>
                  <a:cubicBezTo>
                    <a:pt x="2022" y="89111"/>
                    <a:pt x="2022" y="89111"/>
                    <a:pt x="2022" y="89111"/>
                  </a:cubicBezTo>
                  <a:cubicBezTo>
                    <a:pt x="2471" y="88564"/>
                    <a:pt x="2471" y="88564"/>
                    <a:pt x="2471" y="88564"/>
                  </a:cubicBezTo>
                  <a:cubicBezTo>
                    <a:pt x="2921" y="88291"/>
                    <a:pt x="2921" y="88291"/>
                    <a:pt x="2921" y="88291"/>
                  </a:cubicBezTo>
                  <a:cubicBezTo>
                    <a:pt x="3370" y="87744"/>
                    <a:pt x="3370" y="87744"/>
                    <a:pt x="3370" y="87744"/>
                  </a:cubicBezTo>
                  <a:cubicBezTo>
                    <a:pt x="3595" y="86651"/>
                    <a:pt x="3595" y="86651"/>
                    <a:pt x="3595" y="86651"/>
                  </a:cubicBezTo>
                  <a:cubicBezTo>
                    <a:pt x="3820" y="86378"/>
                    <a:pt x="3820" y="86378"/>
                    <a:pt x="3820" y="86378"/>
                  </a:cubicBezTo>
                  <a:cubicBezTo>
                    <a:pt x="3820" y="86378"/>
                    <a:pt x="4494" y="86378"/>
                    <a:pt x="4494" y="86378"/>
                  </a:cubicBezTo>
                  <a:cubicBezTo>
                    <a:pt x="4494" y="86378"/>
                    <a:pt x="4943" y="86378"/>
                    <a:pt x="4943" y="86378"/>
                  </a:cubicBezTo>
                  <a:cubicBezTo>
                    <a:pt x="4943" y="86104"/>
                    <a:pt x="4943" y="86104"/>
                    <a:pt x="4943" y="86104"/>
                  </a:cubicBezTo>
                  <a:cubicBezTo>
                    <a:pt x="5393" y="85831"/>
                    <a:pt x="5393" y="85831"/>
                    <a:pt x="5393" y="85831"/>
                  </a:cubicBezTo>
                  <a:cubicBezTo>
                    <a:pt x="5842" y="86378"/>
                    <a:pt x="5842" y="86378"/>
                    <a:pt x="5842" y="86378"/>
                  </a:cubicBezTo>
                  <a:cubicBezTo>
                    <a:pt x="5842" y="86378"/>
                    <a:pt x="6067" y="86378"/>
                    <a:pt x="6292" y="86378"/>
                  </a:cubicBezTo>
                  <a:cubicBezTo>
                    <a:pt x="6292" y="86378"/>
                    <a:pt x="6516" y="86378"/>
                    <a:pt x="6516" y="86378"/>
                  </a:cubicBezTo>
                  <a:cubicBezTo>
                    <a:pt x="6516" y="85558"/>
                    <a:pt x="6516" y="85558"/>
                    <a:pt x="6516" y="85558"/>
                  </a:cubicBezTo>
                  <a:cubicBezTo>
                    <a:pt x="7415" y="84464"/>
                    <a:pt x="7415" y="84464"/>
                    <a:pt x="7415" y="84464"/>
                  </a:cubicBezTo>
                  <a:cubicBezTo>
                    <a:pt x="7415" y="84464"/>
                    <a:pt x="7415" y="84191"/>
                    <a:pt x="7415" y="84191"/>
                  </a:cubicBezTo>
                  <a:cubicBezTo>
                    <a:pt x="7415" y="84191"/>
                    <a:pt x="7415" y="83917"/>
                    <a:pt x="7415" y="83917"/>
                  </a:cubicBezTo>
                  <a:cubicBezTo>
                    <a:pt x="7191" y="83644"/>
                    <a:pt x="6966" y="83917"/>
                    <a:pt x="6966" y="83917"/>
                  </a:cubicBezTo>
                  <a:cubicBezTo>
                    <a:pt x="6966" y="83917"/>
                    <a:pt x="6516" y="83917"/>
                    <a:pt x="6516" y="83917"/>
                  </a:cubicBezTo>
                  <a:cubicBezTo>
                    <a:pt x="6516" y="83917"/>
                    <a:pt x="6067" y="83917"/>
                    <a:pt x="5842" y="83917"/>
                  </a:cubicBezTo>
                  <a:cubicBezTo>
                    <a:pt x="5842" y="83917"/>
                    <a:pt x="5842" y="83644"/>
                    <a:pt x="5842" y="83644"/>
                  </a:cubicBezTo>
                  <a:cubicBezTo>
                    <a:pt x="5617" y="83097"/>
                    <a:pt x="5617" y="83097"/>
                    <a:pt x="5617" y="83097"/>
                  </a:cubicBezTo>
                  <a:cubicBezTo>
                    <a:pt x="5617" y="83097"/>
                    <a:pt x="5393" y="82551"/>
                    <a:pt x="5393" y="82277"/>
                  </a:cubicBezTo>
                  <a:cubicBezTo>
                    <a:pt x="5393" y="82004"/>
                    <a:pt x="5393" y="81731"/>
                    <a:pt x="5393" y="81457"/>
                  </a:cubicBezTo>
                  <a:cubicBezTo>
                    <a:pt x="5393" y="81457"/>
                    <a:pt x="5168" y="81184"/>
                    <a:pt x="5168" y="81184"/>
                  </a:cubicBezTo>
                  <a:cubicBezTo>
                    <a:pt x="5168" y="81184"/>
                    <a:pt x="4943" y="80911"/>
                    <a:pt x="4943" y="80637"/>
                  </a:cubicBezTo>
                  <a:cubicBezTo>
                    <a:pt x="4943" y="80637"/>
                    <a:pt x="4719" y="79817"/>
                    <a:pt x="4719" y="79817"/>
                  </a:cubicBezTo>
                  <a:cubicBezTo>
                    <a:pt x="4494" y="79544"/>
                    <a:pt x="4494" y="79544"/>
                    <a:pt x="4494" y="79544"/>
                  </a:cubicBezTo>
                  <a:cubicBezTo>
                    <a:pt x="4719" y="79271"/>
                    <a:pt x="4719" y="79271"/>
                    <a:pt x="4719" y="79271"/>
                  </a:cubicBezTo>
                  <a:cubicBezTo>
                    <a:pt x="4494" y="78724"/>
                    <a:pt x="4494" y="78724"/>
                    <a:pt x="4494" y="78724"/>
                  </a:cubicBezTo>
                  <a:cubicBezTo>
                    <a:pt x="4943" y="78724"/>
                    <a:pt x="4943" y="78724"/>
                    <a:pt x="4943" y="78724"/>
                  </a:cubicBezTo>
                  <a:cubicBezTo>
                    <a:pt x="4719" y="78451"/>
                    <a:pt x="4719" y="78451"/>
                    <a:pt x="4719" y="78451"/>
                  </a:cubicBezTo>
                  <a:cubicBezTo>
                    <a:pt x="4943" y="77904"/>
                    <a:pt x="4943" y="77904"/>
                    <a:pt x="4943" y="77904"/>
                  </a:cubicBezTo>
                  <a:cubicBezTo>
                    <a:pt x="4943" y="77904"/>
                    <a:pt x="5393" y="77630"/>
                    <a:pt x="5393" y="77630"/>
                  </a:cubicBezTo>
                  <a:cubicBezTo>
                    <a:pt x="5393" y="77630"/>
                    <a:pt x="5842" y="77084"/>
                    <a:pt x="5842" y="77084"/>
                  </a:cubicBezTo>
                  <a:cubicBezTo>
                    <a:pt x="5842" y="77084"/>
                    <a:pt x="5617" y="76810"/>
                    <a:pt x="5617" y="76810"/>
                  </a:cubicBezTo>
                  <a:cubicBezTo>
                    <a:pt x="5617" y="76810"/>
                    <a:pt x="5617" y="76264"/>
                    <a:pt x="5617" y="76264"/>
                  </a:cubicBezTo>
                  <a:cubicBezTo>
                    <a:pt x="6067" y="75170"/>
                    <a:pt x="6067" y="75170"/>
                    <a:pt x="6067" y="75170"/>
                  </a:cubicBezTo>
                  <a:cubicBezTo>
                    <a:pt x="6292" y="75170"/>
                    <a:pt x="6292" y="75170"/>
                    <a:pt x="6292" y="75170"/>
                  </a:cubicBezTo>
                  <a:cubicBezTo>
                    <a:pt x="6966" y="74897"/>
                    <a:pt x="6966" y="74897"/>
                    <a:pt x="6966" y="74897"/>
                  </a:cubicBezTo>
                  <a:cubicBezTo>
                    <a:pt x="7191" y="74624"/>
                    <a:pt x="7191" y="74624"/>
                    <a:pt x="7191" y="74624"/>
                  </a:cubicBezTo>
                  <a:cubicBezTo>
                    <a:pt x="7415" y="74624"/>
                    <a:pt x="7415" y="74624"/>
                    <a:pt x="7415" y="74624"/>
                  </a:cubicBezTo>
                  <a:cubicBezTo>
                    <a:pt x="7865" y="74350"/>
                    <a:pt x="7865" y="74350"/>
                    <a:pt x="7865" y="74350"/>
                  </a:cubicBezTo>
                  <a:cubicBezTo>
                    <a:pt x="8314" y="74077"/>
                    <a:pt x="8314" y="74077"/>
                    <a:pt x="8314" y="74077"/>
                  </a:cubicBezTo>
                  <a:cubicBezTo>
                    <a:pt x="8539" y="73804"/>
                    <a:pt x="8539" y="73804"/>
                    <a:pt x="8539" y="73804"/>
                  </a:cubicBezTo>
                  <a:cubicBezTo>
                    <a:pt x="8539" y="73257"/>
                    <a:pt x="8539" y="73257"/>
                    <a:pt x="8539" y="73257"/>
                  </a:cubicBezTo>
                  <a:cubicBezTo>
                    <a:pt x="8764" y="72984"/>
                    <a:pt x="8764" y="72984"/>
                    <a:pt x="8764" y="72984"/>
                  </a:cubicBezTo>
                  <a:cubicBezTo>
                    <a:pt x="9213" y="72437"/>
                    <a:pt x="9213" y="72437"/>
                    <a:pt x="9213" y="72437"/>
                  </a:cubicBezTo>
                  <a:cubicBezTo>
                    <a:pt x="9662" y="71890"/>
                    <a:pt x="9662" y="71890"/>
                    <a:pt x="9662" y="71890"/>
                  </a:cubicBezTo>
                  <a:cubicBezTo>
                    <a:pt x="9662" y="71343"/>
                    <a:pt x="9662" y="71343"/>
                    <a:pt x="9662" y="71343"/>
                  </a:cubicBezTo>
                  <a:cubicBezTo>
                    <a:pt x="9438" y="71070"/>
                    <a:pt x="9438" y="71070"/>
                    <a:pt x="9438" y="71070"/>
                  </a:cubicBezTo>
                  <a:cubicBezTo>
                    <a:pt x="9438" y="71070"/>
                    <a:pt x="9213" y="70523"/>
                    <a:pt x="9213" y="70250"/>
                  </a:cubicBezTo>
                  <a:cubicBezTo>
                    <a:pt x="9213" y="70250"/>
                    <a:pt x="8988" y="70250"/>
                    <a:pt x="8988" y="70250"/>
                  </a:cubicBezTo>
                  <a:cubicBezTo>
                    <a:pt x="8539" y="70523"/>
                    <a:pt x="8539" y="70523"/>
                    <a:pt x="8539" y="70523"/>
                  </a:cubicBezTo>
                  <a:cubicBezTo>
                    <a:pt x="8539" y="70523"/>
                    <a:pt x="8314" y="70250"/>
                    <a:pt x="8089" y="70250"/>
                  </a:cubicBezTo>
                  <a:cubicBezTo>
                    <a:pt x="8089" y="70250"/>
                    <a:pt x="8089" y="69977"/>
                    <a:pt x="8089" y="69977"/>
                  </a:cubicBezTo>
                  <a:cubicBezTo>
                    <a:pt x="8314" y="69703"/>
                    <a:pt x="8314" y="69703"/>
                    <a:pt x="8314" y="69703"/>
                  </a:cubicBezTo>
                  <a:cubicBezTo>
                    <a:pt x="8314" y="69157"/>
                    <a:pt x="8314" y="69157"/>
                    <a:pt x="8314" y="69157"/>
                  </a:cubicBezTo>
                  <a:cubicBezTo>
                    <a:pt x="7865" y="69157"/>
                    <a:pt x="7865" y="69157"/>
                    <a:pt x="7865" y="69157"/>
                  </a:cubicBezTo>
                  <a:cubicBezTo>
                    <a:pt x="7640" y="68610"/>
                    <a:pt x="7640" y="68610"/>
                    <a:pt x="7640" y="68610"/>
                  </a:cubicBezTo>
                  <a:cubicBezTo>
                    <a:pt x="7415" y="68063"/>
                    <a:pt x="7415" y="68063"/>
                    <a:pt x="7415" y="68063"/>
                  </a:cubicBezTo>
                  <a:cubicBezTo>
                    <a:pt x="7415" y="67517"/>
                    <a:pt x="7415" y="67517"/>
                    <a:pt x="7415" y="67517"/>
                  </a:cubicBezTo>
                  <a:cubicBezTo>
                    <a:pt x="7640" y="67243"/>
                    <a:pt x="7640" y="67243"/>
                    <a:pt x="7640" y="67243"/>
                  </a:cubicBezTo>
                  <a:cubicBezTo>
                    <a:pt x="7640" y="66970"/>
                    <a:pt x="7640" y="66970"/>
                    <a:pt x="7640" y="66970"/>
                  </a:cubicBezTo>
                  <a:cubicBezTo>
                    <a:pt x="7415" y="66697"/>
                    <a:pt x="7415" y="66697"/>
                    <a:pt x="7415" y="66697"/>
                  </a:cubicBezTo>
                  <a:cubicBezTo>
                    <a:pt x="7415" y="66150"/>
                    <a:pt x="7415" y="66150"/>
                    <a:pt x="7415" y="66150"/>
                  </a:cubicBezTo>
                  <a:cubicBezTo>
                    <a:pt x="7191" y="65603"/>
                    <a:pt x="7191" y="65603"/>
                    <a:pt x="7191" y="65603"/>
                  </a:cubicBezTo>
                  <a:cubicBezTo>
                    <a:pt x="7415" y="65330"/>
                    <a:pt x="7415" y="65330"/>
                    <a:pt x="7415" y="65330"/>
                  </a:cubicBezTo>
                  <a:cubicBezTo>
                    <a:pt x="7640" y="65056"/>
                    <a:pt x="7640" y="65056"/>
                    <a:pt x="7640" y="65056"/>
                  </a:cubicBezTo>
                  <a:cubicBezTo>
                    <a:pt x="7640" y="64510"/>
                    <a:pt x="7640" y="64510"/>
                    <a:pt x="7640" y="64510"/>
                  </a:cubicBezTo>
                  <a:cubicBezTo>
                    <a:pt x="7640" y="64510"/>
                    <a:pt x="7191" y="64236"/>
                    <a:pt x="7191" y="64236"/>
                  </a:cubicBezTo>
                  <a:cubicBezTo>
                    <a:pt x="7191" y="64236"/>
                    <a:pt x="6966" y="63690"/>
                    <a:pt x="6966" y="63690"/>
                  </a:cubicBezTo>
                  <a:cubicBezTo>
                    <a:pt x="6966" y="63416"/>
                    <a:pt x="6966" y="63416"/>
                    <a:pt x="6966" y="63416"/>
                  </a:cubicBezTo>
                  <a:cubicBezTo>
                    <a:pt x="6966" y="63416"/>
                    <a:pt x="6516" y="62870"/>
                    <a:pt x="6516" y="62870"/>
                  </a:cubicBezTo>
                  <a:cubicBezTo>
                    <a:pt x="6516" y="62870"/>
                    <a:pt x="6516" y="62323"/>
                    <a:pt x="6516" y="62323"/>
                  </a:cubicBezTo>
                  <a:cubicBezTo>
                    <a:pt x="6516" y="62323"/>
                    <a:pt x="6292" y="61776"/>
                    <a:pt x="6292" y="61776"/>
                  </a:cubicBezTo>
                  <a:cubicBezTo>
                    <a:pt x="6067" y="61503"/>
                    <a:pt x="6067" y="61230"/>
                    <a:pt x="6067" y="61230"/>
                  </a:cubicBezTo>
                  <a:cubicBezTo>
                    <a:pt x="6516" y="61230"/>
                    <a:pt x="6516" y="61230"/>
                    <a:pt x="6516" y="61230"/>
                  </a:cubicBezTo>
                  <a:cubicBezTo>
                    <a:pt x="6966" y="61230"/>
                    <a:pt x="6966" y="61230"/>
                    <a:pt x="6966" y="61230"/>
                  </a:cubicBezTo>
                  <a:cubicBezTo>
                    <a:pt x="7191" y="61776"/>
                    <a:pt x="7191" y="61776"/>
                    <a:pt x="7191" y="61776"/>
                  </a:cubicBezTo>
                  <a:cubicBezTo>
                    <a:pt x="7415" y="61503"/>
                    <a:pt x="7415" y="61503"/>
                    <a:pt x="7415" y="61503"/>
                  </a:cubicBezTo>
                  <a:cubicBezTo>
                    <a:pt x="7415" y="61776"/>
                    <a:pt x="7415" y="61776"/>
                    <a:pt x="7415" y="61776"/>
                  </a:cubicBezTo>
                  <a:cubicBezTo>
                    <a:pt x="7865" y="61776"/>
                    <a:pt x="7865" y="61776"/>
                    <a:pt x="7865" y="61776"/>
                  </a:cubicBezTo>
                  <a:cubicBezTo>
                    <a:pt x="8539" y="61776"/>
                    <a:pt x="8539" y="61776"/>
                    <a:pt x="8539" y="61776"/>
                  </a:cubicBezTo>
                  <a:cubicBezTo>
                    <a:pt x="8988" y="61776"/>
                    <a:pt x="8988" y="61776"/>
                    <a:pt x="8988" y="61776"/>
                  </a:cubicBezTo>
                  <a:cubicBezTo>
                    <a:pt x="9213" y="61776"/>
                    <a:pt x="9213" y="61776"/>
                    <a:pt x="9213" y="61776"/>
                  </a:cubicBezTo>
                  <a:cubicBezTo>
                    <a:pt x="9213" y="61776"/>
                    <a:pt x="9438" y="62050"/>
                    <a:pt x="9438" y="62050"/>
                  </a:cubicBezTo>
                  <a:cubicBezTo>
                    <a:pt x="9662" y="62323"/>
                    <a:pt x="9887" y="62050"/>
                    <a:pt x="9887" y="62050"/>
                  </a:cubicBezTo>
                  <a:cubicBezTo>
                    <a:pt x="9887" y="62323"/>
                    <a:pt x="10337" y="62323"/>
                    <a:pt x="10337" y="62323"/>
                  </a:cubicBezTo>
                  <a:cubicBezTo>
                    <a:pt x="10337" y="62323"/>
                    <a:pt x="10561" y="62050"/>
                    <a:pt x="10786" y="62050"/>
                  </a:cubicBezTo>
                  <a:cubicBezTo>
                    <a:pt x="10786" y="62050"/>
                    <a:pt x="11011" y="62050"/>
                    <a:pt x="11011" y="62050"/>
                  </a:cubicBezTo>
                  <a:cubicBezTo>
                    <a:pt x="11235" y="61776"/>
                    <a:pt x="11235" y="61776"/>
                    <a:pt x="11235" y="61776"/>
                  </a:cubicBezTo>
                  <a:cubicBezTo>
                    <a:pt x="11235" y="61230"/>
                    <a:pt x="11235" y="61230"/>
                    <a:pt x="11235" y="61230"/>
                  </a:cubicBezTo>
                  <a:cubicBezTo>
                    <a:pt x="11460" y="61230"/>
                    <a:pt x="11460" y="61230"/>
                    <a:pt x="11460" y="61230"/>
                  </a:cubicBezTo>
                  <a:cubicBezTo>
                    <a:pt x="11460" y="60956"/>
                    <a:pt x="11460" y="60956"/>
                    <a:pt x="11460" y="60956"/>
                  </a:cubicBezTo>
                  <a:cubicBezTo>
                    <a:pt x="11685" y="60410"/>
                    <a:pt x="11685" y="60410"/>
                    <a:pt x="11685" y="60410"/>
                  </a:cubicBezTo>
                  <a:cubicBezTo>
                    <a:pt x="11685" y="60136"/>
                    <a:pt x="11685" y="60136"/>
                    <a:pt x="11685" y="60136"/>
                  </a:cubicBezTo>
                  <a:cubicBezTo>
                    <a:pt x="12134" y="60136"/>
                    <a:pt x="12134" y="60136"/>
                    <a:pt x="12134" y="60136"/>
                  </a:cubicBezTo>
                  <a:cubicBezTo>
                    <a:pt x="12359" y="59863"/>
                    <a:pt x="12359" y="59863"/>
                    <a:pt x="12359" y="59863"/>
                  </a:cubicBezTo>
                  <a:cubicBezTo>
                    <a:pt x="12584" y="59316"/>
                    <a:pt x="12584" y="59316"/>
                    <a:pt x="12584" y="59316"/>
                  </a:cubicBezTo>
                  <a:cubicBezTo>
                    <a:pt x="12808" y="58769"/>
                    <a:pt x="12808" y="58769"/>
                    <a:pt x="12808" y="58769"/>
                  </a:cubicBezTo>
                  <a:cubicBezTo>
                    <a:pt x="12808" y="58769"/>
                    <a:pt x="13033" y="58223"/>
                    <a:pt x="13033" y="58223"/>
                  </a:cubicBezTo>
                  <a:cubicBezTo>
                    <a:pt x="13033" y="58223"/>
                    <a:pt x="13258" y="57676"/>
                    <a:pt x="13258" y="57676"/>
                  </a:cubicBezTo>
                  <a:cubicBezTo>
                    <a:pt x="13033" y="56856"/>
                    <a:pt x="13033" y="56856"/>
                    <a:pt x="13033" y="56856"/>
                  </a:cubicBezTo>
                  <a:cubicBezTo>
                    <a:pt x="12808" y="56309"/>
                    <a:pt x="12808" y="56309"/>
                    <a:pt x="12808" y="56309"/>
                  </a:cubicBezTo>
                  <a:cubicBezTo>
                    <a:pt x="12584" y="55763"/>
                    <a:pt x="12584" y="55763"/>
                    <a:pt x="12584" y="55763"/>
                  </a:cubicBezTo>
                  <a:cubicBezTo>
                    <a:pt x="12584" y="55763"/>
                    <a:pt x="12584" y="55489"/>
                    <a:pt x="12359" y="55489"/>
                  </a:cubicBezTo>
                  <a:cubicBezTo>
                    <a:pt x="12359" y="55489"/>
                    <a:pt x="12359" y="55216"/>
                    <a:pt x="12359" y="55216"/>
                  </a:cubicBezTo>
                  <a:cubicBezTo>
                    <a:pt x="12359" y="54669"/>
                    <a:pt x="12359" y="54669"/>
                    <a:pt x="12359" y="54669"/>
                  </a:cubicBezTo>
                  <a:cubicBezTo>
                    <a:pt x="12584" y="54396"/>
                    <a:pt x="12584" y="54396"/>
                    <a:pt x="12584" y="54396"/>
                  </a:cubicBezTo>
                  <a:cubicBezTo>
                    <a:pt x="12808" y="54396"/>
                    <a:pt x="12808" y="54396"/>
                    <a:pt x="12808" y="54396"/>
                  </a:cubicBezTo>
                  <a:cubicBezTo>
                    <a:pt x="13258" y="53849"/>
                    <a:pt x="13258" y="53849"/>
                    <a:pt x="13258" y="53849"/>
                  </a:cubicBezTo>
                  <a:cubicBezTo>
                    <a:pt x="13483" y="53849"/>
                    <a:pt x="13483" y="53849"/>
                    <a:pt x="13483" y="53849"/>
                  </a:cubicBezTo>
                  <a:cubicBezTo>
                    <a:pt x="13932" y="53849"/>
                    <a:pt x="13932" y="53849"/>
                    <a:pt x="13932" y="53849"/>
                  </a:cubicBezTo>
                  <a:cubicBezTo>
                    <a:pt x="14382" y="53302"/>
                    <a:pt x="14382" y="53302"/>
                    <a:pt x="14382" y="53302"/>
                  </a:cubicBezTo>
                  <a:cubicBezTo>
                    <a:pt x="14606" y="53302"/>
                    <a:pt x="14606" y="53302"/>
                    <a:pt x="14606" y="53302"/>
                  </a:cubicBezTo>
                  <a:cubicBezTo>
                    <a:pt x="14831" y="53029"/>
                    <a:pt x="14831" y="53029"/>
                    <a:pt x="14831" y="53029"/>
                  </a:cubicBezTo>
                  <a:cubicBezTo>
                    <a:pt x="15056" y="52482"/>
                    <a:pt x="15056" y="52482"/>
                    <a:pt x="15056" y="52482"/>
                  </a:cubicBezTo>
                  <a:cubicBezTo>
                    <a:pt x="14831" y="51936"/>
                    <a:pt x="14831" y="51936"/>
                    <a:pt x="14831" y="51936"/>
                  </a:cubicBezTo>
                  <a:cubicBezTo>
                    <a:pt x="14606" y="51662"/>
                    <a:pt x="14606" y="51662"/>
                    <a:pt x="14606" y="51662"/>
                  </a:cubicBezTo>
                  <a:cubicBezTo>
                    <a:pt x="14831" y="50842"/>
                    <a:pt x="14831" y="50842"/>
                    <a:pt x="14831" y="50842"/>
                  </a:cubicBezTo>
                  <a:cubicBezTo>
                    <a:pt x="15280" y="50569"/>
                    <a:pt x="15280" y="50569"/>
                    <a:pt x="15280" y="50569"/>
                  </a:cubicBezTo>
                  <a:cubicBezTo>
                    <a:pt x="15280" y="49749"/>
                    <a:pt x="15280" y="49749"/>
                    <a:pt x="15280" y="49749"/>
                  </a:cubicBezTo>
                  <a:cubicBezTo>
                    <a:pt x="15056" y="49476"/>
                    <a:pt x="15056" y="49476"/>
                    <a:pt x="15056" y="49476"/>
                  </a:cubicBezTo>
                  <a:cubicBezTo>
                    <a:pt x="15280" y="48929"/>
                    <a:pt x="15280" y="48929"/>
                    <a:pt x="15280" y="48929"/>
                  </a:cubicBezTo>
                  <a:cubicBezTo>
                    <a:pt x="15505" y="48656"/>
                    <a:pt x="15505" y="48656"/>
                    <a:pt x="15505" y="48656"/>
                  </a:cubicBezTo>
                  <a:cubicBezTo>
                    <a:pt x="15505" y="48656"/>
                    <a:pt x="15730" y="48109"/>
                    <a:pt x="15730" y="47835"/>
                  </a:cubicBezTo>
                  <a:cubicBezTo>
                    <a:pt x="15955" y="47835"/>
                    <a:pt x="15955" y="47015"/>
                    <a:pt x="15955" y="47015"/>
                  </a:cubicBezTo>
                  <a:cubicBezTo>
                    <a:pt x="15730" y="46469"/>
                    <a:pt x="15730" y="46469"/>
                    <a:pt x="15730" y="46469"/>
                  </a:cubicBezTo>
                  <a:cubicBezTo>
                    <a:pt x="15730" y="46195"/>
                    <a:pt x="15730" y="46195"/>
                    <a:pt x="15730" y="46195"/>
                  </a:cubicBezTo>
                  <a:cubicBezTo>
                    <a:pt x="15730" y="46195"/>
                    <a:pt x="16179" y="45922"/>
                    <a:pt x="16179" y="45922"/>
                  </a:cubicBezTo>
                  <a:cubicBezTo>
                    <a:pt x="16404" y="45922"/>
                    <a:pt x="16404" y="45102"/>
                    <a:pt x="16404" y="45102"/>
                  </a:cubicBezTo>
                  <a:cubicBezTo>
                    <a:pt x="15955" y="44829"/>
                    <a:pt x="15955" y="44829"/>
                    <a:pt x="15955" y="44829"/>
                  </a:cubicBezTo>
                  <a:cubicBezTo>
                    <a:pt x="15955" y="44829"/>
                    <a:pt x="15955" y="44282"/>
                    <a:pt x="15955" y="44009"/>
                  </a:cubicBezTo>
                  <a:cubicBezTo>
                    <a:pt x="15955" y="44009"/>
                    <a:pt x="15955" y="43462"/>
                    <a:pt x="15955" y="43462"/>
                  </a:cubicBezTo>
                  <a:cubicBezTo>
                    <a:pt x="15730" y="43462"/>
                    <a:pt x="15730" y="43462"/>
                    <a:pt x="15730" y="43462"/>
                  </a:cubicBezTo>
                  <a:cubicBezTo>
                    <a:pt x="15730" y="42915"/>
                    <a:pt x="15730" y="42915"/>
                    <a:pt x="15730" y="42915"/>
                  </a:cubicBezTo>
                  <a:cubicBezTo>
                    <a:pt x="15955" y="42642"/>
                    <a:pt x="15955" y="42642"/>
                    <a:pt x="15955" y="42642"/>
                  </a:cubicBezTo>
                  <a:cubicBezTo>
                    <a:pt x="16404" y="42915"/>
                    <a:pt x="16404" y="42915"/>
                    <a:pt x="16404" y="42915"/>
                  </a:cubicBezTo>
                  <a:cubicBezTo>
                    <a:pt x="16404" y="42915"/>
                    <a:pt x="16629" y="42642"/>
                    <a:pt x="16853" y="42642"/>
                  </a:cubicBezTo>
                  <a:cubicBezTo>
                    <a:pt x="16853" y="42369"/>
                    <a:pt x="17303" y="42369"/>
                    <a:pt x="17303" y="42369"/>
                  </a:cubicBezTo>
                  <a:cubicBezTo>
                    <a:pt x="17528" y="41548"/>
                    <a:pt x="17528" y="41548"/>
                    <a:pt x="17528" y="41548"/>
                  </a:cubicBezTo>
                  <a:cubicBezTo>
                    <a:pt x="18426" y="41002"/>
                    <a:pt x="18426" y="41002"/>
                    <a:pt x="18426" y="41002"/>
                  </a:cubicBezTo>
                  <a:cubicBezTo>
                    <a:pt x="18426" y="40728"/>
                    <a:pt x="18426" y="40728"/>
                    <a:pt x="18426" y="40728"/>
                  </a:cubicBezTo>
                  <a:cubicBezTo>
                    <a:pt x="19101" y="40455"/>
                    <a:pt x="19101" y="40455"/>
                    <a:pt x="19101" y="40455"/>
                  </a:cubicBezTo>
                  <a:cubicBezTo>
                    <a:pt x="19550" y="40728"/>
                    <a:pt x="19550" y="40728"/>
                    <a:pt x="19550" y="40728"/>
                  </a:cubicBezTo>
                  <a:cubicBezTo>
                    <a:pt x="20000" y="40182"/>
                    <a:pt x="20000" y="40182"/>
                    <a:pt x="20000" y="40182"/>
                  </a:cubicBezTo>
                  <a:cubicBezTo>
                    <a:pt x="20224" y="40182"/>
                    <a:pt x="20224" y="40182"/>
                    <a:pt x="20224" y="40182"/>
                  </a:cubicBezTo>
                  <a:cubicBezTo>
                    <a:pt x="20674" y="39908"/>
                    <a:pt x="20674" y="39908"/>
                    <a:pt x="20674" y="39908"/>
                  </a:cubicBezTo>
                  <a:cubicBezTo>
                    <a:pt x="21123" y="39635"/>
                    <a:pt x="21123" y="39635"/>
                    <a:pt x="21123" y="39635"/>
                  </a:cubicBezTo>
                  <a:cubicBezTo>
                    <a:pt x="21797" y="38815"/>
                    <a:pt x="21797" y="38815"/>
                    <a:pt x="21797" y="38815"/>
                  </a:cubicBezTo>
                  <a:cubicBezTo>
                    <a:pt x="22022" y="38815"/>
                    <a:pt x="22022" y="38815"/>
                    <a:pt x="22022" y="38815"/>
                  </a:cubicBezTo>
                  <a:cubicBezTo>
                    <a:pt x="22022" y="38815"/>
                    <a:pt x="22471" y="38542"/>
                    <a:pt x="22471" y="38542"/>
                  </a:cubicBezTo>
                  <a:cubicBezTo>
                    <a:pt x="22471" y="38542"/>
                    <a:pt x="22696" y="37995"/>
                    <a:pt x="22696" y="37995"/>
                  </a:cubicBezTo>
                  <a:cubicBezTo>
                    <a:pt x="23146" y="37722"/>
                    <a:pt x="23146" y="37722"/>
                    <a:pt x="23146" y="37722"/>
                  </a:cubicBezTo>
                  <a:cubicBezTo>
                    <a:pt x="23595" y="36902"/>
                    <a:pt x="23595" y="36902"/>
                    <a:pt x="23595" y="36902"/>
                  </a:cubicBezTo>
                  <a:cubicBezTo>
                    <a:pt x="24044" y="36355"/>
                    <a:pt x="24044" y="36355"/>
                    <a:pt x="24044" y="36355"/>
                  </a:cubicBezTo>
                  <a:cubicBezTo>
                    <a:pt x="23595" y="35535"/>
                    <a:pt x="23595" y="35535"/>
                    <a:pt x="23595" y="35535"/>
                  </a:cubicBezTo>
                  <a:cubicBezTo>
                    <a:pt x="23595" y="35535"/>
                    <a:pt x="23146" y="34988"/>
                    <a:pt x="22921" y="34988"/>
                  </a:cubicBezTo>
                  <a:cubicBezTo>
                    <a:pt x="22921" y="34715"/>
                    <a:pt x="22471" y="34441"/>
                    <a:pt x="22471" y="34441"/>
                  </a:cubicBezTo>
                  <a:cubicBezTo>
                    <a:pt x="22471" y="34441"/>
                    <a:pt x="21797" y="34168"/>
                    <a:pt x="21797" y="34168"/>
                  </a:cubicBezTo>
                  <a:cubicBezTo>
                    <a:pt x="21797" y="34168"/>
                    <a:pt x="21348" y="34441"/>
                    <a:pt x="21348" y="34441"/>
                  </a:cubicBezTo>
                  <a:cubicBezTo>
                    <a:pt x="21123" y="34168"/>
                    <a:pt x="21123" y="34168"/>
                    <a:pt x="21123" y="34168"/>
                  </a:cubicBezTo>
                  <a:cubicBezTo>
                    <a:pt x="21123" y="34168"/>
                    <a:pt x="20898" y="33621"/>
                    <a:pt x="21123" y="33621"/>
                  </a:cubicBezTo>
                  <a:cubicBezTo>
                    <a:pt x="21123" y="33621"/>
                    <a:pt x="21123" y="33348"/>
                    <a:pt x="21123" y="33348"/>
                  </a:cubicBezTo>
                  <a:cubicBezTo>
                    <a:pt x="21123" y="33075"/>
                    <a:pt x="21123" y="33075"/>
                    <a:pt x="21123" y="33075"/>
                  </a:cubicBezTo>
                  <a:cubicBezTo>
                    <a:pt x="21123" y="32801"/>
                    <a:pt x="21123" y="32801"/>
                    <a:pt x="21123" y="32801"/>
                  </a:cubicBezTo>
                  <a:cubicBezTo>
                    <a:pt x="21348" y="32528"/>
                    <a:pt x="21348" y="32528"/>
                    <a:pt x="21348" y="32528"/>
                  </a:cubicBezTo>
                  <a:cubicBezTo>
                    <a:pt x="21348" y="32528"/>
                    <a:pt x="21573" y="32255"/>
                    <a:pt x="21573" y="31981"/>
                  </a:cubicBezTo>
                  <a:cubicBezTo>
                    <a:pt x="21573" y="31981"/>
                    <a:pt x="21797" y="31435"/>
                    <a:pt x="21797" y="31435"/>
                  </a:cubicBezTo>
                  <a:cubicBezTo>
                    <a:pt x="21797" y="31435"/>
                    <a:pt x="21573" y="31161"/>
                    <a:pt x="21573" y="30888"/>
                  </a:cubicBezTo>
                  <a:cubicBezTo>
                    <a:pt x="21348" y="30888"/>
                    <a:pt x="21348" y="30888"/>
                    <a:pt x="21573" y="30615"/>
                  </a:cubicBezTo>
                  <a:cubicBezTo>
                    <a:pt x="21573" y="30615"/>
                    <a:pt x="21573" y="30341"/>
                    <a:pt x="21573" y="30341"/>
                  </a:cubicBezTo>
                  <a:cubicBezTo>
                    <a:pt x="21573" y="30341"/>
                    <a:pt x="21573" y="29794"/>
                    <a:pt x="21348" y="29794"/>
                  </a:cubicBezTo>
                  <a:cubicBezTo>
                    <a:pt x="21348" y="29794"/>
                    <a:pt x="20898" y="30068"/>
                    <a:pt x="20898" y="30068"/>
                  </a:cubicBezTo>
                  <a:cubicBezTo>
                    <a:pt x="20898" y="30068"/>
                    <a:pt x="20224" y="29794"/>
                    <a:pt x="20224" y="29794"/>
                  </a:cubicBezTo>
                  <a:cubicBezTo>
                    <a:pt x="20224" y="29794"/>
                    <a:pt x="20000" y="29521"/>
                    <a:pt x="20000" y="29521"/>
                  </a:cubicBezTo>
                  <a:cubicBezTo>
                    <a:pt x="20000" y="29521"/>
                    <a:pt x="20000" y="28974"/>
                    <a:pt x="19775" y="28974"/>
                  </a:cubicBezTo>
                  <a:cubicBezTo>
                    <a:pt x="19550" y="28701"/>
                    <a:pt x="19550" y="28974"/>
                    <a:pt x="19550" y="28974"/>
                  </a:cubicBezTo>
                  <a:cubicBezTo>
                    <a:pt x="19325" y="29521"/>
                    <a:pt x="19325" y="29521"/>
                    <a:pt x="19325" y="29521"/>
                  </a:cubicBezTo>
                  <a:cubicBezTo>
                    <a:pt x="19325" y="29521"/>
                    <a:pt x="18876" y="29521"/>
                    <a:pt x="18651" y="29248"/>
                  </a:cubicBezTo>
                  <a:cubicBezTo>
                    <a:pt x="18651" y="29248"/>
                    <a:pt x="18426" y="29248"/>
                    <a:pt x="18426" y="29248"/>
                  </a:cubicBezTo>
                  <a:cubicBezTo>
                    <a:pt x="18202" y="29248"/>
                    <a:pt x="18202" y="28974"/>
                    <a:pt x="18202" y="28701"/>
                  </a:cubicBezTo>
                  <a:cubicBezTo>
                    <a:pt x="17977" y="28428"/>
                    <a:pt x="17977" y="28701"/>
                    <a:pt x="17752" y="28701"/>
                  </a:cubicBezTo>
                  <a:cubicBezTo>
                    <a:pt x="17752" y="28701"/>
                    <a:pt x="17303" y="28701"/>
                    <a:pt x="17303" y="28701"/>
                  </a:cubicBezTo>
                  <a:cubicBezTo>
                    <a:pt x="17303" y="28701"/>
                    <a:pt x="16853" y="28154"/>
                    <a:pt x="16853" y="28154"/>
                  </a:cubicBezTo>
                  <a:cubicBezTo>
                    <a:pt x="16853" y="27881"/>
                    <a:pt x="16629" y="27881"/>
                    <a:pt x="16629" y="27881"/>
                  </a:cubicBezTo>
                  <a:cubicBezTo>
                    <a:pt x="16629" y="27881"/>
                    <a:pt x="16179" y="28154"/>
                    <a:pt x="16179" y="28154"/>
                  </a:cubicBezTo>
                  <a:cubicBezTo>
                    <a:pt x="16179" y="28428"/>
                    <a:pt x="16179" y="28428"/>
                    <a:pt x="16179" y="28428"/>
                  </a:cubicBezTo>
                  <a:cubicBezTo>
                    <a:pt x="15955" y="29248"/>
                    <a:pt x="15955" y="29248"/>
                    <a:pt x="15955" y="29248"/>
                  </a:cubicBezTo>
                  <a:cubicBezTo>
                    <a:pt x="15280" y="29794"/>
                    <a:pt x="15280" y="29794"/>
                    <a:pt x="15280" y="29794"/>
                  </a:cubicBezTo>
                  <a:cubicBezTo>
                    <a:pt x="15280" y="29794"/>
                    <a:pt x="14606" y="29794"/>
                    <a:pt x="14382" y="29521"/>
                  </a:cubicBezTo>
                  <a:cubicBezTo>
                    <a:pt x="14382" y="29521"/>
                    <a:pt x="14382" y="29521"/>
                    <a:pt x="14157" y="29521"/>
                  </a:cubicBezTo>
                  <a:cubicBezTo>
                    <a:pt x="13932" y="29521"/>
                    <a:pt x="13932" y="29521"/>
                    <a:pt x="13932" y="29521"/>
                  </a:cubicBezTo>
                  <a:cubicBezTo>
                    <a:pt x="13932" y="29521"/>
                    <a:pt x="13483" y="29794"/>
                    <a:pt x="13483" y="29794"/>
                  </a:cubicBezTo>
                  <a:cubicBezTo>
                    <a:pt x="13483" y="29794"/>
                    <a:pt x="13258" y="29248"/>
                    <a:pt x="13258" y="29248"/>
                  </a:cubicBezTo>
                  <a:cubicBezTo>
                    <a:pt x="13258" y="29248"/>
                    <a:pt x="12808" y="28974"/>
                    <a:pt x="12808" y="28701"/>
                  </a:cubicBezTo>
                  <a:cubicBezTo>
                    <a:pt x="12808" y="28701"/>
                    <a:pt x="12808" y="28974"/>
                    <a:pt x="12808" y="28974"/>
                  </a:cubicBezTo>
                  <a:cubicBezTo>
                    <a:pt x="12808" y="28974"/>
                    <a:pt x="12584" y="29248"/>
                    <a:pt x="12359" y="29248"/>
                  </a:cubicBezTo>
                  <a:cubicBezTo>
                    <a:pt x="12359" y="29248"/>
                    <a:pt x="12134" y="29521"/>
                    <a:pt x="12134" y="29521"/>
                  </a:cubicBezTo>
                  <a:cubicBezTo>
                    <a:pt x="11910" y="29521"/>
                    <a:pt x="12134" y="28974"/>
                    <a:pt x="12134" y="28974"/>
                  </a:cubicBezTo>
                  <a:cubicBezTo>
                    <a:pt x="12359" y="28428"/>
                    <a:pt x="12359" y="28428"/>
                    <a:pt x="12359" y="28428"/>
                  </a:cubicBezTo>
                  <a:cubicBezTo>
                    <a:pt x="12359" y="28428"/>
                    <a:pt x="11685" y="28154"/>
                    <a:pt x="11685" y="27881"/>
                  </a:cubicBezTo>
                  <a:cubicBezTo>
                    <a:pt x="11460" y="27881"/>
                    <a:pt x="11235" y="27608"/>
                    <a:pt x="11235" y="27608"/>
                  </a:cubicBezTo>
                  <a:cubicBezTo>
                    <a:pt x="11235" y="27608"/>
                    <a:pt x="10786" y="27608"/>
                    <a:pt x="10786" y="27608"/>
                  </a:cubicBezTo>
                  <a:cubicBezTo>
                    <a:pt x="10337" y="27608"/>
                    <a:pt x="10337" y="27608"/>
                    <a:pt x="10337" y="27608"/>
                  </a:cubicBezTo>
                  <a:cubicBezTo>
                    <a:pt x="10337" y="27608"/>
                    <a:pt x="10112" y="27608"/>
                    <a:pt x="9887" y="27881"/>
                  </a:cubicBezTo>
                  <a:cubicBezTo>
                    <a:pt x="9887" y="27881"/>
                    <a:pt x="9662" y="28154"/>
                    <a:pt x="9438" y="27881"/>
                  </a:cubicBezTo>
                  <a:cubicBezTo>
                    <a:pt x="9438" y="27881"/>
                    <a:pt x="9662" y="27334"/>
                    <a:pt x="9662" y="27334"/>
                  </a:cubicBezTo>
                  <a:cubicBezTo>
                    <a:pt x="9662" y="27334"/>
                    <a:pt x="9662" y="26788"/>
                    <a:pt x="9662" y="26788"/>
                  </a:cubicBezTo>
                  <a:cubicBezTo>
                    <a:pt x="9438" y="26514"/>
                    <a:pt x="9438" y="27061"/>
                    <a:pt x="9438" y="27061"/>
                  </a:cubicBezTo>
                  <a:cubicBezTo>
                    <a:pt x="9438" y="27061"/>
                    <a:pt x="8988" y="27334"/>
                    <a:pt x="8764" y="27608"/>
                  </a:cubicBezTo>
                  <a:cubicBezTo>
                    <a:pt x="8764" y="27608"/>
                    <a:pt x="8539" y="27608"/>
                    <a:pt x="8539" y="27608"/>
                  </a:cubicBezTo>
                  <a:cubicBezTo>
                    <a:pt x="8314" y="27608"/>
                    <a:pt x="8089" y="27881"/>
                    <a:pt x="7640" y="27881"/>
                  </a:cubicBezTo>
                  <a:cubicBezTo>
                    <a:pt x="7415" y="27881"/>
                    <a:pt x="7191" y="28154"/>
                    <a:pt x="7191" y="27881"/>
                  </a:cubicBezTo>
                  <a:cubicBezTo>
                    <a:pt x="6966" y="27881"/>
                    <a:pt x="6966" y="27608"/>
                    <a:pt x="6966" y="27608"/>
                  </a:cubicBezTo>
                  <a:cubicBezTo>
                    <a:pt x="6966" y="27061"/>
                    <a:pt x="6966" y="27061"/>
                    <a:pt x="6966" y="27061"/>
                  </a:cubicBezTo>
                  <a:cubicBezTo>
                    <a:pt x="6966" y="27061"/>
                    <a:pt x="6741" y="26788"/>
                    <a:pt x="6741" y="26514"/>
                  </a:cubicBezTo>
                  <a:cubicBezTo>
                    <a:pt x="6516" y="26241"/>
                    <a:pt x="6741" y="26241"/>
                    <a:pt x="6741" y="25968"/>
                  </a:cubicBezTo>
                  <a:cubicBezTo>
                    <a:pt x="6741" y="25968"/>
                    <a:pt x="7191" y="25694"/>
                    <a:pt x="7191" y="25694"/>
                  </a:cubicBezTo>
                  <a:cubicBezTo>
                    <a:pt x="7191" y="25421"/>
                    <a:pt x="7415" y="25421"/>
                    <a:pt x="7415" y="25421"/>
                  </a:cubicBezTo>
                  <a:cubicBezTo>
                    <a:pt x="8089" y="25148"/>
                    <a:pt x="8089" y="25148"/>
                    <a:pt x="8089" y="25148"/>
                  </a:cubicBezTo>
                  <a:cubicBezTo>
                    <a:pt x="8089" y="25148"/>
                    <a:pt x="8089" y="24328"/>
                    <a:pt x="8089" y="24054"/>
                  </a:cubicBezTo>
                  <a:cubicBezTo>
                    <a:pt x="8089" y="24054"/>
                    <a:pt x="8089" y="24054"/>
                    <a:pt x="7865" y="24054"/>
                  </a:cubicBezTo>
                  <a:cubicBezTo>
                    <a:pt x="7640" y="24054"/>
                    <a:pt x="7640" y="23781"/>
                    <a:pt x="7640" y="23781"/>
                  </a:cubicBezTo>
                  <a:cubicBezTo>
                    <a:pt x="7640" y="23781"/>
                    <a:pt x="7640" y="23234"/>
                    <a:pt x="7640" y="23234"/>
                  </a:cubicBezTo>
                  <a:cubicBezTo>
                    <a:pt x="7415" y="22687"/>
                    <a:pt x="7415" y="22687"/>
                    <a:pt x="7415" y="22687"/>
                  </a:cubicBezTo>
                  <a:cubicBezTo>
                    <a:pt x="6516" y="22961"/>
                    <a:pt x="6516" y="22961"/>
                    <a:pt x="6516" y="22961"/>
                  </a:cubicBezTo>
                  <a:cubicBezTo>
                    <a:pt x="6516" y="22961"/>
                    <a:pt x="6067" y="23234"/>
                    <a:pt x="5842" y="23234"/>
                  </a:cubicBezTo>
                  <a:cubicBezTo>
                    <a:pt x="5842" y="23234"/>
                    <a:pt x="5393" y="23234"/>
                    <a:pt x="5393" y="23234"/>
                  </a:cubicBezTo>
                  <a:cubicBezTo>
                    <a:pt x="5168" y="23234"/>
                    <a:pt x="4943" y="22961"/>
                    <a:pt x="4943" y="22961"/>
                  </a:cubicBezTo>
                  <a:cubicBezTo>
                    <a:pt x="4943" y="22961"/>
                    <a:pt x="4044" y="23234"/>
                    <a:pt x="4044" y="23234"/>
                  </a:cubicBezTo>
                  <a:cubicBezTo>
                    <a:pt x="4044" y="23234"/>
                    <a:pt x="3820" y="23234"/>
                    <a:pt x="3820" y="23234"/>
                  </a:cubicBezTo>
                  <a:cubicBezTo>
                    <a:pt x="3370" y="23234"/>
                    <a:pt x="3370" y="23234"/>
                    <a:pt x="3370" y="23234"/>
                  </a:cubicBezTo>
                  <a:cubicBezTo>
                    <a:pt x="2921" y="23507"/>
                    <a:pt x="2921" y="23507"/>
                    <a:pt x="2921" y="23507"/>
                  </a:cubicBezTo>
                  <a:cubicBezTo>
                    <a:pt x="2696" y="23781"/>
                    <a:pt x="2696" y="23781"/>
                    <a:pt x="2696" y="23781"/>
                  </a:cubicBezTo>
                  <a:cubicBezTo>
                    <a:pt x="2696" y="23781"/>
                    <a:pt x="2471" y="24054"/>
                    <a:pt x="2471" y="24054"/>
                  </a:cubicBezTo>
                  <a:cubicBezTo>
                    <a:pt x="2247" y="24054"/>
                    <a:pt x="2022" y="24054"/>
                    <a:pt x="1797" y="24054"/>
                  </a:cubicBezTo>
                  <a:cubicBezTo>
                    <a:pt x="1797" y="24054"/>
                    <a:pt x="1573" y="24328"/>
                    <a:pt x="1573" y="24328"/>
                  </a:cubicBezTo>
                  <a:cubicBezTo>
                    <a:pt x="1573" y="24328"/>
                    <a:pt x="1123" y="24601"/>
                    <a:pt x="898" y="24874"/>
                  </a:cubicBezTo>
                  <a:cubicBezTo>
                    <a:pt x="674" y="23507"/>
                    <a:pt x="674" y="23507"/>
                    <a:pt x="674" y="23507"/>
                  </a:cubicBezTo>
                  <a:cubicBezTo>
                    <a:pt x="1348" y="21047"/>
                    <a:pt x="1348" y="21047"/>
                    <a:pt x="1348" y="21047"/>
                  </a:cubicBezTo>
                  <a:cubicBezTo>
                    <a:pt x="2471" y="19954"/>
                    <a:pt x="2471" y="19954"/>
                    <a:pt x="2471" y="19954"/>
                  </a:cubicBezTo>
                  <a:cubicBezTo>
                    <a:pt x="2921" y="17767"/>
                    <a:pt x="2921" y="17767"/>
                    <a:pt x="2921" y="17767"/>
                  </a:cubicBezTo>
                  <a:cubicBezTo>
                    <a:pt x="2247" y="16947"/>
                    <a:pt x="2247" y="16947"/>
                    <a:pt x="2247" y="16947"/>
                  </a:cubicBezTo>
                  <a:cubicBezTo>
                    <a:pt x="2247" y="16127"/>
                    <a:pt x="4269" y="14487"/>
                    <a:pt x="4044" y="13667"/>
                  </a:cubicBezTo>
                  <a:cubicBezTo>
                    <a:pt x="3820" y="12847"/>
                    <a:pt x="1348" y="15307"/>
                    <a:pt x="1123" y="14487"/>
                  </a:cubicBezTo>
                  <a:cubicBezTo>
                    <a:pt x="898" y="12847"/>
                    <a:pt x="1573" y="13120"/>
                    <a:pt x="2696" y="11753"/>
                  </a:cubicBezTo>
                  <a:cubicBezTo>
                    <a:pt x="1348" y="11207"/>
                    <a:pt x="1348" y="11207"/>
                    <a:pt x="1348" y="11207"/>
                  </a:cubicBezTo>
                  <a:cubicBezTo>
                    <a:pt x="1348" y="9567"/>
                    <a:pt x="1348" y="9567"/>
                    <a:pt x="1348" y="9567"/>
                  </a:cubicBezTo>
                  <a:cubicBezTo>
                    <a:pt x="449" y="9020"/>
                    <a:pt x="449" y="9020"/>
                    <a:pt x="449" y="9020"/>
                  </a:cubicBezTo>
                  <a:cubicBezTo>
                    <a:pt x="449" y="9020"/>
                    <a:pt x="674" y="8200"/>
                    <a:pt x="674" y="7380"/>
                  </a:cubicBezTo>
                  <a:cubicBezTo>
                    <a:pt x="674" y="6560"/>
                    <a:pt x="1348" y="6287"/>
                    <a:pt x="1348" y="6287"/>
                  </a:cubicBezTo>
                  <a:cubicBezTo>
                    <a:pt x="2022" y="6013"/>
                    <a:pt x="2471" y="5466"/>
                    <a:pt x="3146" y="4920"/>
                  </a:cubicBezTo>
                  <a:cubicBezTo>
                    <a:pt x="3820" y="3826"/>
                    <a:pt x="4494" y="4373"/>
                    <a:pt x="4943" y="4100"/>
                  </a:cubicBezTo>
                  <a:cubicBezTo>
                    <a:pt x="5617" y="3553"/>
                    <a:pt x="5617" y="4100"/>
                    <a:pt x="7865" y="4646"/>
                  </a:cubicBezTo>
                  <a:cubicBezTo>
                    <a:pt x="8314" y="4373"/>
                    <a:pt x="9213" y="4373"/>
                    <a:pt x="9438" y="3826"/>
                  </a:cubicBezTo>
                  <a:cubicBezTo>
                    <a:pt x="9887" y="3280"/>
                    <a:pt x="10561" y="3553"/>
                    <a:pt x="10561" y="2460"/>
                  </a:cubicBezTo>
                  <a:cubicBezTo>
                    <a:pt x="10786" y="820"/>
                    <a:pt x="13258" y="1913"/>
                    <a:pt x="13258" y="1366"/>
                  </a:cubicBezTo>
                  <a:cubicBezTo>
                    <a:pt x="13707" y="1366"/>
                    <a:pt x="14157" y="0"/>
                    <a:pt x="15280" y="0"/>
                  </a:cubicBezTo>
                  <a:cubicBezTo>
                    <a:pt x="16179" y="273"/>
                    <a:pt x="16404" y="546"/>
                    <a:pt x="17078" y="820"/>
                  </a:cubicBezTo>
                  <a:cubicBezTo>
                    <a:pt x="19550" y="2733"/>
                    <a:pt x="18426" y="3826"/>
                    <a:pt x="21348" y="4920"/>
                  </a:cubicBezTo>
                  <a:cubicBezTo>
                    <a:pt x="23820" y="5740"/>
                    <a:pt x="26741" y="6560"/>
                    <a:pt x="29213" y="7107"/>
                  </a:cubicBezTo>
                  <a:cubicBezTo>
                    <a:pt x="31460" y="7380"/>
                    <a:pt x="33707" y="8473"/>
                    <a:pt x="35955" y="9567"/>
                  </a:cubicBezTo>
                  <a:cubicBezTo>
                    <a:pt x="35955" y="9567"/>
                    <a:pt x="44269" y="14214"/>
                    <a:pt x="44494" y="14487"/>
                  </a:cubicBezTo>
                  <a:cubicBezTo>
                    <a:pt x="44719" y="14487"/>
                    <a:pt x="49438" y="13394"/>
                    <a:pt x="49662" y="13394"/>
                  </a:cubicBezTo>
                  <a:cubicBezTo>
                    <a:pt x="49887" y="13394"/>
                    <a:pt x="51460" y="13667"/>
                    <a:pt x="52584" y="14487"/>
                  </a:cubicBezTo>
                  <a:cubicBezTo>
                    <a:pt x="53258" y="15307"/>
                    <a:pt x="55505" y="17220"/>
                    <a:pt x="55505" y="17220"/>
                  </a:cubicBezTo>
                  <a:cubicBezTo>
                    <a:pt x="55955" y="17494"/>
                    <a:pt x="58651" y="16947"/>
                    <a:pt x="58651" y="16947"/>
                  </a:cubicBezTo>
                  <a:cubicBezTo>
                    <a:pt x="60449" y="16947"/>
                    <a:pt x="62022" y="19407"/>
                    <a:pt x="62921" y="19681"/>
                  </a:cubicBezTo>
                  <a:cubicBezTo>
                    <a:pt x="64044" y="19954"/>
                    <a:pt x="66741" y="18314"/>
                    <a:pt x="67865" y="19681"/>
                  </a:cubicBezTo>
                  <a:cubicBezTo>
                    <a:pt x="67865" y="19681"/>
                    <a:pt x="70112" y="19954"/>
                    <a:pt x="70337" y="21321"/>
                  </a:cubicBezTo>
                  <a:cubicBezTo>
                    <a:pt x="70786" y="22687"/>
                    <a:pt x="71685" y="24874"/>
                    <a:pt x="71685" y="24874"/>
                  </a:cubicBezTo>
                  <a:cubicBezTo>
                    <a:pt x="74606" y="26241"/>
                    <a:pt x="74606" y="26241"/>
                    <a:pt x="74606" y="26241"/>
                  </a:cubicBezTo>
                  <a:cubicBezTo>
                    <a:pt x="74606" y="26241"/>
                    <a:pt x="76179" y="27881"/>
                    <a:pt x="76404" y="28428"/>
                  </a:cubicBezTo>
                  <a:cubicBezTo>
                    <a:pt x="76629" y="28701"/>
                    <a:pt x="80000" y="30068"/>
                    <a:pt x="80000" y="30068"/>
                  </a:cubicBezTo>
                  <a:cubicBezTo>
                    <a:pt x="82247" y="32528"/>
                    <a:pt x="82247" y="32528"/>
                    <a:pt x="82247" y="32528"/>
                  </a:cubicBezTo>
                  <a:cubicBezTo>
                    <a:pt x="85617" y="32528"/>
                    <a:pt x="85617" y="32528"/>
                    <a:pt x="85617" y="32528"/>
                  </a:cubicBezTo>
                  <a:cubicBezTo>
                    <a:pt x="87865" y="33075"/>
                    <a:pt x="87865" y="33075"/>
                    <a:pt x="87865" y="33075"/>
                  </a:cubicBezTo>
                  <a:cubicBezTo>
                    <a:pt x="88988" y="31435"/>
                    <a:pt x="88988" y="31435"/>
                    <a:pt x="88988" y="31435"/>
                  </a:cubicBezTo>
                  <a:cubicBezTo>
                    <a:pt x="88988" y="31435"/>
                    <a:pt x="94606" y="34715"/>
                    <a:pt x="94831" y="34715"/>
                  </a:cubicBezTo>
                  <a:cubicBezTo>
                    <a:pt x="95056" y="34715"/>
                    <a:pt x="95056" y="35535"/>
                    <a:pt x="95280" y="36355"/>
                  </a:cubicBezTo>
                  <a:cubicBezTo>
                    <a:pt x="95280" y="36628"/>
                    <a:pt x="95280" y="36628"/>
                    <a:pt x="95280" y="36628"/>
                  </a:cubicBezTo>
                  <a:cubicBezTo>
                    <a:pt x="95056" y="36628"/>
                    <a:pt x="95280" y="36628"/>
                    <a:pt x="95280" y="36628"/>
                  </a:cubicBezTo>
                  <a:cubicBezTo>
                    <a:pt x="95280" y="36628"/>
                    <a:pt x="95280" y="36628"/>
                    <a:pt x="95280" y="36628"/>
                  </a:cubicBezTo>
                  <a:cubicBezTo>
                    <a:pt x="95280" y="37175"/>
                    <a:pt x="95280" y="37175"/>
                    <a:pt x="95280" y="37175"/>
                  </a:cubicBezTo>
                  <a:cubicBezTo>
                    <a:pt x="95280" y="37448"/>
                    <a:pt x="95280" y="37448"/>
                    <a:pt x="95280" y="37448"/>
                  </a:cubicBezTo>
                  <a:cubicBezTo>
                    <a:pt x="95056" y="37448"/>
                    <a:pt x="95056" y="37448"/>
                    <a:pt x="95056" y="37448"/>
                  </a:cubicBezTo>
                  <a:cubicBezTo>
                    <a:pt x="95056" y="37448"/>
                    <a:pt x="95056" y="37448"/>
                    <a:pt x="95056" y="37448"/>
                  </a:cubicBezTo>
                  <a:cubicBezTo>
                    <a:pt x="95280" y="37722"/>
                    <a:pt x="95280" y="37722"/>
                    <a:pt x="95280" y="37722"/>
                  </a:cubicBezTo>
                  <a:cubicBezTo>
                    <a:pt x="95280" y="37722"/>
                    <a:pt x="95280" y="37722"/>
                    <a:pt x="95280" y="37722"/>
                  </a:cubicBezTo>
                  <a:cubicBezTo>
                    <a:pt x="95280" y="37722"/>
                    <a:pt x="95280" y="37722"/>
                    <a:pt x="95280" y="37995"/>
                  </a:cubicBezTo>
                  <a:cubicBezTo>
                    <a:pt x="95280" y="37995"/>
                    <a:pt x="95280" y="37995"/>
                    <a:pt x="95280" y="37995"/>
                  </a:cubicBezTo>
                  <a:cubicBezTo>
                    <a:pt x="95280" y="37995"/>
                    <a:pt x="95280" y="37995"/>
                    <a:pt x="95280" y="38268"/>
                  </a:cubicBezTo>
                  <a:cubicBezTo>
                    <a:pt x="95280" y="38268"/>
                    <a:pt x="95280" y="38268"/>
                    <a:pt x="95280" y="38268"/>
                  </a:cubicBezTo>
                  <a:cubicBezTo>
                    <a:pt x="95505" y="38268"/>
                    <a:pt x="95505" y="38268"/>
                    <a:pt x="95505" y="38268"/>
                  </a:cubicBezTo>
                  <a:cubicBezTo>
                    <a:pt x="95505" y="38268"/>
                    <a:pt x="95505" y="38268"/>
                    <a:pt x="95505" y="38268"/>
                  </a:cubicBezTo>
                  <a:cubicBezTo>
                    <a:pt x="95505" y="38268"/>
                    <a:pt x="95730" y="38542"/>
                    <a:pt x="95730" y="38542"/>
                  </a:cubicBezTo>
                  <a:cubicBezTo>
                    <a:pt x="95730" y="38542"/>
                    <a:pt x="95730" y="38542"/>
                    <a:pt x="95955" y="38542"/>
                  </a:cubicBezTo>
                  <a:cubicBezTo>
                    <a:pt x="95955" y="38542"/>
                    <a:pt x="95955" y="38542"/>
                    <a:pt x="96179" y="38542"/>
                  </a:cubicBezTo>
                  <a:cubicBezTo>
                    <a:pt x="96179" y="38542"/>
                    <a:pt x="96179" y="38542"/>
                    <a:pt x="96179" y="38542"/>
                  </a:cubicBezTo>
                  <a:cubicBezTo>
                    <a:pt x="96179" y="38542"/>
                    <a:pt x="96404" y="38542"/>
                    <a:pt x="96404" y="38268"/>
                  </a:cubicBezTo>
                  <a:cubicBezTo>
                    <a:pt x="99325" y="39088"/>
                    <a:pt x="99325" y="39088"/>
                    <a:pt x="99325" y="39088"/>
                  </a:cubicBezTo>
                  <a:cubicBezTo>
                    <a:pt x="100000" y="39362"/>
                    <a:pt x="100000" y="39908"/>
                    <a:pt x="100674" y="40455"/>
                  </a:cubicBezTo>
                  <a:cubicBezTo>
                    <a:pt x="102471" y="39635"/>
                    <a:pt x="102471" y="39635"/>
                    <a:pt x="102471" y="39635"/>
                  </a:cubicBezTo>
                  <a:cubicBezTo>
                    <a:pt x="104719" y="41548"/>
                    <a:pt x="104719" y="41548"/>
                    <a:pt x="104719" y="41548"/>
                  </a:cubicBezTo>
                  <a:cubicBezTo>
                    <a:pt x="106741" y="40728"/>
                    <a:pt x="106741" y="40728"/>
                    <a:pt x="106741" y="40728"/>
                  </a:cubicBezTo>
                  <a:cubicBezTo>
                    <a:pt x="108764" y="40728"/>
                    <a:pt x="108764" y="40728"/>
                    <a:pt x="108764" y="40728"/>
                  </a:cubicBezTo>
                  <a:cubicBezTo>
                    <a:pt x="108764" y="40182"/>
                    <a:pt x="113483" y="40728"/>
                    <a:pt x="111460" y="43462"/>
                  </a:cubicBezTo>
                  <a:close/>
                  <a:moveTo>
                    <a:pt x="113707" y="76810"/>
                  </a:moveTo>
                  <a:cubicBezTo>
                    <a:pt x="113707" y="76810"/>
                    <a:pt x="113707" y="76810"/>
                    <a:pt x="113707" y="76810"/>
                  </a:cubicBezTo>
                  <a:cubicBezTo>
                    <a:pt x="113707" y="78451"/>
                    <a:pt x="115955" y="77904"/>
                    <a:pt x="117078" y="78997"/>
                  </a:cubicBezTo>
                  <a:cubicBezTo>
                    <a:pt x="117528" y="79544"/>
                    <a:pt x="117078" y="80911"/>
                    <a:pt x="117752" y="81184"/>
                  </a:cubicBezTo>
                  <a:cubicBezTo>
                    <a:pt x="119325" y="82824"/>
                    <a:pt x="120000" y="79817"/>
                    <a:pt x="118651" y="76810"/>
                  </a:cubicBezTo>
                  <a:cubicBezTo>
                    <a:pt x="118202" y="76264"/>
                    <a:pt x="117528" y="76264"/>
                    <a:pt x="116853" y="76264"/>
                  </a:cubicBezTo>
                  <a:cubicBezTo>
                    <a:pt x="115730" y="76264"/>
                    <a:pt x="113483" y="75444"/>
                    <a:pt x="113707" y="76810"/>
                  </a:cubicBezTo>
                  <a:close/>
                  <a:moveTo>
                    <a:pt x="100674" y="82004"/>
                  </a:moveTo>
                  <a:cubicBezTo>
                    <a:pt x="100674" y="82004"/>
                    <a:pt x="100674" y="82004"/>
                    <a:pt x="100674" y="82004"/>
                  </a:cubicBezTo>
                  <a:cubicBezTo>
                    <a:pt x="101573" y="82277"/>
                    <a:pt x="102471" y="81184"/>
                    <a:pt x="103370" y="81731"/>
                  </a:cubicBezTo>
                  <a:cubicBezTo>
                    <a:pt x="103820" y="82277"/>
                    <a:pt x="103595" y="83371"/>
                    <a:pt x="103820" y="84191"/>
                  </a:cubicBezTo>
                  <a:cubicBezTo>
                    <a:pt x="102471" y="85831"/>
                    <a:pt x="106067" y="85558"/>
                    <a:pt x="106292" y="85558"/>
                  </a:cubicBezTo>
                  <a:cubicBezTo>
                    <a:pt x="106292" y="86104"/>
                    <a:pt x="106741" y="87471"/>
                    <a:pt x="107415" y="86924"/>
                  </a:cubicBezTo>
                  <a:cubicBezTo>
                    <a:pt x="111011" y="81731"/>
                    <a:pt x="111011" y="81731"/>
                    <a:pt x="111011" y="81731"/>
                  </a:cubicBezTo>
                  <a:cubicBezTo>
                    <a:pt x="111011" y="81184"/>
                    <a:pt x="110786" y="80637"/>
                    <a:pt x="110337" y="80637"/>
                  </a:cubicBezTo>
                  <a:cubicBezTo>
                    <a:pt x="109438" y="80091"/>
                    <a:pt x="108314" y="81184"/>
                    <a:pt x="107640" y="80637"/>
                  </a:cubicBezTo>
                  <a:cubicBezTo>
                    <a:pt x="106966" y="80091"/>
                    <a:pt x="108314" y="77904"/>
                    <a:pt x="107415" y="77084"/>
                  </a:cubicBezTo>
                  <a:cubicBezTo>
                    <a:pt x="105617" y="75444"/>
                    <a:pt x="104943" y="77357"/>
                    <a:pt x="103595" y="78724"/>
                  </a:cubicBezTo>
                  <a:cubicBezTo>
                    <a:pt x="102696" y="79544"/>
                    <a:pt x="101348" y="79817"/>
                    <a:pt x="100449" y="80911"/>
                  </a:cubicBezTo>
                  <a:cubicBezTo>
                    <a:pt x="100224" y="81184"/>
                    <a:pt x="100449" y="82004"/>
                    <a:pt x="100674" y="82004"/>
                  </a:cubicBezTo>
                  <a:close/>
                  <a:moveTo>
                    <a:pt x="87865" y="89931"/>
                  </a:moveTo>
                  <a:cubicBezTo>
                    <a:pt x="87865" y="89931"/>
                    <a:pt x="87865" y="89931"/>
                    <a:pt x="87865" y="89931"/>
                  </a:cubicBezTo>
                  <a:cubicBezTo>
                    <a:pt x="86966" y="90751"/>
                    <a:pt x="88764" y="92118"/>
                    <a:pt x="89213" y="92118"/>
                  </a:cubicBezTo>
                  <a:cubicBezTo>
                    <a:pt x="89662" y="92118"/>
                    <a:pt x="92359" y="89931"/>
                    <a:pt x="92359" y="89111"/>
                  </a:cubicBezTo>
                  <a:cubicBezTo>
                    <a:pt x="92134" y="88018"/>
                    <a:pt x="91011" y="87744"/>
                    <a:pt x="90337" y="87744"/>
                  </a:cubicBezTo>
                  <a:cubicBezTo>
                    <a:pt x="89438" y="88018"/>
                    <a:pt x="88539" y="89111"/>
                    <a:pt x="87865" y="89931"/>
                  </a:cubicBezTo>
                  <a:close/>
                </a:path>
              </a:pathLst>
            </a:custGeom>
            <a:solidFill>
              <a:srgbClr val="D9D8D9"/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4" name="Shape 2055"/>
            <p:cNvSpPr/>
            <p:nvPr/>
          </p:nvSpPr>
          <p:spPr>
            <a:xfrm>
              <a:off x="5979171" y="3676182"/>
              <a:ext cx="930118" cy="83955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5294" y="10105"/>
                  </a:moveTo>
                  <a:cubicBezTo>
                    <a:pt x="66764" y="9473"/>
                    <a:pt x="66764" y="9473"/>
                    <a:pt x="66764" y="9473"/>
                  </a:cubicBezTo>
                  <a:cubicBezTo>
                    <a:pt x="66764" y="9473"/>
                    <a:pt x="68529" y="8842"/>
                    <a:pt x="68823" y="8842"/>
                  </a:cubicBezTo>
                  <a:cubicBezTo>
                    <a:pt x="69117" y="8842"/>
                    <a:pt x="70588" y="8526"/>
                    <a:pt x="70882" y="8210"/>
                  </a:cubicBezTo>
                  <a:cubicBezTo>
                    <a:pt x="71176" y="8210"/>
                    <a:pt x="72058" y="7578"/>
                    <a:pt x="72352" y="7263"/>
                  </a:cubicBezTo>
                  <a:cubicBezTo>
                    <a:pt x="72647" y="7263"/>
                    <a:pt x="73235" y="7263"/>
                    <a:pt x="73823" y="6631"/>
                  </a:cubicBezTo>
                  <a:cubicBezTo>
                    <a:pt x="74117" y="6315"/>
                    <a:pt x="74411" y="5368"/>
                    <a:pt x="74411" y="5052"/>
                  </a:cubicBezTo>
                  <a:cubicBezTo>
                    <a:pt x="74411" y="4736"/>
                    <a:pt x="74117" y="4736"/>
                    <a:pt x="73823" y="3789"/>
                  </a:cubicBezTo>
                  <a:cubicBezTo>
                    <a:pt x="73235" y="2842"/>
                    <a:pt x="72647" y="2210"/>
                    <a:pt x="72647" y="1894"/>
                  </a:cubicBezTo>
                  <a:cubicBezTo>
                    <a:pt x="72352" y="1263"/>
                    <a:pt x="72352" y="631"/>
                    <a:pt x="72647" y="631"/>
                  </a:cubicBezTo>
                  <a:cubicBezTo>
                    <a:pt x="72941" y="315"/>
                    <a:pt x="73823" y="0"/>
                    <a:pt x="74411" y="0"/>
                  </a:cubicBezTo>
                  <a:cubicBezTo>
                    <a:pt x="75000" y="315"/>
                    <a:pt x="76470" y="631"/>
                    <a:pt x="76764" y="631"/>
                  </a:cubicBezTo>
                  <a:cubicBezTo>
                    <a:pt x="77058" y="631"/>
                    <a:pt x="78529" y="1578"/>
                    <a:pt x="78529" y="1578"/>
                  </a:cubicBezTo>
                  <a:cubicBezTo>
                    <a:pt x="78529" y="1578"/>
                    <a:pt x="79117" y="3157"/>
                    <a:pt x="79117" y="3473"/>
                  </a:cubicBezTo>
                  <a:cubicBezTo>
                    <a:pt x="79117" y="3789"/>
                    <a:pt x="80588" y="5684"/>
                    <a:pt x="80000" y="5684"/>
                  </a:cubicBezTo>
                  <a:cubicBezTo>
                    <a:pt x="79705" y="5684"/>
                    <a:pt x="78529" y="6000"/>
                    <a:pt x="78529" y="6000"/>
                  </a:cubicBezTo>
                  <a:cubicBezTo>
                    <a:pt x="77941" y="6947"/>
                    <a:pt x="77941" y="6947"/>
                    <a:pt x="77941" y="6947"/>
                  </a:cubicBezTo>
                  <a:cubicBezTo>
                    <a:pt x="77941" y="6947"/>
                    <a:pt x="77352" y="8210"/>
                    <a:pt x="77352" y="8526"/>
                  </a:cubicBezTo>
                  <a:cubicBezTo>
                    <a:pt x="77352" y="8842"/>
                    <a:pt x="77058" y="10421"/>
                    <a:pt x="77058" y="10421"/>
                  </a:cubicBezTo>
                  <a:cubicBezTo>
                    <a:pt x="78529" y="13894"/>
                    <a:pt x="78529" y="13894"/>
                    <a:pt x="78529" y="13894"/>
                  </a:cubicBezTo>
                  <a:cubicBezTo>
                    <a:pt x="77058" y="16105"/>
                    <a:pt x="77058" y="16105"/>
                    <a:pt x="77058" y="16105"/>
                  </a:cubicBezTo>
                  <a:cubicBezTo>
                    <a:pt x="75882" y="17368"/>
                    <a:pt x="75882" y="17368"/>
                    <a:pt x="75882" y="17368"/>
                  </a:cubicBezTo>
                  <a:cubicBezTo>
                    <a:pt x="75882" y="17368"/>
                    <a:pt x="74117" y="17368"/>
                    <a:pt x="74117" y="17052"/>
                  </a:cubicBezTo>
                  <a:cubicBezTo>
                    <a:pt x="74117" y="16736"/>
                    <a:pt x="72941" y="16105"/>
                    <a:pt x="72941" y="16105"/>
                  </a:cubicBezTo>
                  <a:cubicBezTo>
                    <a:pt x="72941" y="16105"/>
                    <a:pt x="71176" y="16421"/>
                    <a:pt x="70882" y="16736"/>
                  </a:cubicBezTo>
                  <a:cubicBezTo>
                    <a:pt x="70588" y="16736"/>
                    <a:pt x="66470" y="17052"/>
                    <a:pt x="66470" y="17052"/>
                  </a:cubicBezTo>
                  <a:cubicBezTo>
                    <a:pt x="66470" y="17052"/>
                    <a:pt x="65588" y="16736"/>
                    <a:pt x="65294" y="16736"/>
                  </a:cubicBezTo>
                  <a:cubicBezTo>
                    <a:pt x="65000" y="16736"/>
                    <a:pt x="63529" y="16736"/>
                    <a:pt x="63529" y="16736"/>
                  </a:cubicBezTo>
                  <a:cubicBezTo>
                    <a:pt x="63235" y="15473"/>
                    <a:pt x="63235" y="15473"/>
                    <a:pt x="63235" y="15473"/>
                  </a:cubicBezTo>
                  <a:cubicBezTo>
                    <a:pt x="62058" y="15789"/>
                    <a:pt x="62058" y="15789"/>
                    <a:pt x="62058" y="15789"/>
                  </a:cubicBezTo>
                  <a:cubicBezTo>
                    <a:pt x="61764" y="17052"/>
                    <a:pt x="61764" y="17052"/>
                    <a:pt x="61764" y="17052"/>
                  </a:cubicBezTo>
                  <a:cubicBezTo>
                    <a:pt x="60294" y="18000"/>
                    <a:pt x="60294" y="18000"/>
                    <a:pt x="60294" y="18000"/>
                  </a:cubicBezTo>
                  <a:cubicBezTo>
                    <a:pt x="58823" y="18947"/>
                    <a:pt x="58823" y="18947"/>
                    <a:pt x="58823" y="18947"/>
                  </a:cubicBezTo>
                  <a:cubicBezTo>
                    <a:pt x="55882" y="18947"/>
                    <a:pt x="55882" y="18947"/>
                    <a:pt x="55882" y="18947"/>
                  </a:cubicBezTo>
                  <a:cubicBezTo>
                    <a:pt x="54117" y="18947"/>
                    <a:pt x="54117" y="18947"/>
                    <a:pt x="54117" y="18947"/>
                  </a:cubicBezTo>
                  <a:cubicBezTo>
                    <a:pt x="54117" y="19578"/>
                    <a:pt x="54117" y="19578"/>
                    <a:pt x="54117" y="19578"/>
                  </a:cubicBezTo>
                  <a:cubicBezTo>
                    <a:pt x="53235" y="21473"/>
                    <a:pt x="53235" y="21473"/>
                    <a:pt x="53235" y="21473"/>
                  </a:cubicBezTo>
                  <a:cubicBezTo>
                    <a:pt x="52058" y="22421"/>
                    <a:pt x="52058" y="22421"/>
                    <a:pt x="52058" y="22421"/>
                  </a:cubicBezTo>
                  <a:cubicBezTo>
                    <a:pt x="52058" y="22421"/>
                    <a:pt x="50294" y="23052"/>
                    <a:pt x="50000" y="23368"/>
                  </a:cubicBezTo>
                  <a:cubicBezTo>
                    <a:pt x="50000" y="23368"/>
                    <a:pt x="48823" y="23052"/>
                    <a:pt x="48823" y="23052"/>
                  </a:cubicBezTo>
                  <a:cubicBezTo>
                    <a:pt x="47352" y="24000"/>
                    <a:pt x="47352" y="24000"/>
                    <a:pt x="47352" y="24000"/>
                  </a:cubicBezTo>
                  <a:cubicBezTo>
                    <a:pt x="47058" y="24947"/>
                    <a:pt x="47058" y="24947"/>
                    <a:pt x="47058" y="24947"/>
                  </a:cubicBezTo>
                  <a:cubicBezTo>
                    <a:pt x="47647" y="25578"/>
                    <a:pt x="47647" y="25578"/>
                    <a:pt x="47647" y="25578"/>
                  </a:cubicBezTo>
                  <a:cubicBezTo>
                    <a:pt x="48823" y="26210"/>
                    <a:pt x="48823" y="26210"/>
                    <a:pt x="48823" y="26210"/>
                  </a:cubicBezTo>
                  <a:cubicBezTo>
                    <a:pt x="48823" y="26210"/>
                    <a:pt x="49705" y="26526"/>
                    <a:pt x="49705" y="26842"/>
                  </a:cubicBezTo>
                  <a:cubicBezTo>
                    <a:pt x="49705" y="26842"/>
                    <a:pt x="49411" y="27473"/>
                    <a:pt x="49411" y="27473"/>
                  </a:cubicBezTo>
                  <a:cubicBezTo>
                    <a:pt x="49411" y="29052"/>
                    <a:pt x="49411" y="29052"/>
                    <a:pt x="49411" y="29052"/>
                  </a:cubicBezTo>
                  <a:cubicBezTo>
                    <a:pt x="49411" y="29052"/>
                    <a:pt x="50294" y="29368"/>
                    <a:pt x="50588" y="29368"/>
                  </a:cubicBezTo>
                  <a:cubicBezTo>
                    <a:pt x="50588" y="29368"/>
                    <a:pt x="51470" y="28736"/>
                    <a:pt x="51470" y="28736"/>
                  </a:cubicBezTo>
                  <a:cubicBezTo>
                    <a:pt x="51470" y="28421"/>
                    <a:pt x="51764" y="28105"/>
                    <a:pt x="51764" y="28105"/>
                  </a:cubicBezTo>
                  <a:cubicBezTo>
                    <a:pt x="52352" y="28736"/>
                    <a:pt x="52352" y="28736"/>
                    <a:pt x="52352" y="28736"/>
                  </a:cubicBezTo>
                  <a:cubicBezTo>
                    <a:pt x="52352" y="28736"/>
                    <a:pt x="52647" y="29368"/>
                    <a:pt x="52941" y="29368"/>
                  </a:cubicBezTo>
                  <a:cubicBezTo>
                    <a:pt x="52941" y="29368"/>
                    <a:pt x="53823" y="29368"/>
                    <a:pt x="53823" y="29368"/>
                  </a:cubicBezTo>
                  <a:cubicBezTo>
                    <a:pt x="55000" y="30000"/>
                    <a:pt x="55000" y="30000"/>
                    <a:pt x="55000" y="30000"/>
                  </a:cubicBezTo>
                  <a:cubicBezTo>
                    <a:pt x="56470" y="31263"/>
                    <a:pt x="56470" y="31263"/>
                    <a:pt x="56470" y="31263"/>
                  </a:cubicBezTo>
                  <a:cubicBezTo>
                    <a:pt x="56470" y="31263"/>
                    <a:pt x="57647" y="31894"/>
                    <a:pt x="57352" y="32210"/>
                  </a:cubicBezTo>
                  <a:cubicBezTo>
                    <a:pt x="56764" y="32526"/>
                    <a:pt x="56176" y="32842"/>
                    <a:pt x="55882" y="32842"/>
                  </a:cubicBezTo>
                  <a:cubicBezTo>
                    <a:pt x="55882" y="32842"/>
                    <a:pt x="55294" y="32526"/>
                    <a:pt x="55294" y="32210"/>
                  </a:cubicBezTo>
                  <a:cubicBezTo>
                    <a:pt x="55294" y="31578"/>
                    <a:pt x="55000" y="31263"/>
                    <a:pt x="54705" y="31263"/>
                  </a:cubicBezTo>
                  <a:cubicBezTo>
                    <a:pt x="54411" y="31263"/>
                    <a:pt x="53823" y="30631"/>
                    <a:pt x="53823" y="30631"/>
                  </a:cubicBezTo>
                  <a:cubicBezTo>
                    <a:pt x="53529" y="30631"/>
                    <a:pt x="52941" y="30631"/>
                    <a:pt x="52647" y="30947"/>
                  </a:cubicBezTo>
                  <a:cubicBezTo>
                    <a:pt x="52352" y="30947"/>
                    <a:pt x="51764" y="30947"/>
                    <a:pt x="51764" y="30631"/>
                  </a:cubicBezTo>
                  <a:cubicBezTo>
                    <a:pt x="51470" y="30631"/>
                    <a:pt x="51176" y="29684"/>
                    <a:pt x="51176" y="29684"/>
                  </a:cubicBezTo>
                  <a:cubicBezTo>
                    <a:pt x="49705" y="29368"/>
                    <a:pt x="49705" y="29368"/>
                    <a:pt x="49705" y="29368"/>
                  </a:cubicBezTo>
                  <a:cubicBezTo>
                    <a:pt x="49705" y="29368"/>
                    <a:pt x="49411" y="29684"/>
                    <a:pt x="49411" y="30000"/>
                  </a:cubicBezTo>
                  <a:cubicBezTo>
                    <a:pt x="49411" y="30000"/>
                    <a:pt x="48823" y="30631"/>
                    <a:pt x="48823" y="30631"/>
                  </a:cubicBezTo>
                  <a:cubicBezTo>
                    <a:pt x="48529" y="30947"/>
                    <a:pt x="48529" y="30947"/>
                    <a:pt x="48529" y="30947"/>
                  </a:cubicBezTo>
                  <a:cubicBezTo>
                    <a:pt x="48529" y="31578"/>
                    <a:pt x="48529" y="31578"/>
                    <a:pt x="48529" y="31578"/>
                  </a:cubicBezTo>
                  <a:cubicBezTo>
                    <a:pt x="49117" y="32210"/>
                    <a:pt x="49117" y="32210"/>
                    <a:pt x="49117" y="32210"/>
                  </a:cubicBezTo>
                  <a:cubicBezTo>
                    <a:pt x="50294" y="33157"/>
                    <a:pt x="50294" y="33157"/>
                    <a:pt x="50294" y="33157"/>
                  </a:cubicBezTo>
                  <a:cubicBezTo>
                    <a:pt x="50294" y="33157"/>
                    <a:pt x="51764" y="33473"/>
                    <a:pt x="51764" y="33473"/>
                  </a:cubicBezTo>
                  <a:cubicBezTo>
                    <a:pt x="52058" y="33473"/>
                    <a:pt x="52647" y="34421"/>
                    <a:pt x="52647" y="34421"/>
                  </a:cubicBezTo>
                  <a:cubicBezTo>
                    <a:pt x="52647" y="35368"/>
                    <a:pt x="52647" y="35368"/>
                    <a:pt x="52647" y="35368"/>
                  </a:cubicBezTo>
                  <a:cubicBezTo>
                    <a:pt x="52352" y="36315"/>
                    <a:pt x="52352" y="36315"/>
                    <a:pt x="52352" y="36315"/>
                  </a:cubicBezTo>
                  <a:cubicBezTo>
                    <a:pt x="52352" y="36315"/>
                    <a:pt x="52352" y="36947"/>
                    <a:pt x="51764" y="36631"/>
                  </a:cubicBezTo>
                  <a:cubicBezTo>
                    <a:pt x="51176" y="36315"/>
                    <a:pt x="50882" y="36000"/>
                    <a:pt x="50882" y="36000"/>
                  </a:cubicBezTo>
                  <a:cubicBezTo>
                    <a:pt x="50000" y="35684"/>
                    <a:pt x="50000" y="35684"/>
                    <a:pt x="50000" y="35684"/>
                  </a:cubicBezTo>
                  <a:cubicBezTo>
                    <a:pt x="49705" y="34421"/>
                    <a:pt x="49705" y="34421"/>
                    <a:pt x="49705" y="34421"/>
                  </a:cubicBezTo>
                  <a:cubicBezTo>
                    <a:pt x="49705" y="34421"/>
                    <a:pt x="49117" y="33789"/>
                    <a:pt x="49117" y="33789"/>
                  </a:cubicBezTo>
                  <a:cubicBezTo>
                    <a:pt x="48823" y="33789"/>
                    <a:pt x="47352" y="32842"/>
                    <a:pt x="47352" y="32842"/>
                  </a:cubicBezTo>
                  <a:cubicBezTo>
                    <a:pt x="45588" y="32842"/>
                    <a:pt x="45588" y="32842"/>
                    <a:pt x="45588" y="32842"/>
                  </a:cubicBezTo>
                  <a:cubicBezTo>
                    <a:pt x="44411" y="32842"/>
                    <a:pt x="44411" y="32842"/>
                    <a:pt x="44411" y="32842"/>
                  </a:cubicBezTo>
                  <a:cubicBezTo>
                    <a:pt x="44117" y="33789"/>
                    <a:pt x="44117" y="33789"/>
                    <a:pt x="44117" y="33789"/>
                  </a:cubicBezTo>
                  <a:cubicBezTo>
                    <a:pt x="44117" y="33789"/>
                    <a:pt x="44117" y="34421"/>
                    <a:pt x="44411" y="34421"/>
                  </a:cubicBezTo>
                  <a:cubicBezTo>
                    <a:pt x="44411" y="34736"/>
                    <a:pt x="45294" y="35368"/>
                    <a:pt x="45294" y="35368"/>
                  </a:cubicBezTo>
                  <a:cubicBezTo>
                    <a:pt x="45294" y="35368"/>
                    <a:pt x="45882" y="35368"/>
                    <a:pt x="45882" y="35684"/>
                  </a:cubicBezTo>
                  <a:cubicBezTo>
                    <a:pt x="46176" y="36000"/>
                    <a:pt x="46764" y="36631"/>
                    <a:pt x="46764" y="36631"/>
                  </a:cubicBezTo>
                  <a:cubicBezTo>
                    <a:pt x="46764" y="36631"/>
                    <a:pt x="47058" y="36631"/>
                    <a:pt x="47352" y="36631"/>
                  </a:cubicBezTo>
                  <a:cubicBezTo>
                    <a:pt x="47941" y="36631"/>
                    <a:pt x="48529" y="36947"/>
                    <a:pt x="48529" y="36947"/>
                  </a:cubicBezTo>
                  <a:cubicBezTo>
                    <a:pt x="49411" y="37263"/>
                    <a:pt x="49411" y="37263"/>
                    <a:pt x="49411" y="37263"/>
                  </a:cubicBezTo>
                  <a:cubicBezTo>
                    <a:pt x="49705" y="37578"/>
                    <a:pt x="49705" y="37578"/>
                    <a:pt x="49705" y="37578"/>
                  </a:cubicBezTo>
                  <a:cubicBezTo>
                    <a:pt x="49705" y="37578"/>
                    <a:pt x="48823" y="37894"/>
                    <a:pt x="48529" y="37894"/>
                  </a:cubicBezTo>
                  <a:cubicBezTo>
                    <a:pt x="48235" y="38210"/>
                    <a:pt x="47352" y="38210"/>
                    <a:pt x="47352" y="38210"/>
                  </a:cubicBezTo>
                  <a:cubicBezTo>
                    <a:pt x="47352" y="38210"/>
                    <a:pt x="46764" y="37578"/>
                    <a:pt x="46470" y="37578"/>
                  </a:cubicBezTo>
                  <a:cubicBezTo>
                    <a:pt x="46470" y="37578"/>
                    <a:pt x="45588" y="37894"/>
                    <a:pt x="45588" y="37894"/>
                  </a:cubicBezTo>
                  <a:cubicBezTo>
                    <a:pt x="45588" y="37894"/>
                    <a:pt x="45000" y="38526"/>
                    <a:pt x="44705" y="37894"/>
                  </a:cubicBezTo>
                  <a:cubicBezTo>
                    <a:pt x="44411" y="37263"/>
                    <a:pt x="44117" y="36631"/>
                    <a:pt x="44117" y="36631"/>
                  </a:cubicBezTo>
                  <a:cubicBezTo>
                    <a:pt x="44117" y="36000"/>
                    <a:pt x="44117" y="36000"/>
                    <a:pt x="44117" y="36000"/>
                  </a:cubicBezTo>
                  <a:cubicBezTo>
                    <a:pt x="44117" y="35052"/>
                    <a:pt x="44117" y="35052"/>
                    <a:pt x="44117" y="35052"/>
                  </a:cubicBezTo>
                  <a:cubicBezTo>
                    <a:pt x="43823" y="34105"/>
                    <a:pt x="43823" y="34105"/>
                    <a:pt x="43823" y="34105"/>
                  </a:cubicBezTo>
                  <a:cubicBezTo>
                    <a:pt x="42647" y="33473"/>
                    <a:pt x="42647" y="33473"/>
                    <a:pt x="42647" y="33473"/>
                  </a:cubicBezTo>
                  <a:cubicBezTo>
                    <a:pt x="41176" y="33473"/>
                    <a:pt x="41176" y="33473"/>
                    <a:pt x="41176" y="33473"/>
                  </a:cubicBezTo>
                  <a:cubicBezTo>
                    <a:pt x="39705" y="32526"/>
                    <a:pt x="39705" y="32526"/>
                    <a:pt x="39705" y="32526"/>
                  </a:cubicBezTo>
                  <a:cubicBezTo>
                    <a:pt x="37941" y="31894"/>
                    <a:pt x="37941" y="31894"/>
                    <a:pt x="37941" y="31894"/>
                  </a:cubicBezTo>
                  <a:cubicBezTo>
                    <a:pt x="37352" y="30631"/>
                    <a:pt x="37352" y="30631"/>
                    <a:pt x="37352" y="30631"/>
                  </a:cubicBezTo>
                  <a:cubicBezTo>
                    <a:pt x="38529" y="29684"/>
                    <a:pt x="38529" y="29684"/>
                    <a:pt x="38529" y="29684"/>
                  </a:cubicBezTo>
                  <a:cubicBezTo>
                    <a:pt x="38235" y="28736"/>
                    <a:pt x="38235" y="28736"/>
                    <a:pt x="38235" y="28736"/>
                  </a:cubicBezTo>
                  <a:cubicBezTo>
                    <a:pt x="37647" y="28105"/>
                    <a:pt x="37647" y="28105"/>
                    <a:pt x="37647" y="28105"/>
                  </a:cubicBezTo>
                  <a:cubicBezTo>
                    <a:pt x="36176" y="29052"/>
                    <a:pt x="36176" y="29052"/>
                    <a:pt x="36176" y="29052"/>
                  </a:cubicBezTo>
                  <a:cubicBezTo>
                    <a:pt x="36176" y="30000"/>
                    <a:pt x="36176" y="30000"/>
                    <a:pt x="36176" y="30000"/>
                  </a:cubicBezTo>
                  <a:cubicBezTo>
                    <a:pt x="34705" y="30631"/>
                    <a:pt x="34705" y="30631"/>
                    <a:pt x="34705" y="30631"/>
                  </a:cubicBezTo>
                  <a:cubicBezTo>
                    <a:pt x="34117" y="31894"/>
                    <a:pt x="34117" y="31894"/>
                    <a:pt x="34117" y="31894"/>
                  </a:cubicBezTo>
                  <a:cubicBezTo>
                    <a:pt x="35000" y="32842"/>
                    <a:pt x="35000" y="32842"/>
                    <a:pt x="35000" y="32842"/>
                  </a:cubicBezTo>
                  <a:cubicBezTo>
                    <a:pt x="35000" y="34421"/>
                    <a:pt x="35000" y="34421"/>
                    <a:pt x="35000" y="34421"/>
                  </a:cubicBezTo>
                  <a:cubicBezTo>
                    <a:pt x="35000" y="34421"/>
                    <a:pt x="34705" y="36000"/>
                    <a:pt x="35000" y="36315"/>
                  </a:cubicBezTo>
                  <a:cubicBezTo>
                    <a:pt x="35000" y="36315"/>
                    <a:pt x="34705" y="37263"/>
                    <a:pt x="34705" y="37894"/>
                  </a:cubicBezTo>
                  <a:cubicBezTo>
                    <a:pt x="35000" y="38210"/>
                    <a:pt x="35000" y="38526"/>
                    <a:pt x="35588" y="38842"/>
                  </a:cubicBezTo>
                  <a:cubicBezTo>
                    <a:pt x="35882" y="39157"/>
                    <a:pt x="35882" y="39157"/>
                    <a:pt x="36470" y="39473"/>
                  </a:cubicBezTo>
                  <a:cubicBezTo>
                    <a:pt x="37058" y="39789"/>
                    <a:pt x="37352" y="40105"/>
                    <a:pt x="37352" y="40105"/>
                  </a:cubicBezTo>
                  <a:cubicBezTo>
                    <a:pt x="37941" y="41368"/>
                    <a:pt x="37941" y="41368"/>
                    <a:pt x="37941" y="41368"/>
                  </a:cubicBezTo>
                  <a:cubicBezTo>
                    <a:pt x="37941" y="41368"/>
                    <a:pt x="38235" y="41684"/>
                    <a:pt x="38529" y="41684"/>
                  </a:cubicBezTo>
                  <a:cubicBezTo>
                    <a:pt x="38823" y="42000"/>
                    <a:pt x="39705" y="42315"/>
                    <a:pt x="39705" y="42631"/>
                  </a:cubicBezTo>
                  <a:cubicBezTo>
                    <a:pt x="39705" y="43263"/>
                    <a:pt x="40000" y="43894"/>
                    <a:pt x="40000" y="43894"/>
                  </a:cubicBezTo>
                  <a:cubicBezTo>
                    <a:pt x="40000" y="43894"/>
                    <a:pt x="40294" y="44526"/>
                    <a:pt x="40294" y="44526"/>
                  </a:cubicBezTo>
                  <a:cubicBezTo>
                    <a:pt x="40588" y="44842"/>
                    <a:pt x="40882" y="44526"/>
                    <a:pt x="40882" y="44842"/>
                  </a:cubicBezTo>
                  <a:cubicBezTo>
                    <a:pt x="41176" y="45157"/>
                    <a:pt x="40882" y="45473"/>
                    <a:pt x="41470" y="45789"/>
                  </a:cubicBezTo>
                  <a:cubicBezTo>
                    <a:pt x="41764" y="46421"/>
                    <a:pt x="42352" y="46736"/>
                    <a:pt x="42352" y="46736"/>
                  </a:cubicBezTo>
                  <a:cubicBezTo>
                    <a:pt x="42647" y="46736"/>
                    <a:pt x="43235" y="47052"/>
                    <a:pt x="43235" y="47052"/>
                  </a:cubicBezTo>
                  <a:cubicBezTo>
                    <a:pt x="45000" y="48315"/>
                    <a:pt x="45000" y="48315"/>
                    <a:pt x="45000" y="48315"/>
                  </a:cubicBezTo>
                  <a:cubicBezTo>
                    <a:pt x="46176" y="49894"/>
                    <a:pt x="46176" y="49894"/>
                    <a:pt x="46176" y="49894"/>
                  </a:cubicBezTo>
                  <a:cubicBezTo>
                    <a:pt x="47058" y="50842"/>
                    <a:pt x="47058" y="50842"/>
                    <a:pt x="47058" y="50842"/>
                  </a:cubicBezTo>
                  <a:cubicBezTo>
                    <a:pt x="46764" y="52105"/>
                    <a:pt x="46764" y="52105"/>
                    <a:pt x="46764" y="52105"/>
                  </a:cubicBezTo>
                  <a:cubicBezTo>
                    <a:pt x="46470" y="52736"/>
                    <a:pt x="46470" y="52736"/>
                    <a:pt x="46470" y="52736"/>
                  </a:cubicBezTo>
                  <a:cubicBezTo>
                    <a:pt x="46470" y="52736"/>
                    <a:pt x="45882" y="53052"/>
                    <a:pt x="45588" y="53052"/>
                  </a:cubicBezTo>
                  <a:cubicBezTo>
                    <a:pt x="45588" y="53052"/>
                    <a:pt x="45000" y="53368"/>
                    <a:pt x="45000" y="53368"/>
                  </a:cubicBezTo>
                  <a:cubicBezTo>
                    <a:pt x="45000" y="53368"/>
                    <a:pt x="44705" y="53052"/>
                    <a:pt x="44705" y="53052"/>
                  </a:cubicBezTo>
                  <a:cubicBezTo>
                    <a:pt x="45000" y="52736"/>
                    <a:pt x="45882" y="52421"/>
                    <a:pt x="45882" y="52421"/>
                  </a:cubicBezTo>
                  <a:cubicBezTo>
                    <a:pt x="45882" y="52421"/>
                    <a:pt x="45882" y="51473"/>
                    <a:pt x="45588" y="51473"/>
                  </a:cubicBezTo>
                  <a:cubicBezTo>
                    <a:pt x="45294" y="51157"/>
                    <a:pt x="44411" y="50526"/>
                    <a:pt x="44411" y="50526"/>
                  </a:cubicBezTo>
                  <a:cubicBezTo>
                    <a:pt x="43823" y="49894"/>
                    <a:pt x="43823" y="49894"/>
                    <a:pt x="43823" y="49894"/>
                  </a:cubicBezTo>
                  <a:cubicBezTo>
                    <a:pt x="42941" y="49894"/>
                    <a:pt x="42941" y="49894"/>
                    <a:pt x="42941" y="49894"/>
                  </a:cubicBezTo>
                  <a:cubicBezTo>
                    <a:pt x="42941" y="49894"/>
                    <a:pt x="42352" y="49894"/>
                    <a:pt x="42352" y="50210"/>
                  </a:cubicBezTo>
                  <a:cubicBezTo>
                    <a:pt x="42058" y="50526"/>
                    <a:pt x="41176" y="51157"/>
                    <a:pt x="41176" y="51157"/>
                  </a:cubicBezTo>
                  <a:cubicBezTo>
                    <a:pt x="40588" y="52421"/>
                    <a:pt x="40588" y="52421"/>
                    <a:pt x="40588" y="52421"/>
                  </a:cubicBezTo>
                  <a:cubicBezTo>
                    <a:pt x="42058" y="52736"/>
                    <a:pt x="42058" y="52736"/>
                    <a:pt x="42058" y="52736"/>
                  </a:cubicBezTo>
                  <a:cubicBezTo>
                    <a:pt x="42058" y="52736"/>
                    <a:pt x="42647" y="53368"/>
                    <a:pt x="42647" y="53368"/>
                  </a:cubicBezTo>
                  <a:cubicBezTo>
                    <a:pt x="42647" y="53684"/>
                    <a:pt x="43235" y="54315"/>
                    <a:pt x="43235" y="54315"/>
                  </a:cubicBezTo>
                  <a:cubicBezTo>
                    <a:pt x="43823" y="54631"/>
                    <a:pt x="43823" y="54631"/>
                    <a:pt x="43823" y="54631"/>
                  </a:cubicBezTo>
                  <a:cubicBezTo>
                    <a:pt x="43823" y="55263"/>
                    <a:pt x="43823" y="55263"/>
                    <a:pt x="43823" y="55263"/>
                  </a:cubicBezTo>
                  <a:cubicBezTo>
                    <a:pt x="43529" y="56210"/>
                    <a:pt x="43529" y="56210"/>
                    <a:pt x="43529" y="56210"/>
                  </a:cubicBezTo>
                  <a:cubicBezTo>
                    <a:pt x="42647" y="57473"/>
                    <a:pt x="42647" y="57473"/>
                    <a:pt x="42647" y="57473"/>
                  </a:cubicBezTo>
                  <a:cubicBezTo>
                    <a:pt x="42647" y="57473"/>
                    <a:pt x="42058" y="57789"/>
                    <a:pt x="42058" y="57789"/>
                  </a:cubicBezTo>
                  <a:cubicBezTo>
                    <a:pt x="41764" y="57789"/>
                    <a:pt x="41176" y="58421"/>
                    <a:pt x="41176" y="58421"/>
                  </a:cubicBezTo>
                  <a:cubicBezTo>
                    <a:pt x="41176" y="58421"/>
                    <a:pt x="40882" y="58421"/>
                    <a:pt x="40882" y="58421"/>
                  </a:cubicBezTo>
                  <a:cubicBezTo>
                    <a:pt x="40588" y="58421"/>
                    <a:pt x="40000" y="58105"/>
                    <a:pt x="39705" y="58105"/>
                  </a:cubicBezTo>
                  <a:cubicBezTo>
                    <a:pt x="39705" y="58105"/>
                    <a:pt x="39117" y="58421"/>
                    <a:pt x="39117" y="58421"/>
                  </a:cubicBezTo>
                  <a:cubicBezTo>
                    <a:pt x="39117" y="58421"/>
                    <a:pt x="38235" y="59052"/>
                    <a:pt x="39411" y="59368"/>
                  </a:cubicBezTo>
                  <a:cubicBezTo>
                    <a:pt x="40588" y="59368"/>
                    <a:pt x="40882" y="59368"/>
                    <a:pt x="41176" y="59368"/>
                  </a:cubicBezTo>
                  <a:cubicBezTo>
                    <a:pt x="41176" y="59368"/>
                    <a:pt x="42352" y="59368"/>
                    <a:pt x="42352" y="59368"/>
                  </a:cubicBezTo>
                  <a:cubicBezTo>
                    <a:pt x="42352" y="59368"/>
                    <a:pt x="42647" y="59368"/>
                    <a:pt x="42941" y="59684"/>
                  </a:cubicBezTo>
                  <a:cubicBezTo>
                    <a:pt x="43529" y="59684"/>
                    <a:pt x="43823" y="59684"/>
                    <a:pt x="44117" y="60000"/>
                  </a:cubicBezTo>
                  <a:cubicBezTo>
                    <a:pt x="44411" y="60000"/>
                    <a:pt x="44705" y="60315"/>
                    <a:pt x="44705" y="60315"/>
                  </a:cubicBezTo>
                  <a:cubicBezTo>
                    <a:pt x="44705" y="60631"/>
                    <a:pt x="44705" y="60631"/>
                    <a:pt x="45000" y="60631"/>
                  </a:cubicBezTo>
                  <a:cubicBezTo>
                    <a:pt x="45294" y="60631"/>
                    <a:pt x="45588" y="60947"/>
                    <a:pt x="45588" y="60947"/>
                  </a:cubicBezTo>
                  <a:cubicBezTo>
                    <a:pt x="45882" y="60947"/>
                    <a:pt x="45882" y="60947"/>
                    <a:pt x="45882" y="60947"/>
                  </a:cubicBezTo>
                  <a:cubicBezTo>
                    <a:pt x="45882" y="60947"/>
                    <a:pt x="46176" y="60947"/>
                    <a:pt x="46470" y="60947"/>
                  </a:cubicBezTo>
                  <a:cubicBezTo>
                    <a:pt x="46764" y="60947"/>
                    <a:pt x="46764" y="60631"/>
                    <a:pt x="47058" y="60631"/>
                  </a:cubicBezTo>
                  <a:cubicBezTo>
                    <a:pt x="47352" y="60631"/>
                    <a:pt x="48235" y="60631"/>
                    <a:pt x="48235" y="60631"/>
                  </a:cubicBezTo>
                  <a:cubicBezTo>
                    <a:pt x="48823" y="61894"/>
                    <a:pt x="48823" y="61894"/>
                    <a:pt x="48823" y="61894"/>
                  </a:cubicBezTo>
                  <a:cubicBezTo>
                    <a:pt x="48823" y="61894"/>
                    <a:pt x="48823" y="62210"/>
                    <a:pt x="49117" y="62210"/>
                  </a:cubicBezTo>
                  <a:cubicBezTo>
                    <a:pt x="49117" y="62526"/>
                    <a:pt x="49705" y="62842"/>
                    <a:pt x="50000" y="62842"/>
                  </a:cubicBezTo>
                  <a:cubicBezTo>
                    <a:pt x="50294" y="62842"/>
                    <a:pt x="52647" y="62210"/>
                    <a:pt x="52647" y="62210"/>
                  </a:cubicBezTo>
                  <a:cubicBezTo>
                    <a:pt x="51470" y="61263"/>
                    <a:pt x="51470" y="61263"/>
                    <a:pt x="51470" y="61263"/>
                  </a:cubicBezTo>
                  <a:cubicBezTo>
                    <a:pt x="51470" y="61263"/>
                    <a:pt x="50882" y="60631"/>
                    <a:pt x="50588" y="60315"/>
                  </a:cubicBezTo>
                  <a:cubicBezTo>
                    <a:pt x="50588" y="60000"/>
                    <a:pt x="49117" y="59052"/>
                    <a:pt x="49117" y="59052"/>
                  </a:cubicBezTo>
                  <a:cubicBezTo>
                    <a:pt x="47647" y="58736"/>
                    <a:pt x="47647" y="58736"/>
                    <a:pt x="47647" y="58736"/>
                  </a:cubicBezTo>
                  <a:cubicBezTo>
                    <a:pt x="45882" y="57789"/>
                    <a:pt x="45882" y="57789"/>
                    <a:pt x="45882" y="57789"/>
                  </a:cubicBezTo>
                  <a:cubicBezTo>
                    <a:pt x="44117" y="57157"/>
                    <a:pt x="44117" y="57157"/>
                    <a:pt x="44117" y="57157"/>
                  </a:cubicBezTo>
                  <a:cubicBezTo>
                    <a:pt x="44117" y="57157"/>
                    <a:pt x="44705" y="55894"/>
                    <a:pt x="45000" y="55578"/>
                  </a:cubicBezTo>
                  <a:cubicBezTo>
                    <a:pt x="45000" y="55263"/>
                    <a:pt x="45000" y="54315"/>
                    <a:pt x="45294" y="54315"/>
                  </a:cubicBezTo>
                  <a:cubicBezTo>
                    <a:pt x="45588" y="54631"/>
                    <a:pt x="46176" y="54631"/>
                    <a:pt x="46470" y="54631"/>
                  </a:cubicBezTo>
                  <a:cubicBezTo>
                    <a:pt x="46764" y="54631"/>
                    <a:pt x="47352" y="54315"/>
                    <a:pt x="47647" y="54315"/>
                  </a:cubicBezTo>
                  <a:cubicBezTo>
                    <a:pt x="47941" y="54315"/>
                    <a:pt x="48529" y="54631"/>
                    <a:pt x="48529" y="54631"/>
                  </a:cubicBezTo>
                  <a:cubicBezTo>
                    <a:pt x="48529" y="54631"/>
                    <a:pt x="48823" y="55263"/>
                    <a:pt x="48823" y="55578"/>
                  </a:cubicBezTo>
                  <a:cubicBezTo>
                    <a:pt x="49117" y="55578"/>
                    <a:pt x="49117" y="56210"/>
                    <a:pt x="49411" y="56526"/>
                  </a:cubicBezTo>
                  <a:cubicBezTo>
                    <a:pt x="49705" y="56526"/>
                    <a:pt x="51176" y="57157"/>
                    <a:pt x="51176" y="57157"/>
                  </a:cubicBezTo>
                  <a:cubicBezTo>
                    <a:pt x="51176" y="57157"/>
                    <a:pt x="52941" y="57789"/>
                    <a:pt x="52941" y="57789"/>
                  </a:cubicBezTo>
                  <a:cubicBezTo>
                    <a:pt x="53235" y="57789"/>
                    <a:pt x="53823" y="57789"/>
                    <a:pt x="53823" y="57789"/>
                  </a:cubicBezTo>
                  <a:cubicBezTo>
                    <a:pt x="54705" y="58736"/>
                    <a:pt x="54705" y="58736"/>
                    <a:pt x="54705" y="58736"/>
                  </a:cubicBezTo>
                  <a:cubicBezTo>
                    <a:pt x="56470" y="58421"/>
                    <a:pt x="56470" y="58421"/>
                    <a:pt x="56470" y="58421"/>
                  </a:cubicBezTo>
                  <a:cubicBezTo>
                    <a:pt x="58235" y="58105"/>
                    <a:pt x="58235" y="58105"/>
                    <a:pt x="58235" y="58105"/>
                  </a:cubicBezTo>
                  <a:cubicBezTo>
                    <a:pt x="58529" y="58736"/>
                    <a:pt x="58529" y="58736"/>
                    <a:pt x="58529" y="58736"/>
                  </a:cubicBezTo>
                  <a:cubicBezTo>
                    <a:pt x="58529" y="58736"/>
                    <a:pt x="59411" y="59368"/>
                    <a:pt x="59411" y="59368"/>
                  </a:cubicBezTo>
                  <a:cubicBezTo>
                    <a:pt x="59411" y="59684"/>
                    <a:pt x="60000" y="60947"/>
                    <a:pt x="60000" y="60947"/>
                  </a:cubicBezTo>
                  <a:cubicBezTo>
                    <a:pt x="60000" y="60947"/>
                    <a:pt x="60000" y="61894"/>
                    <a:pt x="60000" y="61894"/>
                  </a:cubicBezTo>
                  <a:cubicBezTo>
                    <a:pt x="60000" y="62210"/>
                    <a:pt x="60588" y="63473"/>
                    <a:pt x="60588" y="63473"/>
                  </a:cubicBezTo>
                  <a:cubicBezTo>
                    <a:pt x="60882" y="63789"/>
                    <a:pt x="62058" y="65052"/>
                    <a:pt x="62058" y="65368"/>
                  </a:cubicBezTo>
                  <a:cubicBezTo>
                    <a:pt x="62058" y="65368"/>
                    <a:pt x="62647" y="66315"/>
                    <a:pt x="62941" y="66315"/>
                  </a:cubicBezTo>
                  <a:cubicBezTo>
                    <a:pt x="62941" y="66315"/>
                    <a:pt x="63235" y="66000"/>
                    <a:pt x="63235" y="66000"/>
                  </a:cubicBezTo>
                  <a:cubicBezTo>
                    <a:pt x="63529" y="66000"/>
                    <a:pt x="64411" y="65368"/>
                    <a:pt x="64411" y="65368"/>
                  </a:cubicBezTo>
                  <a:cubicBezTo>
                    <a:pt x="64411" y="65368"/>
                    <a:pt x="65294" y="65368"/>
                    <a:pt x="65294" y="65684"/>
                  </a:cubicBezTo>
                  <a:cubicBezTo>
                    <a:pt x="65294" y="66000"/>
                    <a:pt x="66470" y="66947"/>
                    <a:pt x="66470" y="66947"/>
                  </a:cubicBezTo>
                  <a:cubicBezTo>
                    <a:pt x="66470" y="66947"/>
                    <a:pt x="66764" y="68210"/>
                    <a:pt x="66764" y="68210"/>
                  </a:cubicBezTo>
                  <a:cubicBezTo>
                    <a:pt x="66470" y="68526"/>
                    <a:pt x="65588" y="68842"/>
                    <a:pt x="65588" y="69157"/>
                  </a:cubicBezTo>
                  <a:cubicBezTo>
                    <a:pt x="65294" y="69157"/>
                    <a:pt x="64411" y="69157"/>
                    <a:pt x="64411" y="69157"/>
                  </a:cubicBezTo>
                  <a:cubicBezTo>
                    <a:pt x="64117" y="69473"/>
                    <a:pt x="62941" y="69789"/>
                    <a:pt x="62941" y="69789"/>
                  </a:cubicBezTo>
                  <a:cubicBezTo>
                    <a:pt x="62941" y="68526"/>
                    <a:pt x="62941" y="68526"/>
                    <a:pt x="62941" y="68526"/>
                  </a:cubicBezTo>
                  <a:cubicBezTo>
                    <a:pt x="62941" y="68526"/>
                    <a:pt x="62941" y="68210"/>
                    <a:pt x="62647" y="68210"/>
                  </a:cubicBezTo>
                  <a:cubicBezTo>
                    <a:pt x="62647" y="68210"/>
                    <a:pt x="60882" y="67578"/>
                    <a:pt x="60882" y="67578"/>
                  </a:cubicBezTo>
                  <a:cubicBezTo>
                    <a:pt x="60588" y="66000"/>
                    <a:pt x="60588" y="66000"/>
                    <a:pt x="60588" y="66000"/>
                  </a:cubicBezTo>
                  <a:cubicBezTo>
                    <a:pt x="59705" y="65052"/>
                    <a:pt x="59705" y="65052"/>
                    <a:pt x="59705" y="65052"/>
                  </a:cubicBezTo>
                  <a:cubicBezTo>
                    <a:pt x="58823" y="64421"/>
                    <a:pt x="58823" y="64421"/>
                    <a:pt x="58823" y="64421"/>
                  </a:cubicBezTo>
                  <a:cubicBezTo>
                    <a:pt x="58235" y="63473"/>
                    <a:pt x="58235" y="63473"/>
                    <a:pt x="58235" y="63473"/>
                  </a:cubicBezTo>
                  <a:cubicBezTo>
                    <a:pt x="57058" y="63473"/>
                    <a:pt x="57058" y="63473"/>
                    <a:pt x="57058" y="63473"/>
                  </a:cubicBezTo>
                  <a:cubicBezTo>
                    <a:pt x="57058" y="63473"/>
                    <a:pt x="56470" y="63789"/>
                    <a:pt x="56470" y="63789"/>
                  </a:cubicBezTo>
                  <a:cubicBezTo>
                    <a:pt x="56176" y="64105"/>
                    <a:pt x="55000" y="63789"/>
                    <a:pt x="55000" y="63789"/>
                  </a:cubicBezTo>
                  <a:cubicBezTo>
                    <a:pt x="54117" y="64105"/>
                    <a:pt x="54117" y="64105"/>
                    <a:pt x="54117" y="64105"/>
                  </a:cubicBezTo>
                  <a:cubicBezTo>
                    <a:pt x="54117" y="64736"/>
                    <a:pt x="54117" y="64736"/>
                    <a:pt x="54117" y="64736"/>
                  </a:cubicBezTo>
                  <a:cubicBezTo>
                    <a:pt x="55588" y="64736"/>
                    <a:pt x="55588" y="64736"/>
                    <a:pt x="55588" y="64736"/>
                  </a:cubicBezTo>
                  <a:cubicBezTo>
                    <a:pt x="56764" y="65052"/>
                    <a:pt x="56764" y="65052"/>
                    <a:pt x="56764" y="65052"/>
                  </a:cubicBezTo>
                  <a:cubicBezTo>
                    <a:pt x="58529" y="65368"/>
                    <a:pt x="58529" y="65368"/>
                    <a:pt x="58529" y="65368"/>
                  </a:cubicBezTo>
                  <a:cubicBezTo>
                    <a:pt x="58529" y="66631"/>
                    <a:pt x="58529" y="66631"/>
                    <a:pt x="58529" y="66631"/>
                  </a:cubicBezTo>
                  <a:cubicBezTo>
                    <a:pt x="58529" y="66631"/>
                    <a:pt x="58823" y="67263"/>
                    <a:pt x="58823" y="67578"/>
                  </a:cubicBezTo>
                  <a:cubicBezTo>
                    <a:pt x="58823" y="67894"/>
                    <a:pt x="59411" y="69157"/>
                    <a:pt x="59411" y="69157"/>
                  </a:cubicBezTo>
                  <a:cubicBezTo>
                    <a:pt x="60000" y="71052"/>
                    <a:pt x="60000" y="71052"/>
                    <a:pt x="60000" y="71052"/>
                  </a:cubicBezTo>
                  <a:cubicBezTo>
                    <a:pt x="60588" y="72315"/>
                    <a:pt x="60588" y="72315"/>
                    <a:pt x="60588" y="72315"/>
                  </a:cubicBezTo>
                  <a:cubicBezTo>
                    <a:pt x="61176" y="72631"/>
                    <a:pt x="61176" y="72631"/>
                    <a:pt x="61176" y="72631"/>
                  </a:cubicBezTo>
                  <a:cubicBezTo>
                    <a:pt x="61176" y="73894"/>
                    <a:pt x="61176" y="73894"/>
                    <a:pt x="61176" y="73894"/>
                  </a:cubicBezTo>
                  <a:cubicBezTo>
                    <a:pt x="61764" y="74210"/>
                    <a:pt x="61764" y="74210"/>
                    <a:pt x="61764" y="74210"/>
                  </a:cubicBezTo>
                  <a:cubicBezTo>
                    <a:pt x="61764" y="74210"/>
                    <a:pt x="61470" y="74526"/>
                    <a:pt x="61470" y="74842"/>
                  </a:cubicBezTo>
                  <a:cubicBezTo>
                    <a:pt x="61470" y="74842"/>
                    <a:pt x="60882" y="75789"/>
                    <a:pt x="60882" y="75789"/>
                  </a:cubicBezTo>
                  <a:cubicBezTo>
                    <a:pt x="60882" y="75789"/>
                    <a:pt x="60294" y="75789"/>
                    <a:pt x="60000" y="75789"/>
                  </a:cubicBezTo>
                  <a:cubicBezTo>
                    <a:pt x="60000" y="75473"/>
                    <a:pt x="59705" y="74842"/>
                    <a:pt x="59411" y="74842"/>
                  </a:cubicBezTo>
                  <a:cubicBezTo>
                    <a:pt x="58823" y="74526"/>
                    <a:pt x="58823" y="73894"/>
                    <a:pt x="58529" y="73894"/>
                  </a:cubicBezTo>
                  <a:cubicBezTo>
                    <a:pt x="58235" y="73894"/>
                    <a:pt x="57352" y="73894"/>
                    <a:pt x="57352" y="73894"/>
                  </a:cubicBezTo>
                  <a:cubicBezTo>
                    <a:pt x="57352" y="73894"/>
                    <a:pt x="56764" y="72947"/>
                    <a:pt x="56470" y="72631"/>
                  </a:cubicBezTo>
                  <a:cubicBezTo>
                    <a:pt x="56470" y="72631"/>
                    <a:pt x="56176" y="72315"/>
                    <a:pt x="55882" y="72000"/>
                  </a:cubicBezTo>
                  <a:cubicBezTo>
                    <a:pt x="55588" y="71684"/>
                    <a:pt x="55000" y="70736"/>
                    <a:pt x="55000" y="71052"/>
                  </a:cubicBezTo>
                  <a:cubicBezTo>
                    <a:pt x="55000" y="71684"/>
                    <a:pt x="55294" y="72315"/>
                    <a:pt x="55000" y="72315"/>
                  </a:cubicBezTo>
                  <a:cubicBezTo>
                    <a:pt x="54411" y="72315"/>
                    <a:pt x="54117" y="72315"/>
                    <a:pt x="54117" y="72315"/>
                  </a:cubicBezTo>
                  <a:cubicBezTo>
                    <a:pt x="54117" y="72315"/>
                    <a:pt x="53529" y="72947"/>
                    <a:pt x="53235" y="73263"/>
                  </a:cubicBezTo>
                  <a:cubicBezTo>
                    <a:pt x="53235" y="73263"/>
                    <a:pt x="53529" y="73263"/>
                    <a:pt x="52941" y="73578"/>
                  </a:cubicBezTo>
                  <a:cubicBezTo>
                    <a:pt x="52647" y="73578"/>
                    <a:pt x="52058" y="73578"/>
                    <a:pt x="52058" y="73578"/>
                  </a:cubicBezTo>
                  <a:cubicBezTo>
                    <a:pt x="52058" y="73263"/>
                    <a:pt x="52058" y="73263"/>
                    <a:pt x="52058" y="72947"/>
                  </a:cubicBezTo>
                  <a:cubicBezTo>
                    <a:pt x="52352" y="72631"/>
                    <a:pt x="54117" y="71684"/>
                    <a:pt x="54117" y="71684"/>
                  </a:cubicBezTo>
                  <a:cubicBezTo>
                    <a:pt x="54117" y="71368"/>
                    <a:pt x="53529" y="70421"/>
                    <a:pt x="53529" y="70421"/>
                  </a:cubicBezTo>
                  <a:cubicBezTo>
                    <a:pt x="53235" y="70736"/>
                    <a:pt x="53235" y="70736"/>
                    <a:pt x="53235" y="70736"/>
                  </a:cubicBezTo>
                  <a:cubicBezTo>
                    <a:pt x="52352" y="71368"/>
                    <a:pt x="52352" y="71368"/>
                    <a:pt x="52352" y="71368"/>
                  </a:cubicBezTo>
                  <a:cubicBezTo>
                    <a:pt x="51176" y="72315"/>
                    <a:pt x="51176" y="72315"/>
                    <a:pt x="51176" y="72315"/>
                  </a:cubicBezTo>
                  <a:cubicBezTo>
                    <a:pt x="50294" y="72631"/>
                    <a:pt x="50294" y="72631"/>
                    <a:pt x="50294" y="72631"/>
                  </a:cubicBezTo>
                  <a:cubicBezTo>
                    <a:pt x="49411" y="73263"/>
                    <a:pt x="49411" y="73263"/>
                    <a:pt x="49411" y="73263"/>
                  </a:cubicBezTo>
                  <a:cubicBezTo>
                    <a:pt x="48235" y="73578"/>
                    <a:pt x="48235" y="73578"/>
                    <a:pt x="48235" y="73578"/>
                  </a:cubicBezTo>
                  <a:cubicBezTo>
                    <a:pt x="47058" y="73578"/>
                    <a:pt x="47058" y="73578"/>
                    <a:pt x="47058" y="73578"/>
                  </a:cubicBezTo>
                  <a:cubicBezTo>
                    <a:pt x="46470" y="73263"/>
                    <a:pt x="46470" y="73263"/>
                    <a:pt x="46470" y="73263"/>
                  </a:cubicBezTo>
                  <a:cubicBezTo>
                    <a:pt x="45882" y="72315"/>
                    <a:pt x="45882" y="72315"/>
                    <a:pt x="45882" y="72315"/>
                  </a:cubicBezTo>
                  <a:cubicBezTo>
                    <a:pt x="45588" y="72315"/>
                    <a:pt x="45588" y="72315"/>
                    <a:pt x="45588" y="72315"/>
                  </a:cubicBezTo>
                  <a:cubicBezTo>
                    <a:pt x="45588" y="72315"/>
                    <a:pt x="45294" y="71684"/>
                    <a:pt x="45588" y="71368"/>
                  </a:cubicBezTo>
                  <a:cubicBezTo>
                    <a:pt x="45588" y="71368"/>
                    <a:pt x="45882" y="71052"/>
                    <a:pt x="46470" y="71052"/>
                  </a:cubicBezTo>
                  <a:cubicBezTo>
                    <a:pt x="47058" y="71052"/>
                    <a:pt x="47352" y="71052"/>
                    <a:pt x="47647" y="71052"/>
                  </a:cubicBezTo>
                  <a:cubicBezTo>
                    <a:pt x="47941" y="71052"/>
                    <a:pt x="48235" y="70736"/>
                    <a:pt x="48235" y="70736"/>
                  </a:cubicBezTo>
                  <a:cubicBezTo>
                    <a:pt x="48235" y="70736"/>
                    <a:pt x="48529" y="70736"/>
                    <a:pt x="48529" y="70421"/>
                  </a:cubicBezTo>
                  <a:cubicBezTo>
                    <a:pt x="48529" y="70105"/>
                    <a:pt x="47647" y="68842"/>
                    <a:pt x="47647" y="68842"/>
                  </a:cubicBezTo>
                  <a:cubicBezTo>
                    <a:pt x="47647" y="68842"/>
                    <a:pt x="46470" y="68842"/>
                    <a:pt x="46176" y="69157"/>
                  </a:cubicBezTo>
                  <a:cubicBezTo>
                    <a:pt x="45588" y="69157"/>
                    <a:pt x="45588" y="69789"/>
                    <a:pt x="45000" y="69473"/>
                  </a:cubicBezTo>
                  <a:cubicBezTo>
                    <a:pt x="44411" y="69157"/>
                    <a:pt x="42941" y="68526"/>
                    <a:pt x="42941" y="68526"/>
                  </a:cubicBezTo>
                  <a:cubicBezTo>
                    <a:pt x="41764" y="67263"/>
                    <a:pt x="41764" y="67263"/>
                    <a:pt x="41764" y="67263"/>
                  </a:cubicBezTo>
                  <a:cubicBezTo>
                    <a:pt x="41176" y="67894"/>
                    <a:pt x="41176" y="67894"/>
                    <a:pt x="41176" y="67894"/>
                  </a:cubicBezTo>
                  <a:cubicBezTo>
                    <a:pt x="40294" y="68526"/>
                    <a:pt x="40294" y="68526"/>
                    <a:pt x="40294" y="68526"/>
                  </a:cubicBezTo>
                  <a:cubicBezTo>
                    <a:pt x="40294" y="68526"/>
                    <a:pt x="40294" y="69157"/>
                    <a:pt x="39705" y="68526"/>
                  </a:cubicBezTo>
                  <a:cubicBezTo>
                    <a:pt x="39117" y="67578"/>
                    <a:pt x="39117" y="66947"/>
                    <a:pt x="39117" y="66947"/>
                  </a:cubicBezTo>
                  <a:cubicBezTo>
                    <a:pt x="38235" y="66947"/>
                    <a:pt x="38235" y="66947"/>
                    <a:pt x="38235" y="66947"/>
                  </a:cubicBezTo>
                  <a:cubicBezTo>
                    <a:pt x="37941" y="67894"/>
                    <a:pt x="37941" y="67894"/>
                    <a:pt x="37941" y="67894"/>
                  </a:cubicBezTo>
                  <a:cubicBezTo>
                    <a:pt x="37941" y="67894"/>
                    <a:pt x="37352" y="68842"/>
                    <a:pt x="37352" y="68842"/>
                  </a:cubicBezTo>
                  <a:cubicBezTo>
                    <a:pt x="37058" y="68842"/>
                    <a:pt x="36176" y="68842"/>
                    <a:pt x="35882" y="69157"/>
                  </a:cubicBezTo>
                  <a:cubicBezTo>
                    <a:pt x="35882" y="69157"/>
                    <a:pt x="34411" y="69157"/>
                    <a:pt x="34411" y="69157"/>
                  </a:cubicBezTo>
                  <a:cubicBezTo>
                    <a:pt x="32352" y="68526"/>
                    <a:pt x="32352" y="68526"/>
                    <a:pt x="32352" y="68526"/>
                  </a:cubicBezTo>
                  <a:cubicBezTo>
                    <a:pt x="32352" y="68526"/>
                    <a:pt x="31764" y="68842"/>
                    <a:pt x="31764" y="68842"/>
                  </a:cubicBezTo>
                  <a:cubicBezTo>
                    <a:pt x="31470" y="69157"/>
                    <a:pt x="28529" y="69789"/>
                    <a:pt x="28529" y="69789"/>
                  </a:cubicBezTo>
                  <a:cubicBezTo>
                    <a:pt x="27058" y="70736"/>
                    <a:pt x="27058" y="70736"/>
                    <a:pt x="27058" y="70736"/>
                  </a:cubicBezTo>
                  <a:cubicBezTo>
                    <a:pt x="26176" y="70736"/>
                    <a:pt x="26176" y="70736"/>
                    <a:pt x="26176" y="70736"/>
                  </a:cubicBezTo>
                  <a:cubicBezTo>
                    <a:pt x="25294" y="69473"/>
                    <a:pt x="25294" y="69473"/>
                    <a:pt x="25294" y="69473"/>
                  </a:cubicBezTo>
                  <a:cubicBezTo>
                    <a:pt x="24705" y="68526"/>
                    <a:pt x="24705" y="68526"/>
                    <a:pt x="24705" y="68526"/>
                  </a:cubicBezTo>
                  <a:cubicBezTo>
                    <a:pt x="24705" y="69789"/>
                    <a:pt x="24705" y="69789"/>
                    <a:pt x="24705" y="69789"/>
                  </a:cubicBezTo>
                  <a:cubicBezTo>
                    <a:pt x="24411" y="70421"/>
                    <a:pt x="24411" y="70421"/>
                    <a:pt x="24411" y="70421"/>
                  </a:cubicBezTo>
                  <a:cubicBezTo>
                    <a:pt x="24411" y="70421"/>
                    <a:pt x="23235" y="71684"/>
                    <a:pt x="22941" y="72000"/>
                  </a:cubicBezTo>
                  <a:cubicBezTo>
                    <a:pt x="22941" y="72000"/>
                    <a:pt x="21470" y="70421"/>
                    <a:pt x="21470" y="70421"/>
                  </a:cubicBezTo>
                  <a:cubicBezTo>
                    <a:pt x="21176" y="68210"/>
                    <a:pt x="21176" y="68210"/>
                    <a:pt x="21176" y="68210"/>
                  </a:cubicBezTo>
                  <a:cubicBezTo>
                    <a:pt x="19705" y="66631"/>
                    <a:pt x="19705" y="66631"/>
                    <a:pt x="19705" y="66631"/>
                  </a:cubicBezTo>
                  <a:cubicBezTo>
                    <a:pt x="18823" y="66947"/>
                    <a:pt x="18823" y="66947"/>
                    <a:pt x="18823" y="66947"/>
                  </a:cubicBezTo>
                  <a:cubicBezTo>
                    <a:pt x="18529" y="65368"/>
                    <a:pt x="18529" y="65368"/>
                    <a:pt x="18529" y="65368"/>
                  </a:cubicBezTo>
                  <a:cubicBezTo>
                    <a:pt x="17941" y="64421"/>
                    <a:pt x="17941" y="64421"/>
                    <a:pt x="17941" y="64421"/>
                  </a:cubicBezTo>
                  <a:cubicBezTo>
                    <a:pt x="16764" y="64421"/>
                    <a:pt x="16764" y="64421"/>
                    <a:pt x="16764" y="64421"/>
                  </a:cubicBezTo>
                  <a:cubicBezTo>
                    <a:pt x="16470" y="65052"/>
                    <a:pt x="16470" y="65052"/>
                    <a:pt x="16470" y="65052"/>
                  </a:cubicBezTo>
                  <a:cubicBezTo>
                    <a:pt x="16176" y="66000"/>
                    <a:pt x="16176" y="66000"/>
                    <a:pt x="16176" y="66000"/>
                  </a:cubicBezTo>
                  <a:cubicBezTo>
                    <a:pt x="16176" y="66000"/>
                    <a:pt x="16470" y="66947"/>
                    <a:pt x="16470" y="66947"/>
                  </a:cubicBezTo>
                  <a:cubicBezTo>
                    <a:pt x="16470" y="67263"/>
                    <a:pt x="16176" y="67578"/>
                    <a:pt x="15882" y="67578"/>
                  </a:cubicBezTo>
                  <a:cubicBezTo>
                    <a:pt x="15882" y="67578"/>
                    <a:pt x="14411" y="68210"/>
                    <a:pt x="14411" y="68210"/>
                  </a:cubicBezTo>
                  <a:cubicBezTo>
                    <a:pt x="14411" y="68210"/>
                    <a:pt x="14117" y="67263"/>
                    <a:pt x="14117" y="66947"/>
                  </a:cubicBezTo>
                  <a:cubicBezTo>
                    <a:pt x="14117" y="66315"/>
                    <a:pt x="14117" y="65368"/>
                    <a:pt x="14117" y="65368"/>
                  </a:cubicBezTo>
                  <a:cubicBezTo>
                    <a:pt x="14117" y="65368"/>
                    <a:pt x="15294" y="64736"/>
                    <a:pt x="15294" y="64736"/>
                  </a:cubicBezTo>
                  <a:cubicBezTo>
                    <a:pt x="15294" y="64421"/>
                    <a:pt x="16176" y="62842"/>
                    <a:pt x="16176" y="62842"/>
                  </a:cubicBezTo>
                  <a:cubicBezTo>
                    <a:pt x="16176" y="61894"/>
                    <a:pt x="16176" y="61894"/>
                    <a:pt x="16176" y="61894"/>
                  </a:cubicBezTo>
                  <a:cubicBezTo>
                    <a:pt x="16176" y="61894"/>
                    <a:pt x="17352" y="61578"/>
                    <a:pt x="17647" y="61578"/>
                  </a:cubicBezTo>
                  <a:cubicBezTo>
                    <a:pt x="17941" y="61578"/>
                    <a:pt x="18529" y="61578"/>
                    <a:pt x="18823" y="61894"/>
                  </a:cubicBezTo>
                  <a:cubicBezTo>
                    <a:pt x="19411" y="62210"/>
                    <a:pt x="19117" y="62210"/>
                    <a:pt x="19705" y="62210"/>
                  </a:cubicBezTo>
                  <a:cubicBezTo>
                    <a:pt x="20294" y="61894"/>
                    <a:pt x="20882" y="61578"/>
                    <a:pt x="20882" y="61263"/>
                  </a:cubicBezTo>
                  <a:cubicBezTo>
                    <a:pt x="20882" y="60947"/>
                    <a:pt x="21176" y="59684"/>
                    <a:pt x="20294" y="59684"/>
                  </a:cubicBezTo>
                  <a:cubicBezTo>
                    <a:pt x="19705" y="59684"/>
                    <a:pt x="18823" y="60315"/>
                    <a:pt x="18529" y="60315"/>
                  </a:cubicBezTo>
                  <a:cubicBezTo>
                    <a:pt x="18235" y="60631"/>
                    <a:pt x="17941" y="60315"/>
                    <a:pt x="17352" y="60000"/>
                  </a:cubicBezTo>
                  <a:cubicBezTo>
                    <a:pt x="17058" y="60000"/>
                    <a:pt x="16470" y="59684"/>
                    <a:pt x="16470" y="59684"/>
                  </a:cubicBezTo>
                  <a:cubicBezTo>
                    <a:pt x="15588" y="60631"/>
                    <a:pt x="15588" y="60631"/>
                    <a:pt x="15588" y="60631"/>
                  </a:cubicBezTo>
                  <a:cubicBezTo>
                    <a:pt x="15588" y="60631"/>
                    <a:pt x="16176" y="61894"/>
                    <a:pt x="15000" y="60947"/>
                  </a:cubicBezTo>
                  <a:cubicBezTo>
                    <a:pt x="13823" y="60315"/>
                    <a:pt x="13823" y="60000"/>
                    <a:pt x="13823" y="60000"/>
                  </a:cubicBezTo>
                  <a:cubicBezTo>
                    <a:pt x="12647" y="58736"/>
                    <a:pt x="12647" y="58736"/>
                    <a:pt x="12647" y="58736"/>
                  </a:cubicBezTo>
                  <a:cubicBezTo>
                    <a:pt x="12058" y="56526"/>
                    <a:pt x="12058" y="56526"/>
                    <a:pt x="12058" y="56526"/>
                  </a:cubicBezTo>
                  <a:cubicBezTo>
                    <a:pt x="11176" y="55263"/>
                    <a:pt x="11176" y="55263"/>
                    <a:pt x="11176" y="55263"/>
                  </a:cubicBezTo>
                  <a:cubicBezTo>
                    <a:pt x="11176" y="55263"/>
                    <a:pt x="10882" y="55894"/>
                    <a:pt x="10588" y="56526"/>
                  </a:cubicBezTo>
                  <a:cubicBezTo>
                    <a:pt x="10294" y="56842"/>
                    <a:pt x="9705" y="56842"/>
                    <a:pt x="9411" y="56526"/>
                  </a:cubicBezTo>
                  <a:cubicBezTo>
                    <a:pt x="9411" y="55894"/>
                    <a:pt x="8529" y="54631"/>
                    <a:pt x="8529" y="54631"/>
                  </a:cubicBezTo>
                  <a:cubicBezTo>
                    <a:pt x="8823" y="53368"/>
                    <a:pt x="8823" y="53368"/>
                    <a:pt x="8823" y="53368"/>
                  </a:cubicBezTo>
                  <a:cubicBezTo>
                    <a:pt x="7647" y="53052"/>
                    <a:pt x="7647" y="53052"/>
                    <a:pt x="7647" y="53052"/>
                  </a:cubicBezTo>
                  <a:cubicBezTo>
                    <a:pt x="7647" y="53052"/>
                    <a:pt x="7058" y="52736"/>
                    <a:pt x="7058" y="52421"/>
                  </a:cubicBezTo>
                  <a:cubicBezTo>
                    <a:pt x="7352" y="51789"/>
                    <a:pt x="7941" y="50842"/>
                    <a:pt x="7941" y="50842"/>
                  </a:cubicBezTo>
                  <a:cubicBezTo>
                    <a:pt x="8529" y="49578"/>
                    <a:pt x="8529" y="49578"/>
                    <a:pt x="8529" y="49578"/>
                  </a:cubicBezTo>
                  <a:cubicBezTo>
                    <a:pt x="8529" y="49578"/>
                    <a:pt x="8529" y="48631"/>
                    <a:pt x="8235" y="48315"/>
                  </a:cubicBezTo>
                  <a:cubicBezTo>
                    <a:pt x="8235" y="48000"/>
                    <a:pt x="7941" y="43894"/>
                    <a:pt x="7941" y="43894"/>
                  </a:cubicBezTo>
                  <a:cubicBezTo>
                    <a:pt x="10294" y="42315"/>
                    <a:pt x="10294" y="42315"/>
                    <a:pt x="10294" y="42315"/>
                  </a:cubicBezTo>
                  <a:cubicBezTo>
                    <a:pt x="11764" y="39789"/>
                    <a:pt x="11764" y="39789"/>
                    <a:pt x="11764" y="39789"/>
                  </a:cubicBezTo>
                  <a:cubicBezTo>
                    <a:pt x="12352" y="36947"/>
                    <a:pt x="12352" y="36947"/>
                    <a:pt x="12352" y="36947"/>
                  </a:cubicBezTo>
                  <a:cubicBezTo>
                    <a:pt x="13235" y="34421"/>
                    <a:pt x="13235" y="34421"/>
                    <a:pt x="13235" y="34421"/>
                  </a:cubicBezTo>
                  <a:cubicBezTo>
                    <a:pt x="13235" y="34421"/>
                    <a:pt x="14411" y="33157"/>
                    <a:pt x="14411" y="33473"/>
                  </a:cubicBezTo>
                  <a:cubicBezTo>
                    <a:pt x="14705" y="33789"/>
                    <a:pt x="14411" y="30947"/>
                    <a:pt x="14411" y="30947"/>
                  </a:cubicBezTo>
                  <a:cubicBezTo>
                    <a:pt x="13529" y="30000"/>
                    <a:pt x="13529" y="30000"/>
                    <a:pt x="13529" y="30000"/>
                  </a:cubicBezTo>
                  <a:cubicBezTo>
                    <a:pt x="13529" y="28421"/>
                    <a:pt x="13529" y="28421"/>
                    <a:pt x="13529" y="28421"/>
                  </a:cubicBezTo>
                  <a:cubicBezTo>
                    <a:pt x="13529" y="28421"/>
                    <a:pt x="15000" y="28105"/>
                    <a:pt x="15294" y="28105"/>
                  </a:cubicBezTo>
                  <a:cubicBezTo>
                    <a:pt x="15588" y="28105"/>
                    <a:pt x="16176" y="27789"/>
                    <a:pt x="17058" y="27473"/>
                  </a:cubicBezTo>
                  <a:cubicBezTo>
                    <a:pt x="17647" y="27473"/>
                    <a:pt x="18235" y="26842"/>
                    <a:pt x="18823" y="26842"/>
                  </a:cubicBezTo>
                  <a:cubicBezTo>
                    <a:pt x="19117" y="26842"/>
                    <a:pt x="20588" y="26842"/>
                    <a:pt x="20588" y="26842"/>
                  </a:cubicBezTo>
                  <a:cubicBezTo>
                    <a:pt x="20588" y="26842"/>
                    <a:pt x="22058" y="25894"/>
                    <a:pt x="22352" y="25578"/>
                  </a:cubicBezTo>
                  <a:cubicBezTo>
                    <a:pt x="22647" y="25263"/>
                    <a:pt x="23529" y="24000"/>
                    <a:pt x="23529" y="24000"/>
                  </a:cubicBezTo>
                  <a:cubicBezTo>
                    <a:pt x="23529" y="24000"/>
                    <a:pt x="23823" y="22421"/>
                    <a:pt x="24411" y="22105"/>
                  </a:cubicBezTo>
                  <a:cubicBezTo>
                    <a:pt x="24705" y="22105"/>
                    <a:pt x="25588" y="21473"/>
                    <a:pt x="26176" y="21473"/>
                  </a:cubicBezTo>
                  <a:cubicBezTo>
                    <a:pt x="26764" y="21157"/>
                    <a:pt x="28235" y="20842"/>
                    <a:pt x="28529" y="20842"/>
                  </a:cubicBezTo>
                  <a:cubicBezTo>
                    <a:pt x="28823" y="20842"/>
                    <a:pt x="32352" y="20210"/>
                    <a:pt x="32352" y="20210"/>
                  </a:cubicBezTo>
                  <a:cubicBezTo>
                    <a:pt x="33823" y="18947"/>
                    <a:pt x="33823" y="18947"/>
                    <a:pt x="33823" y="18947"/>
                  </a:cubicBezTo>
                  <a:cubicBezTo>
                    <a:pt x="33529" y="16105"/>
                    <a:pt x="33529" y="16105"/>
                    <a:pt x="33529" y="16105"/>
                  </a:cubicBezTo>
                  <a:cubicBezTo>
                    <a:pt x="37941" y="15473"/>
                    <a:pt x="37941" y="15473"/>
                    <a:pt x="37941" y="15473"/>
                  </a:cubicBezTo>
                  <a:cubicBezTo>
                    <a:pt x="39705" y="14210"/>
                    <a:pt x="39705" y="14210"/>
                    <a:pt x="39705" y="14210"/>
                  </a:cubicBezTo>
                  <a:cubicBezTo>
                    <a:pt x="39705" y="14210"/>
                    <a:pt x="40588" y="13263"/>
                    <a:pt x="40882" y="13263"/>
                  </a:cubicBezTo>
                  <a:cubicBezTo>
                    <a:pt x="41176" y="13578"/>
                    <a:pt x="41764" y="13263"/>
                    <a:pt x="41764" y="13263"/>
                  </a:cubicBezTo>
                  <a:cubicBezTo>
                    <a:pt x="43823" y="12631"/>
                    <a:pt x="43823" y="12631"/>
                    <a:pt x="43823" y="12631"/>
                  </a:cubicBezTo>
                  <a:cubicBezTo>
                    <a:pt x="43823" y="12631"/>
                    <a:pt x="46470" y="11684"/>
                    <a:pt x="46764" y="11368"/>
                  </a:cubicBezTo>
                  <a:cubicBezTo>
                    <a:pt x="46764" y="11368"/>
                    <a:pt x="48235" y="10736"/>
                    <a:pt x="48235" y="10736"/>
                  </a:cubicBezTo>
                  <a:cubicBezTo>
                    <a:pt x="48823" y="9473"/>
                    <a:pt x="48823" y="9473"/>
                    <a:pt x="48823" y="9473"/>
                  </a:cubicBezTo>
                  <a:cubicBezTo>
                    <a:pt x="48823" y="9473"/>
                    <a:pt x="49411" y="8842"/>
                    <a:pt x="50294" y="8842"/>
                  </a:cubicBezTo>
                  <a:cubicBezTo>
                    <a:pt x="50882" y="8842"/>
                    <a:pt x="51470" y="8842"/>
                    <a:pt x="51764" y="8842"/>
                  </a:cubicBezTo>
                  <a:cubicBezTo>
                    <a:pt x="51764" y="8526"/>
                    <a:pt x="52058" y="7894"/>
                    <a:pt x="52352" y="7894"/>
                  </a:cubicBezTo>
                  <a:cubicBezTo>
                    <a:pt x="52647" y="7894"/>
                    <a:pt x="54411" y="7578"/>
                    <a:pt x="54411" y="7578"/>
                  </a:cubicBezTo>
                  <a:cubicBezTo>
                    <a:pt x="55294" y="9157"/>
                    <a:pt x="55294" y="9157"/>
                    <a:pt x="55294" y="9157"/>
                  </a:cubicBezTo>
                  <a:cubicBezTo>
                    <a:pt x="55294" y="9157"/>
                    <a:pt x="57058" y="10421"/>
                    <a:pt x="57352" y="10421"/>
                  </a:cubicBezTo>
                  <a:cubicBezTo>
                    <a:pt x="57647" y="10421"/>
                    <a:pt x="59117" y="9157"/>
                    <a:pt x="59117" y="9157"/>
                  </a:cubicBezTo>
                  <a:cubicBezTo>
                    <a:pt x="62058" y="10105"/>
                    <a:pt x="62058" y="10105"/>
                    <a:pt x="62058" y="10105"/>
                  </a:cubicBezTo>
                  <a:cubicBezTo>
                    <a:pt x="64411" y="10736"/>
                    <a:pt x="64411" y="10736"/>
                    <a:pt x="64411" y="10736"/>
                  </a:cubicBezTo>
                  <a:cubicBezTo>
                    <a:pt x="65294" y="10105"/>
                    <a:pt x="65294" y="10105"/>
                    <a:pt x="65294" y="10105"/>
                  </a:cubicBezTo>
                  <a:close/>
                  <a:moveTo>
                    <a:pt x="55294" y="47052"/>
                  </a:moveTo>
                  <a:cubicBezTo>
                    <a:pt x="55294" y="47052"/>
                    <a:pt x="55294" y="47052"/>
                    <a:pt x="55294" y="47052"/>
                  </a:cubicBezTo>
                  <a:cubicBezTo>
                    <a:pt x="55588" y="47368"/>
                    <a:pt x="55588" y="47368"/>
                    <a:pt x="55588" y="47368"/>
                  </a:cubicBezTo>
                  <a:cubicBezTo>
                    <a:pt x="55588" y="47368"/>
                    <a:pt x="56176" y="47368"/>
                    <a:pt x="56470" y="47052"/>
                  </a:cubicBezTo>
                  <a:cubicBezTo>
                    <a:pt x="56764" y="47052"/>
                    <a:pt x="56176" y="46736"/>
                    <a:pt x="56176" y="46736"/>
                  </a:cubicBezTo>
                  <a:cubicBezTo>
                    <a:pt x="55588" y="46736"/>
                    <a:pt x="55588" y="46736"/>
                    <a:pt x="55588" y="46736"/>
                  </a:cubicBezTo>
                  <a:cubicBezTo>
                    <a:pt x="55588" y="46736"/>
                    <a:pt x="55294" y="47052"/>
                    <a:pt x="55294" y="47052"/>
                  </a:cubicBezTo>
                  <a:close/>
                  <a:moveTo>
                    <a:pt x="54117" y="49578"/>
                  </a:moveTo>
                  <a:cubicBezTo>
                    <a:pt x="54117" y="49578"/>
                    <a:pt x="54117" y="49578"/>
                    <a:pt x="54117" y="49578"/>
                  </a:cubicBezTo>
                  <a:cubicBezTo>
                    <a:pt x="54411" y="49894"/>
                    <a:pt x="54411" y="49894"/>
                    <a:pt x="54411" y="49894"/>
                  </a:cubicBezTo>
                  <a:cubicBezTo>
                    <a:pt x="54411" y="49894"/>
                    <a:pt x="54705" y="48947"/>
                    <a:pt x="55000" y="48631"/>
                  </a:cubicBezTo>
                  <a:cubicBezTo>
                    <a:pt x="55294" y="48000"/>
                    <a:pt x="54705" y="48315"/>
                    <a:pt x="54705" y="48315"/>
                  </a:cubicBezTo>
                  <a:cubicBezTo>
                    <a:pt x="54411" y="48631"/>
                    <a:pt x="54411" y="48631"/>
                    <a:pt x="54411" y="48631"/>
                  </a:cubicBezTo>
                  <a:cubicBezTo>
                    <a:pt x="54411" y="48631"/>
                    <a:pt x="54117" y="49578"/>
                    <a:pt x="54117" y="49578"/>
                  </a:cubicBezTo>
                  <a:close/>
                  <a:moveTo>
                    <a:pt x="93529" y="72947"/>
                  </a:moveTo>
                  <a:cubicBezTo>
                    <a:pt x="93529" y="72947"/>
                    <a:pt x="93529" y="72947"/>
                    <a:pt x="93529" y="72947"/>
                  </a:cubicBezTo>
                  <a:cubicBezTo>
                    <a:pt x="93529" y="72947"/>
                    <a:pt x="94411" y="73578"/>
                    <a:pt x="94411" y="73578"/>
                  </a:cubicBezTo>
                  <a:cubicBezTo>
                    <a:pt x="93823" y="74842"/>
                    <a:pt x="93823" y="74842"/>
                    <a:pt x="93823" y="74842"/>
                  </a:cubicBezTo>
                  <a:cubicBezTo>
                    <a:pt x="92941" y="74210"/>
                    <a:pt x="92941" y="74210"/>
                    <a:pt x="92941" y="74210"/>
                  </a:cubicBezTo>
                  <a:cubicBezTo>
                    <a:pt x="93529" y="72947"/>
                    <a:pt x="93529" y="72947"/>
                    <a:pt x="93529" y="72947"/>
                  </a:cubicBezTo>
                  <a:close/>
                  <a:moveTo>
                    <a:pt x="100588" y="78947"/>
                  </a:moveTo>
                  <a:cubicBezTo>
                    <a:pt x="100588" y="78947"/>
                    <a:pt x="100588" y="78947"/>
                    <a:pt x="100588" y="78947"/>
                  </a:cubicBezTo>
                  <a:cubicBezTo>
                    <a:pt x="100588" y="78947"/>
                    <a:pt x="102058" y="79263"/>
                    <a:pt x="102058" y="78947"/>
                  </a:cubicBezTo>
                  <a:cubicBezTo>
                    <a:pt x="102058" y="78631"/>
                    <a:pt x="102352" y="78000"/>
                    <a:pt x="102352" y="78000"/>
                  </a:cubicBezTo>
                  <a:cubicBezTo>
                    <a:pt x="102058" y="77684"/>
                    <a:pt x="101176" y="77368"/>
                    <a:pt x="101176" y="77368"/>
                  </a:cubicBezTo>
                  <a:cubicBezTo>
                    <a:pt x="100882" y="77368"/>
                    <a:pt x="100588" y="77368"/>
                    <a:pt x="100294" y="77052"/>
                  </a:cubicBezTo>
                  <a:cubicBezTo>
                    <a:pt x="98529" y="74842"/>
                    <a:pt x="99705" y="77684"/>
                    <a:pt x="100588" y="78000"/>
                  </a:cubicBezTo>
                  <a:cubicBezTo>
                    <a:pt x="100588" y="78315"/>
                    <a:pt x="100588" y="78315"/>
                    <a:pt x="100588" y="78315"/>
                  </a:cubicBezTo>
                  <a:cubicBezTo>
                    <a:pt x="100588" y="78947"/>
                    <a:pt x="100588" y="78947"/>
                    <a:pt x="100588" y="78947"/>
                  </a:cubicBezTo>
                  <a:close/>
                  <a:moveTo>
                    <a:pt x="102647" y="81157"/>
                  </a:moveTo>
                  <a:cubicBezTo>
                    <a:pt x="102647" y="81157"/>
                    <a:pt x="102647" y="81157"/>
                    <a:pt x="102647" y="81157"/>
                  </a:cubicBezTo>
                  <a:cubicBezTo>
                    <a:pt x="103823" y="79578"/>
                    <a:pt x="103823" y="79578"/>
                    <a:pt x="103823" y="79578"/>
                  </a:cubicBezTo>
                  <a:cubicBezTo>
                    <a:pt x="103823" y="79578"/>
                    <a:pt x="104411" y="78947"/>
                    <a:pt x="104705" y="78947"/>
                  </a:cubicBezTo>
                  <a:cubicBezTo>
                    <a:pt x="105000" y="78947"/>
                    <a:pt x="106176" y="78631"/>
                    <a:pt x="106176" y="78631"/>
                  </a:cubicBezTo>
                  <a:cubicBezTo>
                    <a:pt x="106176" y="78631"/>
                    <a:pt x="107058" y="78947"/>
                    <a:pt x="106470" y="79263"/>
                  </a:cubicBezTo>
                  <a:cubicBezTo>
                    <a:pt x="106176" y="79578"/>
                    <a:pt x="105294" y="80210"/>
                    <a:pt x="105000" y="80210"/>
                  </a:cubicBezTo>
                  <a:cubicBezTo>
                    <a:pt x="104705" y="80526"/>
                    <a:pt x="104117" y="81473"/>
                    <a:pt x="104117" y="81473"/>
                  </a:cubicBezTo>
                  <a:cubicBezTo>
                    <a:pt x="102941" y="81789"/>
                    <a:pt x="102941" y="81789"/>
                    <a:pt x="102941" y="81789"/>
                  </a:cubicBezTo>
                  <a:cubicBezTo>
                    <a:pt x="101764" y="82421"/>
                    <a:pt x="101764" y="82421"/>
                    <a:pt x="101764" y="82421"/>
                  </a:cubicBezTo>
                  <a:cubicBezTo>
                    <a:pt x="102058" y="83684"/>
                    <a:pt x="102058" y="83684"/>
                    <a:pt x="102058" y="83684"/>
                  </a:cubicBezTo>
                  <a:cubicBezTo>
                    <a:pt x="102058" y="83684"/>
                    <a:pt x="101764" y="84000"/>
                    <a:pt x="101470" y="84000"/>
                  </a:cubicBezTo>
                  <a:cubicBezTo>
                    <a:pt x="101470" y="83684"/>
                    <a:pt x="100588" y="83052"/>
                    <a:pt x="100588" y="83052"/>
                  </a:cubicBezTo>
                  <a:cubicBezTo>
                    <a:pt x="100882" y="81473"/>
                    <a:pt x="100882" y="81473"/>
                    <a:pt x="100882" y="81473"/>
                  </a:cubicBezTo>
                  <a:cubicBezTo>
                    <a:pt x="102058" y="81473"/>
                    <a:pt x="102058" y="81473"/>
                    <a:pt x="102058" y="81473"/>
                  </a:cubicBezTo>
                  <a:cubicBezTo>
                    <a:pt x="102647" y="81157"/>
                    <a:pt x="102647" y="81157"/>
                    <a:pt x="102647" y="81157"/>
                  </a:cubicBezTo>
                  <a:close/>
                  <a:moveTo>
                    <a:pt x="114117" y="90315"/>
                  </a:moveTo>
                  <a:cubicBezTo>
                    <a:pt x="114117" y="90315"/>
                    <a:pt x="114117" y="90315"/>
                    <a:pt x="114117" y="90315"/>
                  </a:cubicBezTo>
                  <a:cubicBezTo>
                    <a:pt x="114117" y="90315"/>
                    <a:pt x="115294" y="91578"/>
                    <a:pt x="115294" y="91578"/>
                  </a:cubicBezTo>
                  <a:cubicBezTo>
                    <a:pt x="115000" y="93157"/>
                    <a:pt x="115000" y="93157"/>
                    <a:pt x="115000" y="93157"/>
                  </a:cubicBezTo>
                  <a:cubicBezTo>
                    <a:pt x="115000" y="93157"/>
                    <a:pt x="115000" y="93789"/>
                    <a:pt x="115588" y="93789"/>
                  </a:cubicBezTo>
                  <a:cubicBezTo>
                    <a:pt x="116176" y="94105"/>
                    <a:pt x="117058" y="94105"/>
                    <a:pt x="117058" y="93473"/>
                  </a:cubicBezTo>
                  <a:cubicBezTo>
                    <a:pt x="117058" y="92842"/>
                    <a:pt x="117352" y="92210"/>
                    <a:pt x="117647" y="91894"/>
                  </a:cubicBezTo>
                  <a:cubicBezTo>
                    <a:pt x="117941" y="91263"/>
                    <a:pt x="118529" y="90315"/>
                    <a:pt x="118529" y="90315"/>
                  </a:cubicBezTo>
                  <a:cubicBezTo>
                    <a:pt x="118529" y="90315"/>
                    <a:pt x="118823" y="90315"/>
                    <a:pt x="119117" y="90000"/>
                  </a:cubicBezTo>
                  <a:cubicBezTo>
                    <a:pt x="119411" y="90000"/>
                    <a:pt x="118823" y="89052"/>
                    <a:pt x="118823" y="89052"/>
                  </a:cubicBezTo>
                  <a:cubicBezTo>
                    <a:pt x="118823" y="89052"/>
                    <a:pt x="118529" y="89052"/>
                    <a:pt x="119117" y="87789"/>
                  </a:cubicBezTo>
                  <a:cubicBezTo>
                    <a:pt x="119705" y="86842"/>
                    <a:pt x="119705" y="86842"/>
                    <a:pt x="119705" y="86842"/>
                  </a:cubicBezTo>
                  <a:cubicBezTo>
                    <a:pt x="119705" y="86526"/>
                    <a:pt x="120000" y="85578"/>
                    <a:pt x="120000" y="85263"/>
                  </a:cubicBezTo>
                  <a:cubicBezTo>
                    <a:pt x="119705" y="84631"/>
                    <a:pt x="119411" y="83052"/>
                    <a:pt x="119411" y="83052"/>
                  </a:cubicBezTo>
                  <a:cubicBezTo>
                    <a:pt x="118823" y="83684"/>
                    <a:pt x="118823" y="83684"/>
                    <a:pt x="118823" y="83684"/>
                  </a:cubicBezTo>
                  <a:cubicBezTo>
                    <a:pt x="118823" y="83684"/>
                    <a:pt x="118235" y="84315"/>
                    <a:pt x="117647" y="84315"/>
                  </a:cubicBezTo>
                  <a:cubicBezTo>
                    <a:pt x="117058" y="84631"/>
                    <a:pt x="116470" y="84947"/>
                    <a:pt x="116470" y="85263"/>
                  </a:cubicBezTo>
                  <a:cubicBezTo>
                    <a:pt x="116470" y="85263"/>
                    <a:pt x="116470" y="86210"/>
                    <a:pt x="116176" y="86526"/>
                  </a:cubicBezTo>
                  <a:cubicBezTo>
                    <a:pt x="115882" y="86842"/>
                    <a:pt x="115000" y="87789"/>
                    <a:pt x="115000" y="87789"/>
                  </a:cubicBezTo>
                  <a:cubicBezTo>
                    <a:pt x="114411" y="89368"/>
                    <a:pt x="114411" y="89368"/>
                    <a:pt x="114411" y="89368"/>
                  </a:cubicBezTo>
                  <a:cubicBezTo>
                    <a:pt x="114411" y="89368"/>
                    <a:pt x="114117" y="90315"/>
                    <a:pt x="114117" y="90315"/>
                  </a:cubicBezTo>
                  <a:close/>
                  <a:moveTo>
                    <a:pt x="109705" y="104526"/>
                  </a:moveTo>
                  <a:cubicBezTo>
                    <a:pt x="109705" y="104526"/>
                    <a:pt x="109705" y="104526"/>
                    <a:pt x="109705" y="104526"/>
                  </a:cubicBezTo>
                  <a:cubicBezTo>
                    <a:pt x="109117" y="104210"/>
                    <a:pt x="108529" y="103578"/>
                    <a:pt x="108529" y="102947"/>
                  </a:cubicBezTo>
                  <a:cubicBezTo>
                    <a:pt x="108529" y="102631"/>
                    <a:pt x="108823" y="102000"/>
                    <a:pt x="108823" y="102000"/>
                  </a:cubicBezTo>
                  <a:cubicBezTo>
                    <a:pt x="108823" y="102000"/>
                    <a:pt x="108235" y="101684"/>
                    <a:pt x="108235" y="101368"/>
                  </a:cubicBezTo>
                  <a:cubicBezTo>
                    <a:pt x="108235" y="101368"/>
                    <a:pt x="108823" y="100105"/>
                    <a:pt x="108823" y="99473"/>
                  </a:cubicBezTo>
                  <a:cubicBezTo>
                    <a:pt x="108529" y="99157"/>
                    <a:pt x="108823" y="97263"/>
                    <a:pt x="108823" y="97263"/>
                  </a:cubicBezTo>
                  <a:cubicBezTo>
                    <a:pt x="108823" y="97263"/>
                    <a:pt x="109705" y="96947"/>
                    <a:pt x="109705" y="97263"/>
                  </a:cubicBezTo>
                  <a:cubicBezTo>
                    <a:pt x="109705" y="97578"/>
                    <a:pt x="109411" y="98526"/>
                    <a:pt x="109411" y="98842"/>
                  </a:cubicBezTo>
                  <a:cubicBezTo>
                    <a:pt x="109411" y="99157"/>
                    <a:pt x="109117" y="100421"/>
                    <a:pt x="109117" y="100736"/>
                  </a:cubicBezTo>
                  <a:cubicBezTo>
                    <a:pt x="109117" y="100736"/>
                    <a:pt x="109411" y="100421"/>
                    <a:pt x="110000" y="101052"/>
                  </a:cubicBezTo>
                  <a:cubicBezTo>
                    <a:pt x="110588" y="101684"/>
                    <a:pt x="110588" y="102631"/>
                    <a:pt x="110588" y="102631"/>
                  </a:cubicBezTo>
                  <a:cubicBezTo>
                    <a:pt x="110000" y="103263"/>
                    <a:pt x="110000" y="103263"/>
                    <a:pt x="110000" y="103263"/>
                  </a:cubicBezTo>
                  <a:cubicBezTo>
                    <a:pt x="109705" y="104526"/>
                    <a:pt x="109705" y="104526"/>
                    <a:pt x="109705" y="104526"/>
                  </a:cubicBezTo>
                  <a:close/>
                  <a:moveTo>
                    <a:pt x="106176" y="105157"/>
                  </a:moveTo>
                  <a:cubicBezTo>
                    <a:pt x="106176" y="105157"/>
                    <a:pt x="106176" y="105157"/>
                    <a:pt x="106176" y="105157"/>
                  </a:cubicBezTo>
                  <a:cubicBezTo>
                    <a:pt x="106176" y="105157"/>
                    <a:pt x="105882" y="106421"/>
                    <a:pt x="105882" y="106736"/>
                  </a:cubicBezTo>
                  <a:cubicBezTo>
                    <a:pt x="105882" y="106736"/>
                    <a:pt x="106176" y="106736"/>
                    <a:pt x="106470" y="106736"/>
                  </a:cubicBezTo>
                  <a:cubicBezTo>
                    <a:pt x="106764" y="106421"/>
                    <a:pt x="107058" y="106421"/>
                    <a:pt x="107352" y="106105"/>
                  </a:cubicBezTo>
                  <a:cubicBezTo>
                    <a:pt x="107647" y="105789"/>
                    <a:pt x="108529" y="105157"/>
                    <a:pt x="108823" y="105157"/>
                  </a:cubicBezTo>
                  <a:cubicBezTo>
                    <a:pt x="109117" y="104842"/>
                    <a:pt x="107647" y="104210"/>
                    <a:pt x="107647" y="104210"/>
                  </a:cubicBezTo>
                  <a:cubicBezTo>
                    <a:pt x="106176" y="105157"/>
                    <a:pt x="106176" y="105157"/>
                    <a:pt x="106176" y="105157"/>
                  </a:cubicBezTo>
                  <a:close/>
                  <a:moveTo>
                    <a:pt x="66176" y="41684"/>
                  </a:moveTo>
                  <a:cubicBezTo>
                    <a:pt x="66176" y="41684"/>
                    <a:pt x="66176" y="41684"/>
                    <a:pt x="66176" y="41684"/>
                  </a:cubicBezTo>
                  <a:cubicBezTo>
                    <a:pt x="66764" y="42000"/>
                    <a:pt x="66764" y="42000"/>
                    <a:pt x="66764" y="42000"/>
                  </a:cubicBezTo>
                  <a:cubicBezTo>
                    <a:pt x="66764" y="42000"/>
                    <a:pt x="67058" y="41684"/>
                    <a:pt x="67352" y="41368"/>
                  </a:cubicBezTo>
                  <a:cubicBezTo>
                    <a:pt x="67647" y="41052"/>
                    <a:pt x="67058" y="40736"/>
                    <a:pt x="67058" y="40736"/>
                  </a:cubicBezTo>
                  <a:cubicBezTo>
                    <a:pt x="66764" y="41052"/>
                    <a:pt x="66764" y="41052"/>
                    <a:pt x="66764" y="41052"/>
                  </a:cubicBezTo>
                  <a:cubicBezTo>
                    <a:pt x="66764" y="41052"/>
                    <a:pt x="66176" y="41684"/>
                    <a:pt x="66176" y="41684"/>
                  </a:cubicBezTo>
                  <a:close/>
                  <a:moveTo>
                    <a:pt x="48235" y="51789"/>
                  </a:moveTo>
                  <a:cubicBezTo>
                    <a:pt x="48235" y="51789"/>
                    <a:pt x="48235" y="51789"/>
                    <a:pt x="48235" y="51789"/>
                  </a:cubicBezTo>
                  <a:cubicBezTo>
                    <a:pt x="48529" y="52105"/>
                    <a:pt x="48529" y="52105"/>
                    <a:pt x="48529" y="52105"/>
                  </a:cubicBezTo>
                  <a:cubicBezTo>
                    <a:pt x="48529" y="52105"/>
                    <a:pt x="48823" y="51473"/>
                    <a:pt x="49411" y="51157"/>
                  </a:cubicBezTo>
                  <a:cubicBezTo>
                    <a:pt x="49705" y="50842"/>
                    <a:pt x="49117" y="50842"/>
                    <a:pt x="49117" y="50842"/>
                  </a:cubicBezTo>
                  <a:cubicBezTo>
                    <a:pt x="48529" y="51157"/>
                    <a:pt x="48529" y="51157"/>
                    <a:pt x="48529" y="51157"/>
                  </a:cubicBezTo>
                  <a:cubicBezTo>
                    <a:pt x="48529" y="51157"/>
                    <a:pt x="48235" y="51473"/>
                    <a:pt x="48235" y="51789"/>
                  </a:cubicBezTo>
                  <a:close/>
                  <a:moveTo>
                    <a:pt x="51176" y="51157"/>
                  </a:moveTo>
                  <a:cubicBezTo>
                    <a:pt x="51176" y="51157"/>
                    <a:pt x="51176" y="51157"/>
                    <a:pt x="51176" y="51157"/>
                  </a:cubicBezTo>
                  <a:cubicBezTo>
                    <a:pt x="51176" y="51789"/>
                    <a:pt x="51176" y="51789"/>
                    <a:pt x="51176" y="51789"/>
                  </a:cubicBezTo>
                  <a:cubicBezTo>
                    <a:pt x="51176" y="51789"/>
                    <a:pt x="52058" y="52105"/>
                    <a:pt x="52647" y="52421"/>
                  </a:cubicBezTo>
                  <a:cubicBezTo>
                    <a:pt x="53529" y="52736"/>
                    <a:pt x="52941" y="51789"/>
                    <a:pt x="52941" y="51789"/>
                  </a:cubicBezTo>
                  <a:cubicBezTo>
                    <a:pt x="52352" y="51157"/>
                    <a:pt x="52352" y="51157"/>
                    <a:pt x="52352" y="51157"/>
                  </a:cubicBezTo>
                  <a:cubicBezTo>
                    <a:pt x="52352" y="51157"/>
                    <a:pt x="51470" y="50842"/>
                    <a:pt x="51176" y="51157"/>
                  </a:cubicBezTo>
                  <a:close/>
                  <a:moveTo>
                    <a:pt x="62058" y="51789"/>
                  </a:moveTo>
                  <a:cubicBezTo>
                    <a:pt x="62058" y="51789"/>
                    <a:pt x="62058" y="51789"/>
                    <a:pt x="62058" y="51789"/>
                  </a:cubicBezTo>
                  <a:cubicBezTo>
                    <a:pt x="61764" y="52421"/>
                    <a:pt x="61764" y="52421"/>
                    <a:pt x="61764" y="52421"/>
                  </a:cubicBezTo>
                  <a:cubicBezTo>
                    <a:pt x="61764" y="52421"/>
                    <a:pt x="62352" y="53052"/>
                    <a:pt x="62647" y="53684"/>
                  </a:cubicBezTo>
                  <a:cubicBezTo>
                    <a:pt x="62941" y="53684"/>
                    <a:pt x="64117" y="54947"/>
                    <a:pt x="64705" y="54947"/>
                  </a:cubicBezTo>
                  <a:cubicBezTo>
                    <a:pt x="67058" y="55894"/>
                    <a:pt x="63235" y="52736"/>
                    <a:pt x="62941" y="52421"/>
                  </a:cubicBezTo>
                  <a:cubicBezTo>
                    <a:pt x="62941" y="52421"/>
                    <a:pt x="62058" y="51473"/>
                    <a:pt x="62058" y="51789"/>
                  </a:cubicBezTo>
                  <a:close/>
                  <a:moveTo>
                    <a:pt x="75882" y="56210"/>
                  </a:moveTo>
                  <a:cubicBezTo>
                    <a:pt x="75882" y="56210"/>
                    <a:pt x="75882" y="56210"/>
                    <a:pt x="75882" y="56210"/>
                  </a:cubicBezTo>
                  <a:cubicBezTo>
                    <a:pt x="76470" y="56842"/>
                    <a:pt x="76470" y="56842"/>
                    <a:pt x="76470" y="56842"/>
                  </a:cubicBezTo>
                  <a:cubicBezTo>
                    <a:pt x="76470" y="56842"/>
                    <a:pt x="77352" y="56526"/>
                    <a:pt x="77941" y="56210"/>
                  </a:cubicBezTo>
                  <a:cubicBezTo>
                    <a:pt x="78529" y="56210"/>
                    <a:pt x="77941" y="55578"/>
                    <a:pt x="77941" y="55578"/>
                  </a:cubicBezTo>
                  <a:cubicBezTo>
                    <a:pt x="77058" y="55578"/>
                    <a:pt x="77058" y="55578"/>
                    <a:pt x="77058" y="55578"/>
                  </a:cubicBezTo>
                  <a:cubicBezTo>
                    <a:pt x="77058" y="55578"/>
                    <a:pt x="75882" y="55894"/>
                    <a:pt x="75882" y="56210"/>
                  </a:cubicBezTo>
                  <a:close/>
                  <a:moveTo>
                    <a:pt x="70000" y="23052"/>
                  </a:moveTo>
                  <a:cubicBezTo>
                    <a:pt x="70000" y="23052"/>
                    <a:pt x="70000" y="23052"/>
                    <a:pt x="70000" y="23052"/>
                  </a:cubicBezTo>
                  <a:cubicBezTo>
                    <a:pt x="70000" y="23052"/>
                    <a:pt x="68823" y="23684"/>
                    <a:pt x="68823" y="23684"/>
                  </a:cubicBezTo>
                  <a:cubicBezTo>
                    <a:pt x="68529" y="23684"/>
                    <a:pt x="68823" y="24315"/>
                    <a:pt x="69117" y="24315"/>
                  </a:cubicBezTo>
                  <a:cubicBezTo>
                    <a:pt x="69411" y="24631"/>
                    <a:pt x="70294" y="24947"/>
                    <a:pt x="70294" y="24947"/>
                  </a:cubicBezTo>
                  <a:cubicBezTo>
                    <a:pt x="70588" y="24947"/>
                    <a:pt x="71470" y="24315"/>
                    <a:pt x="72058" y="23684"/>
                  </a:cubicBezTo>
                  <a:cubicBezTo>
                    <a:pt x="72647" y="23368"/>
                    <a:pt x="71470" y="23052"/>
                    <a:pt x="71470" y="23052"/>
                  </a:cubicBezTo>
                  <a:cubicBezTo>
                    <a:pt x="70000" y="23052"/>
                    <a:pt x="70000" y="23052"/>
                    <a:pt x="70000" y="23052"/>
                  </a:cubicBezTo>
                  <a:close/>
                  <a:moveTo>
                    <a:pt x="59411" y="20842"/>
                  </a:moveTo>
                  <a:cubicBezTo>
                    <a:pt x="59411" y="20842"/>
                    <a:pt x="59411" y="20842"/>
                    <a:pt x="59411" y="20842"/>
                  </a:cubicBezTo>
                  <a:cubicBezTo>
                    <a:pt x="59411" y="20842"/>
                    <a:pt x="58235" y="20842"/>
                    <a:pt x="57941" y="20842"/>
                  </a:cubicBezTo>
                  <a:cubicBezTo>
                    <a:pt x="57941" y="20842"/>
                    <a:pt x="57647" y="21157"/>
                    <a:pt x="57352" y="21473"/>
                  </a:cubicBezTo>
                  <a:cubicBezTo>
                    <a:pt x="57058" y="21789"/>
                    <a:pt x="57058" y="22421"/>
                    <a:pt x="56764" y="23052"/>
                  </a:cubicBezTo>
                  <a:cubicBezTo>
                    <a:pt x="56764" y="23684"/>
                    <a:pt x="57058" y="23684"/>
                    <a:pt x="57058" y="23684"/>
                  </a:cubicBezTo>
                  <a:cubicBezTo>
                    <a:pt x="57352" y="24000"/>
                    <a:pt x="57352" y="24000"/>
                    <a:pt x="57941" y="24631"/>
                  </a:cubicBezTo>
                  <a:cubicBezTo>
                    <a:pt x="58529" y="24947"/>
                    <a:pt x="59117" y="24315"/>
                    <a:pt x="59705" y="24000"/>
                  </a:cubicBezTo>
                  <a:cubicBezTo>
                    <a:pt x="60588" y="23684"/>
                    <a:pt x="60000" y="23368"/>
                    <a:pt x="60294" y="22736"/>
                  </a:cubicBezTo>
                  <a:cubicBezTo>
                    <a:pt x="60294" y="22421"/>
                    <a:pt x="60000" y="21473"/>
                    <a:pt x="60000" y="21473"/>
                  </a:cubicBezTo>
                  <a:cubicBezTo>
                    <a:pt x="60000" y="21157"/>
                    <a:pt x="59411" y="20842"/>
                    <a:pt x="59411" y="20842"/>
                  </a:cubicBezTo>
                  <a:close/>
                  <a:moveTo>
                    <a:pt x="69411" y="32526"/>
                  </a:moveTo>
                  <a:cubicBezTo>
                    <a:pt x="69411" y="32526"/>
                    <a:pt x="69411" y="32526"/>
                    <a:pt x="69411" y="32526"/>
                  </a:cubicBezTo>
                  <a:cubicBezTo>
                    <a:pt x="69411" y="32526"/>
                    <a:pt x="69117" y="33157"/>
                    <a:pt x="69117" y="33157"/>
                  </a:cubicBezTo>
                  <a:cubicBezTo>
                    <a:pt x="69117" y="33157"/>
                    <a:pt x="69117" y="33789"/>
                    <a:pt x="69117" y="33789"/>
                  </a:cubicBezTo>
                  <a:cubicBezTo>
                    <a:pt x="69117" y="33789"/>
                    <a:pt x="68823" y="34105"/>
                    <a:pt x="68529" y="34421"/>
                  </a:cubicBezTo>
                  <a:cubicBezTo>
                    <a:pt x="67941" y="35052"/>
                    <a:pt x="68529" y="35052"/>
                    <a:pt x="68823" y="35368"/>
                  </a:cubicBezTo>
                  <a:cubicBezTo>
                    <a:pt x="69117" y="36000"/>
                    <a:pt x="68823" y="35684"/>
                    <a:pt x="69117" y="35684"/>
                  </a:cubicBezTo>
                  <a:cubicBezTo>
                    <a:pt x="69117" y="36000"/>
                    <a:pt x="69411" y="35684"/>
                    <a:pt x="70000" y="35368"/>
                  </a:cubicBezTo>
                  <a:cubicBezTo>
                    <a:pt x="70588" y="35052"/>
                    <a:pt x="70294" y="35052"/>
                    <a:pt x="70294" y="35052"/>
                  </a:cubicBezTo>
                  <a:cubicBezTo>
                    <a:pt x="70294" y="35052"/>
                    <a:pt x="69705" y="34105"/>
                    <a:pt x="69705" y="34105"/>
                  </a:cubicBezTo>
                  <a:cubicBezTo>
                    <a:pt x="69705" y="34105"/>
                    <a:pt x="69705" y="33789"/>
                    <a:pt x="69705" y="33789"/>
                  </a:cubicBezTo>
                  <a:cubicBezTo>
                    <a:pt x="69705" y="33473"/>
                    <a:pt x="70000" y="33473"/>
                    <a:pt x="70294" y="33157"/>
                  </a:cubicBezTo>
                  <a:cubicBezTo>
                    <a:pt x="70588" y="32526"/>
                    <a:pt x="70588" y="32210"/>
                    <a:pt x="70588" y="32210"/>
                  </a:cubicBezTo>
                  <a:cubicBezTo>
                    <a:pt x="70588" y="31894"/>
                    <a:pt x="70000" y="31894"/>
                    <a:pt x="70000" y="31894"/>
                  </a:cubicBezTo>
                  <a:cubicBezTo>
                    <a:pt x="70000" y="31894"/>
                    <a:pt x="69411" y="32210"/>
                    <a:pt x="69411" y="32526"/>
                  </a:cubicBezTo>
                  <a:close/>
                  <a:moveTo>
                    <a:pt x="68529" y="33157"/>
                  </a:moveTo>
                  <a:cubicBezTo>
                    <a:pt x="68529" y="33157"/>
                    <a:pt x="68529" y="33157"/>
                    <a:pt x="68529" y="33157"/>
                  </a:cubicBezTo>
                  <a:cubicBezTo>
                    <a:pt x="68235" y="32526"/>
                    <a:pt x="68235" y="32526"/>
                    <a:pt x="68235" y="32526"/>
                  </a:cubicBezTo>
                  <a:cubicBezTo>
                    <a:pt x="68235" y="32526"/>
                    <a:pt x="67941" y="32210"/>
                    <a:pt x="67058" y="32210"/>
                  </a:cubicBezTo>
                  <a:cubicBezTo>
                    <a:pt x="66470" y="32210"/>
                    <a:pt x="66470" y="32526"/>
                    <a:pt x="65882" y="32526"/>
                  </a:cubicBezTo>
                  <a:cubicBezTo>
                    <a:pt x="65294" y="32526"/>
                    <a:pt x="65294" y="33157"/>
                    <a:pt x="65294" y="33473"/>
                  </a:cubicBezTo>
                  <a:cubicBezTo>
                    <a:pt x="65000" y="34105"/>
                    <a:pt x="65294" y="33789"/>
                    <a:pt x="65588" y="34105"/>
                  </a:cubicBezTo>
                  <a:cubicBezTo>
                    <a:pt x="65882" y="34421"/>
                    <a:pt x="65588" y="34421"/>
                    <a:pt x="65882" y="35368"/>
                  </a:cubicBezTo>
                  <a:cubicBezTo>
                    <a:pt x="65882" y="36000"/>
                    <a:pt x="66176" y="35684"/>
                    <a:pt x="66176" y="35684"/>
                  </a:cubicBezTo>
                  <a:cubicBezTo>
                    <a:pt x="66470" y="36000"/>
                    <a:pt x="66764" y="35684"/>
                    <a:pt x="67352" y="35368"/>
                  </a:cubicBezTo>
                  <a:cubicBezTo>
                    <a:pt x="67941" y="34736"/>
                    <a:pt x="67352" y="34736"/>
                    <a:pt x="67352" y="34736"/>
                  </a:cubicBezTo>
                  <a:cubicBezTo>
                    <a:pt x="67352" y="34736"/>
                    <a:pt x="67941" y="34421"/>
                    <a:pt x="68529" y="33789"/>
                  </a:cubicBezTo>
                  <a:cubicBezTo>
                    <a:pt x="68823" y="33157"/>
                    <a:pt x="68529" y="33157"/>
                    <a:pt x="68529" y="33157"/>
                  </a:cubicBezTo>
                  <a:close/>
                  <a:moveTo>
                    <a:pt x="83529" y="43894"/>
                  </a:moveTo>
                  <a:cubicBezTo>
                    <a:pt x="83529" y="43894"/>
                    <a:pt x="83529" y="43894"/>
                    <a:pt x="83529" y="43894"/>
                  </a:cubicBezTo>
                  <a:cubicBezTo>
                    <a:pt x="83235" y="43894"/>
                    <a:pt x="82941" y="44526"/>
                    <a:pt x="82941" y="44526"/>
                  </a:cubicBezTo>
                  <a:cubicBezTo>
                    <a:pt x="82941" y="44526"/>
                    <a:pt x="82647" y="44842"/>
                    <a:pt x="82647" y="45157"/>
                  </a:cubicBezTo>
                  <a:cubicBezTo>
                    <a:pt x="82352" y="45157"/>
                    <a:pt x="82058" y="45789"/>
                    <a:pt x="82058" y="45789"/>
                  </a:cubicBezTo>
                  <a:cubicBezTo>
                    <a:pt x="82058" y="45789"/>
                    <a:pt x="82352" y="46105"/>
                    <a:pt x="82647" y="46105"/>
                  </a:cubicBezTo>
                  <a:cubicBezTo>
                    <a:pt x="82941" y="46421"/>
                    <a:pt x="82941" y="46421"/>
                    <a:pt x="83235" y="46421"/>
                  </a:cubicBezTo>
                  <a:cubicBezTo>
                    <a:pt x="83529" y="46421"/>
                    <a:pt x="83529" y="46421"/>
                    <a:pt x="84411" y="46421"/>
                  </a:cubicBezTo>
                  <a:cubicBezTo>
                    <a:pt x="85588" y="46421"/>
                    <a:pt x="86470" y="46421"/>
                    <a:pt x="86764" y="46421"/>
                  </a:cubicBezTo>
                  <a:cubicBezTo>
                    <a:pt x="86764" y="46421"/>
                    <a:pt x="87352" y="46105"/>
                    <a:pt x="87352" y="46105"/>
                  </a:cubicBezTo>
                  <a:cubicBezTo>
                    <a:pt x="87352" y="45789"/>
                    <a:pt x="87352" y="45789"/>
                    <a:pt x="87058" y="45473"/>
                  </a:cubicBezTo>
                  <a:cubicBezTo>
                    <a:pt x="86764" y="44842"/>
                    <a:pt x="86176" y="44526"/>
                    <a:pt x="86176" y="44526"/>
                  </a:cubicBezTo>
                  <a:cubicBezTo>
                    <a:pt x="85882" y="44526"/>
                    <a:pt x="86176" y="43894"/>
                    <a:pt x="86470" y="44210"/>
                  </a:cubicBezTo>
                  <a:cubicBezTo>
                    <a:pt x="86470" y="44210"/>
                    <a:pt x="87352" y="45157"/>
                    <a:pt x="87352" y="45157"/>
                  </a:cubicBezTo>
                  <a:cubicBezTo>
                    <a:pt x="87647" y="45157"/>
                    <a:pt x="88235" y="45157"/>
                    <a:pt x="88235" y="44526"/>
                  </a:cubicBezTo>
                  <a:cubicBezTo>
                    <a:pt x="87941" y="44210"/>
                    <a:pt x="88529" y="43578"/>
                    <a:pt x="87647" y="43263"/>
                  </a:cubicBezTo>
                  <a:cubicBezTo>
                    <a:pt x="87058" y="42947"/>
                    <a:pt x="86764" y="42631"/>
                    <a:pt x="86470" y="42631"/>
                  </a:cubicBezTo>
                  <a:cubicBezTo>
                    <a:pt x="85882" y="42631"/>
                    <a:pt x="86764" y="42947"/>
                    <a:pt x="85588" y="42000"/>
                  </a:cubicBezTo>
                  <a:cubicBezTo>
                    <a:pt x="84411" y="41052"/>
                    <a:pt x="84411" y="41368"/>
                    <a:pt x="84411" y="41368"/>
                  </a:cubicBezTo>
                  <a:cubicBezTo>
                    <a:pt x="84411" y="41368"/>
                    <a:pt x="85000" y="40421"/>
                    <a:pt x="84705" y="40105"/>
                  </a:cubicBezTo>
                  <a:cubicBezTo>
                    <a:pt x="84705" y="40105"/>
                    <a:pt x="83529" y="39789"/>
                    <a:pt x="83529" y="39789"/>
                  </a:cubicBezTo>
                  <a:cubicBezTo>
                    <a:pt x="83529" y="39789"/>
                    <a:pt x="82058" y="40105"/>
                    <a:pt x="82058" y="40105"/>
                  </a:cubicBezTo>
                  <a:cubicBezTo>
                    <a:pt x="81764" y="40421"/>
                    <a:pt x="81470" y="40736"/>
                    <a:pt x="81470" y="40736"/>
                  </a:cubicBezTo>
                  <a:cubicBezTo>
                    <a:pt x="81470" y="41368"/>
                    <a:pt x="81470" y="41368"/>
                    <a:pt x="81470" y="41368"/>
                  </a:cubicBezTo>
                  <a:cubicBezTo>
                    <a:pt x="80882" y="41684"/>
                    <a:pt x="80882" y="41684"/>
                    <a:pt x="80882" y="41684"/>
                  </a:cubicBezTo>
                  <a:cubicBezTo>
                    <a:pt x="80882" y="41684"/>
                    <a:pt x="80588" y="42315"/>
                    <a:pt x="80588" y="42315"/>
                  </a:cubicBezTo>
                  <a:cubicBezTo>
                    <a:pt x="80294" y="42315"/>
                    <a:pt x="79705" y="42631"/>
                    <a:pt x="79705" y="42631"/>
                  </a:cubicBezTo>
                  <a:cubicBezTo>
                    <a:pt x="79411" y="42631"/>
                    <a:pt x="78823" y="42631"/>
                    <a:pt x="78823" y="42947"/>
                  </a:cubicBezTo>
                  <a:cubicBezTo>
                    <a:pt x="78529" y="43263"/>
                    <a:pt x="77647" y="43578"/>
                    <a:pt x="77647" y="43578"/>
                  </a:cubicBezTo>
                  <a:cubicBezTo>
                    <a:pt x="77647" y="43578"/>
                    <a:pt x="77352" y="43894"/>
                    <a:pt x="77941" y="44526"/>
                  </a:cubicBezTo>
                  <a:cubicBezTo>
                    <a:pt x="78529" y="44842"/>
                    <a:pt x="79117" y="44842"/>
                    <a:pt x="79117" y="45157"/>
                  </a:cubicBezTo>
                  <a:cubicBezTo>
                    <a:pt x="79411" y="45157"/>
                    <a:pt x="79411" y="45157"/>
                    <a:pt x="79705" y="45157"/>
                  </a:cubicBezTo>
                  <a:cubicBezTo>
                    <a:pt x="80000" y="45473"/>
                    <a:pt x="80000" y="45473"/>
                    <a:pt x="80588" y="45473"/>
                  </a:cubicBezTo>
                  <a:cubicBezTo>
                    <a:pt x="80882" y="45157"/>
                    <a:pt x="81470" y="45157"/>
                    <a:pt x="81470" y="44842"/>
                  </a:cubicBezTo>
                  <a:cubicBezTo>
                    <a:pt x="81764" y="44526"/>
                    <a:pt x="81764" y="44210"/>
                    <a:pt x="82058" y="43894"/>
                  </a:cubicBezTo>
                  <a:cubicBezTo>
                    <a:pt x="82058" y="43578"/>
                    <a:pt x="82058" y="43263"/>
                    <a:pt x="82647" y="43263"/>
                  </a:cubicBezTo>
                  <a:cubicBezTo>
                    <a:pt x="82941" y="43263"/>
                    <a:pt x="83529" y="42947"/>
                    <a:pt x="83529" y="42947"/>
                  </a:cubicBezTo>
                  <a:cubicBezTo>
                    <a:pt x="83529" y="42947"/>
                    <a:pt x="83529" y="43894"/>
                    <a:pt x="83529" y="43894"/>
                  </a:cubicBezTo>
                  <a:close/>
                  <a:moveTo>
                    <a:pt x="85000" y="57473"/>
                  </a:moveTo>
                  <a:cubicBezTo>
                    <a:pt x="85000" y="57473"/>
                    <a:pt x="85000" y="57473"/>
                    <a:pt x="85000" y="57473"/>
                  </a:cubicBezTo>
                  <a:cubicBezTo>
                    <a:pt x="84705" y="57157"/>
                    <a:pt x="84705" y="57157"/>
                    <a:pt x="84705" y="57157"/>
                  </a:cubicBezTo>
                  <a:cubicBezTo>
                    <a:pt x="84705" y="56842"/>
                    <a:pt x="84705" y="56842"/>
                    <a:pt x="84705" y="56842"/>
                  </a:cubicBezTo>
                  <a:cubicBezTo>
                    <a:pt x="83823" y="55894"/>
                    <a:pt x="83823" y="55894"/>
                    <a:pt x="83823" y="55894"/>
                  </a:cubicBezTo>
                  <a:cubicBezTo>
                    <a:pt x="83823" y="55894"/>
                    <a:pt x="85000" y="55578"/>
                    <a:pt x="85588" y="55263"/>
                  </a:cubicBezTo>
                  <a:cubicBezTo>
                    <a:pt x="86470" y="54947"/>
                    <a:pt x="85588" y="54631"/>
                    <a:pt x="85588" y="54315"/>
                  </a:cubicBezTo>
                  <a:cubicBezTo>
                    <a:pt x="85588" y="54315"/>
                    <a:pt x="85294" y="54315"/>
                    <a:pt x="84705" y="54315"/>
                  </a:cubicBezTo>
                  <a:cubicBezTo>
                    <a:pt x="84411" y="54315"/>
                    <a:pt x="84117" y="54315"/>
                    <a:pt x="83529" y="54631"/>
                  </a:cubicBezTo>
                  <a:cubicBezTo>
                    <a:pt x="83235" y="54631"/>
                    <a:pt x="82941" y="54000"/>
                    <a:pt x="82941" y="54000"/>
                  </a:cubicBezTo>
                  <a:cubicBezTo>
                    <a:pt x="82647" y="54000"/>
                    <a:pt x="81470" y="54000"/>
                    <a:pt x="81176" y="54000"/>
                  </a:cubicBezTo>
                  <a:cubicBezTo>
                    <a:pt x="81176" y="54000"/>
                    <a:pt x="80882" y="54631"/>
                    <a:pt x="80588" y="54947"/>
                  </a:cubicBezTo>
                  <a:cubicBezTo>
                    <a:pt x="80294" y="55263"/>
                    <a:pt x="80000" y="55578"/>
                    <a:pt x="79705" y="55578"/>
                  </a:cubicBezTo>
                  <a:cubicBezTo>
                    <a:pt x="79411" y="55894"/>
                    <a:pt x="80588" y="56526"/>
                    <a:pt x="80882" y="56526"/>
                  </a:cubicBezTo>
                  <a:cubicBezTo>
                    <a:pt x="80882" y="56842"/>
                    <a:pt x="81764" y="56842"/>
                    <a:pt x="81764" y="57157"/>
                  </a:cubicBezTo>
                  <a:cubicBezTo>
                    <a:pt x="82058" y="57157"/>
                    <a:pt x="82941" y="57789"/>
                    <a:pt x="83235" y="57789"/>
                  </a:cubicBezTo>
                  <a:cubicBezTo>
                    <a:pt x="83529" y="58105"/>
                    <a:pt x="82941" y="58421"/>
                    <a:pt x="82647" y="59052"/>
                  </a:cubicBezTo>
                  <a:cubicBezTo>
                    <a:pt x="82352" y="59684"/>
                    <a:pt x="82058" y="59684"/>
                    <a:pt x="81764" y="60000"/>
                  </a:cubicBezTo>
                  <a:cubicBezTo>
                    <a:pt x="81470" y="60315"/>
                    <a:pt x="82058" y="60631"/>
                    <a:pt x="82352" y="60947"/>
                  </a:cubicBezTo>
                  <a:cubicBezTo>
                    <a:pt x="82647" y="61263"/>
                    <a:pt x="83235" y="61578"/>
                    <a:pt x="83235" y="61578"/>
                  </a:cubicBezTo>
                  <a:cubicBezTo>
                    <a:pt x="83529" y="61578"/>
                    <a:pt x="84411" y="60947"/>
                    <a:pt x="84411" y="60947"/>
                  </a:cubicBezTo>
                  <a:cubicBezTo>
                    <a:pt x="84411" y="60947"/>
                    <a:pt x="84705" y="60000"/>
                    <a:pt x="84705" y="60000"/>
                  </a:cubicBezTo>
                  <a:cubicBezTo>
                    <a:pt x="84705" y="59684"/>
                    <a:pt x="85000" y="59052"/>
                    <a:pt x="85000" y="59052"/>
                  </a:cubicBezTo>
                  <a:cubicBezTo>
                    <a:pt x="85294" y="58736"/>
                    <a:pt x="85294" y="58736"/>
                    <a:pt x="85294" y="58736"/>
                  </a:cubicBezTo>
                  <a:cubicBezTo>
                    <a:pt x="85000" y="57473"/>
                    <a:pt x="85000" y="57473"/>
                    <a:pt x="85000" y="57473"/>
                  </a:cubicBezTo>
                  <a:close/>
                  <a:moveTo>
                    <a:pt x="92941" y="66000"/>
                  </a:moveTo>
                  <a:cubicBezTo>
                    <a:pt x="92941" y="66000"/>
                    <a:pt x="92941" y="66000"/>
                    <a:pt x="92941" y="66000"/>
                  </a:cubicBezTo>
                  <a:cubicBezTo>
                    <a:pt x="93235" y="65684"/>
                    <a:pt x="93823" y="65052"/>
                    <a:pt x="93823" y="64736"/>
                  </a:cubicBezTo>
                  <a:cubicBezTo>
                    <a:pt x="93823" y="64736"/>
                    <a:pt x="94411" y="64736"/>
                    <a:pt x="94705" y="64736"/>
                  </a:cubicBezTo>
                  <a:cubicBezTo>
                    <a:pt x="94705" y="64736"/>
                    <a:pt x="95882" y="65052"/>
                    <a:pt x="95882" y="65052"/>
                  </a:cubicBezTo>
                  <a:cubicBezTo>
                    <a:pt x="95882" y="65052"/>
                    <a:pt x="96764" y="65052"/>
                    <a:pt x="96764" y="65052"/>
                  </a:cubicBezTo>
                  <a:cubicBezTo>
                    <a:pt x="96764" y="65052"/>
                    <a:pt x="97647" y="64421"/>
                    <a:pt x="97647" y="64421"/>
                  </a:cubicBezTo>
                  <a:cubicBezTo>
                    <a:pt x="97941" y="64421"/>
                    <a:pt x="98823" y="65368"/>
                    <a:pt x="98823" y="65368"/>
                  </a:cubicBezTo>
                  <a:cubicBezTo>
                    <a:pt x="98823" y="65368"/>
                    <a:pt x="98235" y="66315"/>
                    <a:pt x="97941" y="66315"/>
                  </a:cubicBezTo>
                  <a:cubicBezTo>
                    <a:pt x="97647" y="66631"/>
                    <a:pt x="97352" y="66631"/>
                    <a:pt x="97058" y="66947"/>
                  </a:cubicBezTo>
                  <a:cubicBezTo>
                    <a:pt x="96764" y="67578"/>
                    <a:pt x="96764" y="67578"/>
                    <a:pt x="96764" y="67894"/>
                  </a:cubicBezTo>
                  <a:cubicBezTo>
                    <a:pt x="96470" y="67894"/>
                    <a:pt x="96176" y="68526"/>
                    <a:pt x="95588" y="67894"/>
                  </a:cubicBezTo>
                  <a:cubicBezTo>
                    <a:pt x="95000" y="67578"/>
                    <a:pt x="94411" y="66947"/>
                    <a:pt x="94411" y="66947"/>
                  </a:cubicBezTo>
                  <a:cubicBezTo>
                    <a:pt x="94411" y="66947"/>
                    <a:pt x="93823" y="67263"/>
                    <a:pt x="93529" y="67263"/>
                  </a:cubicBezTo>
                  <a:cubicBezTo>
                    <a:pt x="93235" y="67578"/>
                    <a:pt x="92647" y="67263"/>
                    <a:pt x="92647" y="67263"/>
                  </a:cubicBezTo>
                  <a:cubicBezTo>
                    <a:pt x="92941" y="66947"/>
                    <a:pt x="92647" y="66315"/>
                    <a:pt x="92941" y="66000"/>
                  </a:cubicBezTo>
                  <a:close/>
                  <a:moveTo>
                    <a:pt x="86764" y="72315"/>
                  </a:moveTo>
                  <a:cubicBezTo>
                    <a:pt x="86764" y="72315"/>
                    <a:pt x="86764" y="72315"/>
                    <a:pt x="86764" y="72315"/>
                  </a:cubicBezTo>
                  <a:cubicBezTo>
                    <a:pt x="86764" y="72315"/>
                    <a:pt x="85588" y="71684"/>
                    <a:pt x="85882" y="71368"/>
                  </a:cubicBezTo>
                  <a:cubicBezTo>
                    <a:pt x="86176" y="70736"/>
                    <a:pt x="87352" y="69473"/>
                    <a:pt x="87647" y="69157"/>
                  </a:cubicBezTo>
                  <a:cubicBezTo>
                    <a:pt x="87647" y="69157"/>
                    <a:pt x="88529" y="69473"/>
                    <a:pt x="88529" y="69473"/>
                  </a:cubicBezTo>
                  <a:cubicBezTo>
                    <a:pt x="88823" y="69473"/>
                    <a:pt x="89117" y="68526"/>
                    <a:pt x="89411" y="68526"/>
                  </a:cubicBezTo>
                  <a:cubicBezTo>
                    <a:pt x="89411" y="68526"/>
                    <a:pt x="90588" y="68526"/>
                    <a:pt x="90588" y="68526"/>
                  </a:cubicBezTo>
                  <a:cubicBezTo>
                    <a:pt x="90588" y="68526"/>
                    <a:pt x="90000" y="69789"/>
                    <a:pt x="89411" y="70105"/>
                  </a:cubicBezTo>
                  <a:cubicBezTo>
                    <a:pt x="88823" y="70421"/>
                    <a:pt x="88529" y="70421"/>
                    <a:pt x="88529" y="70736"/>
                  </a:cubicBezTo>
                  <a:cubicBezTo>
                    <a:pt x="88235" y="71052"/>
                    <a:pt x="87941" y="71368"/>
                    <a:pt x="87941" y="71684"/>
                  </a:cubicBezTo>
                  <a:cubicBezTo>
                    <a:pt x="87647" y="71684"/>
                    <a:pt x="86764" y="72315"/>
                    <a:pt x="86764" y="72315"/>
                  </a:cubicBezTo>
                  <a:close/>
                  <a:moveTo>
                    <a:pt x="82941" y="84631"/>
                  </a:moveTo>
                  <a:cubicBezTo>
                    <a:pt x="82941" y="84631"/>
                    <a:pt x="82941" y="84631"/>
                    <a:pt x="82941" y="84631"/>
                  </a:cubicBezTo>
                  <a:cubicBezTo>
                    <a:pt x="83235" y="84947"/>
                    <a:pt x="82647" y="86210"/>
                    <a:pt x="81764" y="85578"/>
                  </a:cubicBezTo>
                  <a:cubicBezTo>
                    <a:pt x="81764" y="85578"/>
                    <a:pt x="81470" y="84947"/>
                    <a:pt x="82058" y="84631"/>
                  </a:cubicBezTo>
                  <a:cubicBezTo>
                    <a:pt x="82352" y="84631"/>
                    <a:pt x="82941" y="84631"/>
                    <a:pt x="82941" y="84631"/>
                  </a:cubicBezTo>
                  <a:close/>
                  <a:moveTo>
                    <a:pt x="82058" y="92210"/>
                  </a:moveTo>
                  <a:cubicBezTo>
                    <a:pt x="82058" y="92210"/>
                    <a:pt x="82058" y="92210"/>
                    <a:pt x="82058" y="92210"/>
                  </a:cubicBezTo>
                  <a:cubicBezTo>
                    <a:pt x="82058" y="92210"/>
                    <a:pt x="82647" y="91578"/>
                    <a:pt x="82647" y="91578"/>
                  </a:cubicBezTo>
                  <a:cubicBezTo>
                    <a:pt x="82941" y="91578"/>
                    <a:pt x="83235" y="91894"/>
                    <a:pt x="83235" y="91894"/>
                  </a:cubicBezTo>
                  <a:cubicBezTo>
                    <a:pt x="83235" y="91894"/>
                    <a:pt x="84117" y="92526"/>
                    <a:pt x="84117" y="92526"/>
                  </a:cubicBezTo>
                  <a:cubicBezTo>
                    <a:pt x="84117" y="92842"/>
                    <a:pt x="84411" y="93473"/>
                    <a:pt x="84117" y="93473"/>
                  </a:cubicBezTo>
                  <a:cubicBezTo>
                    <a:pt x="83823" y="93789"/>
                    <a:pt x="83529" y="94105"/>
                    <a:pt x="83235" y="93789"/>
                  </a:cubicBezTo>
                  <a:cubicBezTo>
                    <a:pt x="82941" y="93789"/>
                    <a:pt x="82647" y="93789"/>
                    <a:pt x="82647" y="93473"/>
                  </a:cubicBezTo>
                  <a:cubicBezTo>
                    <a:pt x="82647" y="93157"/>
                    <a:pt x="82647" y="93157"/>
                    <a:pt x="82647" y="92842"/>
                  </a:cubicBezTo>
                  <a:cubicBezTo>
                    <a:pt x="82647" y="92842"/>
                    <a:pt x="82058" y="92842"/>
                    <a:pt x="82058" y="92842"/>
                  </a:cubicBezTo>
                  <a:cubicBezTo>
                    <a:pt x="82058" y="92210"/>
                    <a:pt x="82058" y="92210"/>
                    <a:pt x="82058" y="92210"/>
                  </a:cubicBezTo>
                  <a:close/>
                  <a:moveTo>
                    <a:pt x="70000" y="88105"/>
                  </a:moveTo>
                  <a:cubicBezTo>
                    <a:pt x="70000" y="88105"/>
                    <a:pt x="70000" y="88105"/>
                    <a:pt x="70000" y="88105"/>
                  </a:cubicBezTo>
                  <a:cubicBezTo>
                    <a:pt x="70294" y="88105"/>
                    <a:pt x="70882" y="87789"/>
                    <a:pt x="70882" y="88105"/>
                  </a:cubicBezTo>
                  <a:cubicBezTo>
                    <a:pt x="71176" y="88421"/>
                    <a:pt x="71470" y="88421"/>
                    <a:pt x="71470" y="88736"/>
                  </a:cubicBezTo>
                  <a:cubicBezTo>
                    <a:pt x="71470" y="88736"/>
                    <a:pt x="71764" y="89052"/>
                    <a:pt x="71176" y="89368"/>
                  </a:cubicBezTo>
                  <a:cubicBezTo>
                    <a:pt x="70588" y="89368"/>
                    <a:pt x="70294" y="89368"/>
                    <a:pt x="70294" y="89368"/>
                  </a:cubicBezTo>
                  <a:cubicBezTo>
                    <a:pt x="70588" y="90315"/>
                    <a:pt x="70588" y="90315"/>
                    <a:pt x="70588" y="90315"/>
                  </a:cubicBezTo>
                  <a:cubicBezTo>
                    <a:pt x="70588" y="90315"/>
                    <a:pt x="71176" y="90315"/>
                    <a:pt x="70294" y="90947"/>
                  </a:cubicBezTo>
                  <a:cubicBezTo>
                    <a:pt x="69705" y="91578"/>
                    <a:pt x="69117" y="91578"/>
                    <a:pt x="69117" y="91578"/>
                  </a:cubicBezTo>
                  <a:cubicBezTo>
                    <a:pt x="69117" y="91263"/>
                    <a:pt x="69117" y="91263"/>
                    <a:pt x="69117" y="91263"/>
                  </a:cubicBezTo>
                  <a:cubicBezTo>
                    <a:pt x="68235" y="91578"/>
                    <a:pt x="68235" y="91578"/>
                    <a:pt x="68235" y="91578"/>
                  </a:cubicBezTo>
                  <a:cubicBezTo>
                    <a:pt x="68235" y="91578"/>
                    <a:pt x="67941" y="91894"/>
                    <a:pt x="67941" y="91578"/>
                  </a:cubicBezTo>
                  <a:cubicBezTo>
                    <a:pt x="67647" y="90947"/>
                    <a:pt x="67352" y="90315"/>
                    <a:pt x="67941" y="90315"/>
                  </a:cubicBezTo>
                  <a:cubicBezTo>
                    <a:pt x="68529" y="90000"/>
                    <a:pt x="68529" y="89684"/>
                    <a:pt x="68823" y="90000"/>
                  </a:cubicBezTo>
                  <a:cubicBezTo>
                    <a:pt x="69117" y="90315"/>
                    <a:pt x="69117" y="90631"/>
                    <a:pt x="69117" y="90631"/>
                  </a:cubicBezTo>
                  <a:cubicBezTo>
                    <a:pt x="69411" y="89684"/>
                    <a:pt x="69411" y="89684"/>
                    <a:pt x="69411" y="89684"/>
                  </a:cubicBezTo>
                  <a:cubicBezTo>
                    <a:pt x="69411" y="89684"/>
                    <a:pt x="69117" y="89684"/>
                    <a:pt x="69117" y="89368"/>
                  </a:cubicBezTo>
                  <a:cubicBezTo>
                    <a:pt x="69411" y="89052"/>
                    <a:pt x="69411" y="89052"/>
                    <a:pt x="69705" y="88736"/>
                  </a:cubicBezTo>
                  <a:cubicBezTo>
                    <a:pt x="70000" y="88736"/>
                    <a:pt x="70294" y="89052"/>
                    <a:pt x="70294" y="89052"/>
                  </a:cubicBezTo>
                  <a:cubicBezTo>
                    <a:pt x="70000" y="88105"/>
                    <a:pt x="70000" y="88105"/>
                    <a:pt x="70000" y="88105"/>
                  </a:cubicBezTo>
                  <a:close/>
                  <a:moveTo>
                    <a:pt x="75882" y="90315"/>
                  </a:moveTo>
                  <a:cubicBezTo>
                    <a:pt x="75882" y="90315"/>
                    <a:pt x="75882" y="90315"/>
                    <a:pt x="75882" y="90315"/>
                  </a:cubicBezTo>
                  <a:cubicBezTo>
                    <a:pt x="75882" y="90315"/>
                    <a:pt x="76176" y="90315"/>
                    <a:pt x="76176" y="90631"/>
                  </a:cubicBezTo>
                  <a:cubicBezTo>
                    <a:pt x="76470" y="90947"/>
                    <a:pt x="76470" y="90947"/>
                    <a:pt x="76176" y="90947"/>
                  </a:cubicBezTo>
                  <a:cubicBezTo>
                    <a:pt x="76176" y="90947"/>
                    <a:pt x="75294" y="90947"/>
                    <a:pt x="75294" y="90947"/>
                  </a:cubicBezTo>
                  <a:cubicBezTo>
                    <a:pt x="75294" y="90947"/>
                    <a:pt x="75000" y="91263"/>
                    <a:pt x="75000" y="90631"/>
                  </a:cubicBezTo>
                  <a:cubicBezTo>
                    <a:pt x="75000" y="90315"/>
                    <a:pt x="75000" y="90000"/>
                    <a:pt x="75000" y="90000"/>
                  </a:cubicBezTo>
                  <a:cubicBezTo>
                    <a:pt x="75882" y="90315"/>
                    <a:pt x="75882" y="90315"/>
                    <a:pt x="75882" y="90315"/>
                  </a:cubicBezTo>
                  <a:close/>
                  <a:moveTo>
                    <a:pt x="77941" y="89052"/>
                  </a:moveTo>
                  <a:cubicBezTo>
                    <a:pt x="77941" y="89052"/>
                    <a:pt x="77941" y="89052"/>
                    <a:pt x="77941" y="89052"/>
                  </a:cubicBezTo>
                  <a:cubicBezTo>
                    <a:pt x="79117" y="88105"/>
                    <a:pt x="79117" y="88105"/>
                    <a:pt x="79117" y="88105"/>
                  </a:cubicBezTo>
                  <a:cubicBezTo>
                    <a:pt x="79117" y="88105"/>
                    <a:pt x="79411" y="89052"/>
                    <a:pt x="78823" y="89368"/>
                  </a:cubicBezTo>
                  <a:cubicBezTo>
                    <a:pt x="78529" y="89684"/>
                    <a:pt x="78235" y="89684"/>
                    <a:pt x="78235" y="89684"/>
                  </a:cubicBezTo>
                  <a:cubicBezTo>
                    <a:pt x="77647" y="89368"/>
                    <a:pt x="77647" y="89368"/>
                    <a:pt x="77647" y="89368"/>
                  </a:cubicBezTo>
                  <a:cubicBezTo>
                    <a:pt x="77941" y="89052"/>
                    <a:pt x="77941" y="89052"/>
                    <a:pt x="77941" y="89052"/>
                  </a:cubicBezTo>
                  <a:close/>
                  <a:moveTo>
                    <a:pt x="80294" y="86842"/>
                  </a:moveTo>
                  <a:cubicBezTo>
                    <a:pt x="80294" y="86842"/>
                    <a:pt x="80294" y="86842"/>
                    <a:pt x="80294" y="86842"/>
                  </a:cubicBezTo>
                  <a:cubicBezTo>
                    <a:pt x="80294" y="86842"/>
                    <a:pt x="80000" y="87789"/>
                    <a:pt x="80294" y="88421"/>
                  </a:cubicBezTo>
                  <a:cubicBezTo>
                    <a:pt x="80294" y="88736"/>
                    <a:pt x="80294" y="88736"/>
                    <a:pt x="80588" y="88736"/>
                  </a:cubicBezTo>
                  <a:cubicBezTo>
                    <a:pt x="80882" y="89052"/>
                    <a:pt x="81176" y="89052"/>
                    <a:pt x="81470" y="88736"/>
                  </a:cubicBezTo>
                  <a:cubicBezTo>
                    <a:pt x="81764" y="88736"/>
                    <a:pt x="81764" y="87789"/>
                    <a:pt x="81764" y="87789"/>
                  </a:cubicBezTo>
                  <a:cubicBezTo>
                    <a:pt x="81764" y="87789"/>
                    <a:pt x="81764" y="87473"/>
                    <a:pt x="81470" y="86842"/>
                  </a:cubicBezTo>
                  <a:cubicBezTo>
                    <a:pt x="81176" y="85894"/>
                    <a:pt x="80588" y="86842"/>
                    <a:pt x="80294" y="86842"/>
                  </a:cubicBezTo>
                  <a:close/>
                  <a:moveTo>
                    <a:pt x="80588" y="81789"/>
                  </a:moveTo>
                  <a:cubicBezTo>
                    <a:pt x="80588" y="81789"/>
                    <a:pt x="80588" y="81789"/>
                    <a:pt x="80588" y="81789"/>
                  </a:cubicBezTo>
                  <a:cubicBezTo>
                    <a:pt x="80588" y="81473"/>
                    <a:pt x="80588" y="80526"/>
                    <a:pt x="80882" y="80210"/>
                  </a:cubicBezTo>
                  <a:cubicBezTo>
                    <a:pt x="81176" y="80210"/>
                    <a:pt x="81176" y="79894"/>
                    <a:pt x="81470" y="79578"/>
                  </a:cubicBezTo>
                  <a:cubicBezTo>
                    <a:pt x="81470" y="79263"/>
                    <a:pt x="82647" y="79263"/>
                    <a:pt x="82647" y="79263"/>
                  </a:cubicBezTo>
                  <a:cubicBezTo>
                    <a:pt x="82941" y="79894"/>
                    <a:pt x="82941" y="79894"/>
                    <a:pt x="82941" y="79894"/>
                  </a:cubicBezTo>
                  <a:cubicBezTo>
                    <a:pt x="82941" y="79894"/>
                    <a:pt x="82941" y="80526"/>
                    <a:pt x="82941" y="80842"/>
                  </a:cubicBezTo>
                  <a:cubicBezTo>
                    <a:pt x="82941" y="81157"/>
                    <a:pt x="82941" y="81157"/>
                    <a:pt x="83235" y="81789"/>
                  </a:cubicBezTo>
                  <a:cubicBezTo>
                    <a:pt x="83235" y="82105"/>
                    <a:pt x="82941" y="82736"/>
                    <a:pt x="82941" y="83052"/>
                  </a:cubicBezTo>
                  <a:cubicBezTo>
                    <a:pt x="82647" y="83368"/>
                    <a:pt x="82647" y="83684"/>
                    <a:pt x="82352" y="83684"/>
                  </a:cubicBezTo>
                  <a:cubicBezTo>
                    <a:pt x="82058" y="84000"/>
                    <a:pt x="82058" y="84315"/>
                    <a:pt x="81764" y="84000"/>
                  </a:cubicBezTo>
                  <a:cubicBezTo>
                    <a:pt x="81470" y="83684"/>
                    <a:pt x="80588" y="83368"/>
                    <a:pt x="80588" y="83052"/>
                  </a:cubicBezTo>
                  <a:cubicBezTo>
                    <a:pt x="80588" y="83052"/>
                    <a:pt x="80588" y="82421"/>
                    <a:pt x="80588" y="82421"/>
                  </a:cubicBezTo>
                  <a:cubicBezTo>
                    <a:pt x="80588" y="81789"/>
                    <a:pt x="80588" y="81789"/>
                    <a:pt x="80588" y="81789"/>
                  </a:cubicBezTo>
                  <a:close/>
                  <a:moveTo>
                    <a:pt x="77058" y="83368"/>
                  </a:moveTo>
                  <a:cubicBezTo>
                    <a:pt x="77058" y="83368"/>
                    <a:pt x="77058" y="83368"/>
                    <a:pt x="77058" y="83368"/>
                  </a:cubicBezTo>
                  <a:cubicBezTo>
                    <a:pt x="77058" y="83052"/>
                    <a:pt x="77352" y="81789"/>
                    <a:pt x="77352" y="81789"/>
                  </a:cubicBezTo>
                  <a:cubicBezTo>
                    <a:pt x="77352" y="81789"/>
                    <a:pt x="77352" y="81157"/>
                    <a:pt x="77941" y="80842"/>
                  </a:cubicBezTo>
                  <a:cubicBezTo>
                    <a:pt x="78235" y="80842"/>
                    <a:pt x="78235" y="80526"/>
                    <a:pt x="78529" y="80842"/>
                  </a:cubicBezTo>
                  <a:cubicBezTo>
                    <a:pt x="78823" y="81157"/>
                    <a:pt x="79117" y="81473"/>
                    <a:pt x="79117" y="81473"/>
                  </a:cubicBezTo>
                  <a:cubicBezTo>
                    <a:pt x="79117" y="81473"/>
                    <a:pt x="78823" y="81473"/>
                    <a:pt x="78823" y="81789"/>
                  </a:cubicBezTo>
                  <a:cubicBezTo>
                    <a:pt x="78823" y="81789"/>
                    <a:pt x="79117" y="82421"/>
                    <a:pt x="79117" y="82421"/>
                  </a:cubicBezTo>
                  <a:cubicBezTo>
                    <a:pt x="78823" y="82736"/>
                    <a:pt x="78529" y="83052"/>
                    <a:pt x="78235" y="83368"/>
                  </a:cubicBezTo>
                  <a:cubicBezTo>
                    <a:pt x="78235" y="83684"/>
                    <a:pt x="77647" y="84000"/>
                    <a:pt x="77647" y="84000"/>
                  </a:cubicBezTo>
                  <a:cubicBezTo>
                    <a:pt x="76764" y="84631"/>
                    <a:pt x="76764" y="84631"/>
                    <a:pt x="76764" y="84631"/>
                  </a:cubicBezTo>
                  <a:cubicBezTo>
                    <a:pt x="76764" y="84947"/>
                    <a:pt x="76764" y="84947"/>
                    <a:pt x="76764" y="84947"/>
                  </a:cubicBezTo>
                  <a:cubicBezTo>
                    <a:pt x="76470" y="84947"/>
                    <a:pt x="76470" y="84947"/>
                    <a:pt x="76470" y="84947"/>
                  </a:cubicBezTo>
                  <a:cubicBezTo>
                    <a:pt x="75882" y="84000"/>
                    <a:pt x="75882" y="84000"/>
                    <a:pt x="75882" y="84000"/>
                  </a:cubicBezTo>
                  <a:cubicBezTo>
                    <a:pt x="76764" y="83368"/>
                    <a:pt x="76764" y="83368"/>
                    <a:pt x="76764" y="83368"/>
                  </a:cubicBezTo>
                  <a:cubicBezTo>
                    <a:pt x="77058" y="83368"/>
                    <a:pt x="77058" y="83368"/>
                    <a:pt x="77058" y="83368"/>
                  </a:cubicBezTo>
                  <a:close/>
                  <a:moveTo>
                    <a:pt x="71176" y="84631"/>
                  </a:moveTo>
                  <a:cubicBezTo>
                    <a:pt x="71176" y="84631"/>
                    <a:pt x="71176" y="84631"/>
                    <a:pt x="71176" y="84631"/>
                  </a:cubicBezTo>
                  <a:cubicBezTo>
                    <a:pt x="72058" y="84315"/>
                    <a:pt x="72058" y="84315"/>
                    <a:pt x="72058" y="84315"/>
                  </a:cubicBezTo>
                  <a:cubicBezTo>
                    <a:pt x="72941" y="84947"/>
                    <a:pt x="72941" y="84947"/>
                    <a:pt x="72941" y="84947"/>
                  </a:cubicBezTo>
                  <a:cubicBezTo>
                    <a:pt x="72941" y="85894"/>
                    <a:pt x="72941" y="85894"/>
                    <a:pt x="72941" y="85894"/>
                  </a:cubicBezTo>
                  <a:cubicBezTo>
                    <a:pt x="72941" y="85894"/>
                    <a:pt x="72352" y="87157"/>
                    <a:pt x="72058" y="86842"/>
                  </a:cubicBezTo>
                  <a:cubicBezTo>
                    <a:pt x="71764" y="86210"/>
                    <a:pt x="71764" y="85578"/>
                    <a:pt x="71764" y="85578"/>
                  </a:cubicBezTo>
                  <a:cubicBezTo>
                    <a:pt x="71176" y="84631"/>
                    <a:pt x="71176" y="84631"/>
                    <a:pt x="71176" y="84631"/>
                  </a:cubicBezTo>
                  <a:close/>
                  <a:moveTo>
                    <a:pt x="67352" y="82105"/>
                  </a:moveTo>
                  <a:cubicBezTo>
                    <a:pt x="67352" y="82105"/>
                    <a:pt x="67352" y="82105"/>
                    <a:pt x="67352" y="82105"/>
                  </a:cubicBezTo>
                  <a:cubicBezTo>
                    <a:pt x="67352" y="82105"/>
                    <a:pt x="68823" y="81789"/>
                    <a:pt x="68823" y="82105"/>
                  </a:cubicBezTo>
                  <a:cubicBezTo>
                    <a:pt x="68823" y="82105"/>
                    <a:pt x="68823" y="82736"/>
                    <a:pt x="69117" y="82736"/>
                  </a:cubicBezTo>
                  <a:cubicBezTo>
                    <a:pt x="69117" y="83052"/>
                    <a:pt x="68235" y="84000"/>
                    <a:pt x="67941" y="84000"/>
                  </a:cubicBezTo>
                  <a:cubicBezTo>
                    <a:pt x="67941" y="84000"/>
                    <a:pt x="67647" y="83684"/>
                    <a:pt x="67647" y="83684"/>
                  </a:cubicBezTo>
                  <a:cubicBezTo>
                    <a:pt x="67352" y="82105"/>
                    <a:pt x="67352" y="82105"/>
                    <a:pt x="67352" y="82105"/>
                  </a:cubicBezTo>
                  <a:close/>
                  <a:moveTo>
                    <a:pt x="66176" y="78000"/>
                  </a:moveTo>
                  <a:cubicBezTo>
                    <a:pt x="66176" y="78000"/>
                    <a:pt x="66176" y="78000"/>
                    <a:pt x="66176" y="78000"/>
                  </a:cubicBezTo>
                  <a:cubicBezTo>
                    <a:pt x="66176" y="78000"/>
                    <a:pt x="66470" y="77684"/>
                    <a:pt x="66764" y="77684"/>
                  </a:cubicBezTo>
                  <a:cubicBezTo>
                    <a:pt x="67058" y="78000"/>
                    <a:pt x="67058" y="78947"/>
                    <a:pt x="67058" y="78947"/>
                  </a:cubicBezTo>
                  <a:cubicBezTo>
                    <a:pt x="66764" y="79894"/>
                    <a:pt x="66764" y="79894"/>
                    <a:pt x="66764" y="79894"/>
                  </a:cubicBezTo>
                  <a:cubicBezTo>
                    <a:pt x="66764" y="79894"/>
                    <a:pt x="66176" y="80842"/>
                    <a:pt x="66176" y="80842"/>
                  </a:cubicBezTo>
                  <a:cubicBezTo>
                    <a:pt x="66176" y="80526"/>
                    <a:pt x="65882" y="78947"/>
                    <a:pt x="65882" y="78947"/>
                  </a:cubicBezTo>
                  <a:cubicBezTo>
                    <a:pt x="66176" y="78000"/>
                    <a:pt x="66176" y="78000"/>
                    <a:pt x="66176" y="78000"/>
                  </a:cubicBezTo>
                  <a:close/>
                  <a:moveTo>
                    <a:pt x="64411" y="75473"/>
                  </a:moveTo>
                  <a:cubicBezTo>
                    <a:pt x="64411" y="75473"/>
                    <a:pt x="64411" y="75473"/>
                    <a:pt x="64411" y="75473"/>
                  </a:cubicBezTo>
                  <a:cubicBezTo>
                    <a:pt x="64411" y="75473"/>
                    <a:pt x="64117" y="76421"/>
                    <a:pt x="64117" y="76736"/>
                  </a:cubicBezTo>
                  <a:cubicBezTo>
                    <a:pt x="64117" y="76736"/>
                    <a:pt x="64411" y="77368"/>
                    <a:pt x="64411" y="77368"/>
                  </a:cubicBezTo>
                  <a:cubicBezTo>
                    <a:pt x="64411" y="77684"/>
                    <a:pt x="64411" y="77368"/>
                    <a:pt x="64705" y="77052"/>
                  </a:cubicBezTo>
                  <a:cubicBezTo>
                    <a:pt x="65000" y="76736"/>
                    <a:pt x="65000" y="76421"/>
                    <a:pt x="65000" y="76421"/>
                  </a:cubicBezTo>
                  <a:cubicBezTo>
                    <a:pt x="65000" y="76421"/>
                    <a:pt x="65588" y="76105"/>
                    <a:pt x="65588" y="75789"/>
                  </a:cubicBezTo>
                  <a:cubicBezTo>
                    <a:pt x="65882" y="75789"/>
                    <a:pt x="65882" y="74842"/>
                    <a:pt x="65882" y="74842"/>
                  </a:cubicBezTo>
                  <a:cubicBezTo>
                    <a:pt x="65882" y="74842"/>
                    <a:pt x="65000" y="74210"/>
                    <a:pt x="65000" y="74526"/>
                  </a:cubicBezTo>
                  <a:cubicBezTo>
                    <a:pt x="64705" y="74526"/>
                    <a:pt x="64411" y="75473"/>
                    <a:pt x="64411" y="75473"/>
                  </a:cubicBezTo>
                  <a:close/>
                  <a:moveTo>
                    <a:pt x="68529" y="74842"/>
                  </a:moveTo>
                  <a:cubicBezTo>
                    <a:pt x="68529" y="74842"/>
                    <a:pt x="68529" y="74842"/>
                    <a:pt x="68529" y="74842"/>
                  </a:cubicBezTo>
                  <a:cubicBezTo>
                    <a:pt x="68823" y="74842"/>
                    <a:pt x="68823" y="74842"/>
                    <a:pt x="68823" y="74842"/>
                  </a:cubicBezTo>
                  <a:cubicBezTo>
                    <a:pt x="68823" y="75157"/>
                    <a:pt x="68823" y="75157"/>
                    <a:pt x="68823" y="75157"/>
                  </a:cubicBezTo>
                  <a:cubicBezTo>
                    <a:pt x="68823" y="75157"/>
                    <a:pt x="69705" y="74842"/>
                    <a:pt x="70000" y="74842"/>
                  </a:cubicBezTo>
                  <a:cubicBezTo>
                    <a:pt x="70294" y="74526"/>
                    <a:pt x="70000" y="74210"/>
                    <a:pt x="70000" y="73894"/>
                  </a:cubicBezTo>
                  <a:cubicBezTo>
                    <a:pt x="69705" y="73578"/>
                    <a:pt x="68529" y="74842"/>
                    <a:pt x="68529" y="74842"/>
                  </a:cubicBezTo>
                  <a:close/>
                  <a:moveTo>
                    <a:pt x="72647" y="76105"/>
                  </a:moveTo>
                  <a:cubicBezTo>
                    <a:pt x="72647" y="76105"/>
                    <a:pt x="72647" y="76105"/>
                    <a:pt x="72647" y="76105"/>
                  </a:cubicBezTo>
                  <a:cubicBezTo>
                    <a:pt x="72058" y="75789"/>
                    <a:pt x="72058" y="75789"/>
                    <a:pt x="72058" y="75789"/>
                  </a:cubicBezTo>
                  <a:cubicBezTo>
                    <a:pt x="72058" y="76421"/>
                    <a:pt x="72058" y="76421"/>
                    <a:pt x="72058" y="76421"/>
                  </a:cubicBezTo>
                  <a:cubicBezTo>
                    <a:pt x="72058" y="76421"/>
                    <a:pt x="72352" y="77052"/>
                    <a:pt x="72647" y="77368"/>
                  </a:cubicBezTo>
                  <a:cubicBezTo>
                    <a:pt x="72647" y="77368"/>
                    <a:pt x="72058" y="78000"/>
                    <a:pt x="72058" y="78000"/>
                  </a:cubicBezTo>
                  <a:cubicBezTo>
                    <a:pt x="72647" y="78947"/>
                    <a:pt x="72647" y="78947"/>
                    <a:pt x="72647" y="78947"/>
                  </a:cubicBezTo>
                  <a:cubicBezTo>
                    <a:pt x="73529" y="77368"/>
                    <a:pt x="73529" y="77368"/>
                    <a:pt x="73529" y="77368"/>
                  </a:cubicBezTo>
                  <a:cubicBezTo>
                    <a:pt x="73529" y="77368"/>
                    <a:pt x="73235" y="76736"/>
                    <a:pt x="73235" y="76736"/>
                  </a:cubicBezTo>
                  <a:cubicBezTo>
                    <a:pt x="73235" y="76421"/>
                    <a:pt x="72647" y="76105"/>
                    <a:pt x="72647" y="76105"/>
                  </a:cubicBezTo>
                  <a:close/>
                  <a:moveTo>
                    <a:pt x="76764" y="76105"/>
                  </a:moveTo>
                  <a:cubicBezTo>
                    <a:pt x="76764" y="76105"/>
                    <a:pt x="76764" y="76105"/>
                    <a:pt x="76764" y="76105"/>
                  </a:cubicBezTo>
                  <a:cubicBezTo>
                    <a:pt x="77058" y="76736"/>
                    <a:pt x="77058" y="76736"/>
                    <a:pt x="77058" y="76736"/>
                  </a:cubicBezTo>
                  <a:cubicBezTo>
                    <a:pt x="77058" y="76736"/>
                    <a:pt x="76764" y="77368"/>
                    <a:pt x="76470" y="77368"/>
                  </a:cubicBezTo>
                  <a:cubicBezTo>
                    <a:pt x="76470" y="77368"/>
                    <a:pt x="76176" y="77052"/>
                    <a:pt x="76176" y="77052"/>
                  </a:cubicBezTo>
                  <a:cubicBezTo>
                    <a:pt x="76764" y="76105"/>
                    <a:pt x="76764" y="76105"/>
                    <a:pt x="76764" y="76105"/>
                  </a:cubicBezTo>
                  <a:close/>
                  <a:moveTo>
                    <a:pt x="77647" y="75157"/>
                  </a:moveTo>
                  <a:cubicBezTo>
                    <a:pt x="77647" y="75157"/>
                    <a:pt x="77647" y="75157"/>
                    <a:pt x="77647" y="75157"/>
                  </a:cubicBezTo>
                  <a:cubicBezTo>
                    <a:pt x="77941" y="75789"/>
                    <a:pt x="77941" y="75789"/>
                    <a:pt x="77941" y="75789"/>
                  </a:cubicBezTo>
                  <a:cubicBezTo>
                    <a:pt x="77941" y="75789"/>
                    <a:pt x="78823" y="75473"/>
                    <a:pt x="79411" y="75157"/>
                  </a:cubicBezTo>
                  <a:cubicBezTo>
                    <a:pt x="80294" y="74842"/>
                    <a:pt x="79411" y="74526"/>
                    <a:pt x="79411" y="74526"/>
                  </a:cubicBezTo>
                  <a:cubicBezTo>
                    <a:pt x="78529" y="74526"/>
                    <a:pt x="78529" y="74526"/>
                    <a:pt x="78529" y="74526"/>
                  </a:cubicBezTo>
                  <a:cubicBezTo>
                    <a:pt x="78529" y="74526"/>
                    <a:pt x="77647" y="74842"/>
                    <a:pt x="77647" y="75157"/>
                  </a:cubicBezTo>
                  <a:close/>
                  <a:moveTo>
                    <a:pt x="72647" y="72631"/>
                  </a:moveTo>
                  <a:cubicBezTo>
                    <a:pt x="72647" y="72631"/>
                    <a:pt x="72647" y="72631"/>
                    <a:pt x="72647" y="72631"/>
                  </a:cubicBezTo>
                  <a:cubicBezTo>
                    <a:pt x="73529" y="73578"/>
                    <a:pt x="73529" y="73578"/>
                    <a:pt x="73529" y="73578"/>
                  </a:cubicBezTo>
                  <a:cubicBezTo>
                    <a:pt x="73529" y="73578"/>
                    <a:pt x="74705" y="74210"/>
                    <a:pt x="75000" y="74210"/>
                  </a:cubicBezTo>
                  <a:cubicBezTo>
                    <a:pt x="75000" y="74526"/>
                    <a:pt x="75588" y="74210"/>
                    <a:pt x="76176" y="74210"/>
                  </a:cubicBezTo>
                  <a:cubicBezTo>
                    <a:pt x="76470" y="73894"/>
                    <a:pt x="76470" y="73894"/>
                    <a:pt x="76470" y="73578"/>
                  </a:cubicBezTo>
                  <a:cubicBezTo>
                    <a:pt x="76470" y="73578"/>
                    <a:pt x="76176" y="73263"/>
                    <a:pt x="76176" y="73263"/>
                  </a:cubicBezTo>
                  <a:cubicBezTo>
                    <a:pt x="76176" y="73263"/>
                    <a:pt x="75882" y="72631"/>
                    <a:pt x="75000" y="72631"/>
                  </a:cubicBezTo>
                  <a:cubicBezTo>
                    <a:pt x="74411" y="72947"/>
                    <a:pt x="74411" y="72631"/>
                    <a:pt x="74411" y="72631"/>
                  </a:cubicBezTo>
                  <a:cubicBezTo>
                    <a:pt x="74411" y="72631"/>
                    <a:pt x="74117" y="72631"/>
                    <a:pt x="73235" y="72315"/>
                  </a:cubicBezTo>
                  <a:cubicBezTo>
                    <a:pt x="72647" y="72315"/>
                    <a:pt x="72941" y="72631"/>
                    <a:pt x="72647" y="72631"/>
                  </a:cubicBezTo>
                  <a:close/>
                  <a:moveTo>
                    <a:pt x="72058" y="72315"/>
                  </a:moveTo>
                  <a:cubicBezTo>
                    <a:pt x="72058" y="72315"/>
                    <a:pt x="72058" y="72315"/>
                    <a:pt x="72058" y="72315"/>
                  </a:cubicBezTo>
                  <a:cubicBezTo>
                    <a:pt x="72352" y="72000"/>
                    <a:pt x="72352" y="72000"/>
                    <a:pt x="72352" y="72000"/>
                  </a:cubicBezTo>
                  <a:cubicBezTo>
                    <a:pt x="72352" y="72000"/>
                    <a:pt x="72352" y="71368"/>
                    <a:pt x="72352" y="70421"/>
                  </a:cubicBezTo>
                  <a:cubicBezTo>
                    <a:pt x="72352" y="69789"/>
                    <a:pt x="72058" y="70105"/>
                    <a:pt x="72058" y="70105"/>
                  </a:cubicBezTo>
                  <a:cubicBezTo>
                    <a:pt x="72058" y="69789"/>
                    <a:pt x="72058" y="69473"/>
                    <a:pt x="71764" y="68842"/>
                  </a:cubicBezTo>
                  <a:cubicBezTo>
                    <a:pt x="71470" y="68526"/>
                    <a:pt x="71470" y="68842"/>
                    <a:pt x="71176" y="68842"/>
                  </a:cubicBezTo>
                  <a:cubicBezTo>
                    <a:pt x="71176" y="68842"/>
                    <a:pt x="70882" y="69157"/>
                    <a:pt x="70294" y="69157"/>
                  </a:cubicBezTo>
                  <a:cubicBezTo>
                    <a:pt x="69705" y="69157"/>
                    <a:pt x="70000" y="68526"/>
                    <a:pt x="69705" y="68210"/>
                  </a:cubicBezTo>
                  <a:cubicBezTo>
                    <a:pt x="69411" y="67894"/>
                    <a:pt x="68823" y="67894"/>
                    <a:pt x="68823" y="67894"/>
                  </a:cubicBezTo>
                  <a:cubicBezTo>
                    <a:pt x="68529" y="67894"/>
                    <a:pt x="67941" y="68842"/>
                    <a:pt x="67941" y="69157"/>
                  </a:cubicBezTo>
                  <a:cubicBezTo>
                    <a:pt x="67941" y="69473"/>
                    <a:pt x="68235" y="69473"/>
                    <a:pt x="69117" y="70421"/>
                  </a:cubicBezTo>
                  <a:cubicBezTo>
                    <a:pt x="70000" y="71052"/>
                    <a:pt x="70294" y="71052"/>
                    <a:pt x="70588" y="71052"/>
                  </a:cubicBezTo>
                  <a:cubicBezTo>
                    <a:pt x="70882" y="71368"/>
                    <a:pt x="71764" y="72000"/>
                    <a:pt x="72058" y="72315"/>
                  </a:cubicBezTo>
                  <a:close/>
                  <a:moveTo>
                    <a:pt x="63529" y="113684"/>
                  </a:moveTo>
                  <a:cubicBezTo>
                    <a:pt x="63529" y="113684"/>
                    <a:pt x="63529" y="113684"/>
                    <a:pt x="63529" y="113684"/>
                  </a:cubicBezTo>
                  <a:cubicBezTo>
                    <a:pt x="63823" y="112736"/>
                    <a:pt x="63823" y="112736"/>
                    <a:pt x="63823" y="112736"/>
                  </a:cubicBezTo>
                  <a:cubicBezTo>
                    <a:pt x="63235" y="111789"/>
                    <a:pt x="63235" y="111789"/>
                    <a:pt x="63235" y="111789"/>
                  </a:cubicBezTo>
                  <a:cubicBezTo>
                    <a:pt x="63235" y="110526"/>
                    <a:pt x="63235" y="110526"/>
                    <a:pt x="63235" y="110526"/>
                  </a:cubicBezTo>
                  <a:cubicBezTo>
                    <a:pt x="63529" y="110210"/>
                    <a:pt x="63529" y="110210"/>
                    <a:pt x="63529" y="110210"/>
                  </a:cubicBezTo>
                  <a:cubicBezTo>
                    <a:pt x="63529" y="110210"/>
                    <a:pt x="64117" y="110842"/>
                    <a:pt x="64117" y="111157"/>
                  </a:cubicBezTo>
                  <a:cubicBezTo>
                    <a:pt x="64117" y="111473"/>
                    <a:pt x="64117" y="112105"/>
                    <a:pt x="64117" y="112105"/>
                  </a:cubicBezTo>
                  <a:cubicBezTo>
                    <a:pt x="64117" y="112105"/>
                    <a:pt x="65000" y="112736"/>
                    <a:pt x="65000" y="112736"/>
                  </a:cubicBezTo>
                  <a:cubicBezTo>
                    <a:pt x="65294" y="112736"/>
                    <a:pt x="67058" y="112421"/>
                    <a:pt x="67058" y="112421"/>
                  </a:cubicBezTo>
                  <a:cubicBezTo>
                    <a:pt x="67058" y="112421"/>
                    <a:pt x="67647" y="111473"/>
                    <a:pt x="67647" y="111473"/>
                  </a:cubicBezTo>
                  <a:cubicBezTo>
                    <a:pt x="67941" y="111157"/>
                    <a:pt x="68823" y="110526"/>
                    <a:pt x="68823" y="110526"/>
                  </a:cubicBezTo>
                  <a:cubicBezTo>
                    <a:pt x="68823" y="110526"/>
                    <a:pt x="68823" y="110210"/>
                    <a:pt x="69411" y="110842"/>
                  </a:cubicBezTo>
                  <a:cubicBezTo>
                    <a:pt x="70000" y="111157"/>
                    <a:pt x="69411" y="112105"/>
                    <a:pt x="69411" y="112105"/>
                  </a:cubicBezTo>
                  <a:cubicBezTo>
                    <a:pt x="69117" y="112105"/>
                    <a:pt x="69117" y="112421"/>
                    <a:pt x="69117" y="112421"/>
                  </a:cubicBezTo>
                  <a:cubicBezTo>
                    <a:pt x="69705" y="113052"/>
                    <a:pt x="69705" y="113052"/>
                    <a:pt x="69705" y="113052"/>
                  </a:cubicBezTo>
                  <a:cubicBezTo>
                    <a:pt x="69705" y="113052"/>
                    <a:pt x="69705" y="112421"/>
                    <a:pt x="70000" y="112421"/>
                  </a:cubicBezTo>
                  <a:cubicBezTo>
                    <a:pt x="70294" y="112421"/>
                    <a:pt x="70294" y="112105"/>
                    <a:pt x="70588" y="112105"/>
                  </a:cubicBezTo>
                  <a:cubicBezTo>
                    <a:pt x="70588" y="112421"/>
                    <a:pt x="71176" y="113052"/>
                    <a:pt x="71176" y="113052"/>
                  </a:cubicBezTo>
                  <a:cubicBezTo>
                    <a:pt x="71176" y="113052"/>
                    <a:pt x="71176" y="114000"/>
                    <a:pt x="71470" y="114000"/>
                  </a:cubicBezTo>
                  <a:cubicBezTo>
                    <a:pt x="71764" y="113684"/>
                    <a:pt x="72352" y="114000"/>
                    <a:pt x="72647" y="113684"/>
                  </a:cubicBezTo>
                  <a:cubicBezTo>
                    <a:pt x="72941" y="113684"/>
                    <a:pt x="75882" y="112736"/>
                    <a:pt x="75882" y="112736"/>
                  </a:cubicBezTo>
                  <a:cubicBezTo>
                    <a:pt x="76764" y="112105"/>
                    <a:pt x="76764" y="112105"/>
                    <a:pt x="76764" y="112105"/>
                  </a:cubicBezTo>
                  <a:cubicBezTo>
                    <a:pt x="76764" y="112105"/>
                    <a:pt x="77352" y="111789"/>
                    <a:pt x="77941" y="111789"/>
                  </a:cubicBezTo>
                  <a:cubicBezTo>
                    <a:pt x="78235" y="111789"/>
                    <a:pt x="80000" y="111157"/>
                    <a:pt x="80000" y="111157"/>
                  </a:cubicBezTo>
                  <a:cubicBezTo>
                    <a:pt x="80000" y="111157"/>
                    <a:pt x="80882" y="110526"/>
                    <a:pt x="81470" y="110842"/>
                  </a:cubicBezTo>
                  <a:cubicBezTo>
                    <a:pt x="81764" y="111473"/>
                    <a:pt x="82941" y="112421"/>
                    <a:pt x="82941" y="112421"/>
                  </a:cubicBezTo>
                  <a:cubicBezTo>
                    <a:pt x="84705" y="112105"/>
                    <a:pt x="84705" y="112105"/>
                    <a:pt x="84705" y="112105"/>
                  </a:cubicBezTo>
                  <a:cubicBezTo>
                    <a:pt x="84705" y="112105"/>
                    <a:pt x="85294" y="111789"/>
                    <a:pt x="85294" y="111789"/>
                  </a:cubicBezTo>
                  <a:cubicBezTo>
                    <a:pt x="85588" y="112105"/>
                    <a:pt x="87352" y="111789"/>
                    <a:pt x="87352" y="111789"/>
                  </a:cubicBezTo>
                  <a:cubicBezTo>
                    <a:pt x="87352" y="111789"/>
                    <a:pt x="88235" y="110842"/>
                    <a:pt x="88529" y="110842"/>
                  </a:cubicBezTo>
                  <a:cubicBezTo>
                    <a:pt x="88529" y="110842"/>
                    <a:pt x="90588" y="110210"/>
                    <a:pt x="90588" y="110210"/>
                  </a:cubicBezTo>
                  <a:cubicBezTo>
                    <a:pt x="90588" y="110210"/>
                    <a:pt x="90882" y="110210"/>
                    <a:pt x="90882" y="110842"/>
                  </a:cubicBezTo>
                  <a:cubicBezTo>
                    <a:pt x="90882" y="111473"/>
                    <a:pt x="90882" y="112421"/>
                    <a:pt x="90882" y="112736"/>
                  </a:cubicBezTo>
                  <a:cubicBezTo>
                    <a:pt x="91176" y="113052"/>
                    <a:pt x="90882" y="113684"/>
                    <a:pt x="91470" y="113684"/>
                  </a:cubicBezTo>
                  <a:cubicBezTo>
                    <a:pt x="92058" y="113368"/>
                    <a:pt x="92647" y="113052"/>
                    <a:pt x="92647" y="113052"/>
                  </a:cubicBezTo>
                  <a:cubicBezTo>
                    <a:pt x="92647" y="113052"/>
                    <a:pt x="92058" y="113052"/>
                    <a:pt x="93235" y="112421"/>
                  </a:cubicBezTo>
                  <a:cubicBezTo>
                    <a:pt x="94117" y="111789"/>
                    <a:pt x="94411" y="111473"/>
                    <a:pt x="94705" y="111473"/>
                  </a:cubicBezTo>
                  <a:cubicBezTo>
                    <a:pt x="95000" y="111473"/>
                    <a:pt x="95000" y="111157"/>
                    <a:pt x="95294" y="111157"/>
                  </a:cubicBezTo>
                  <a:cubicBezTo>
                    <a:pt x="95882" y="111157"/>
                    <a:pt x="95882" y="111157"/>
                    <a:pt x="96176" y="111157"/>
                  </a:cubicBezTo>
                  <a:cubicBezTo>
                    <a:pt x="96470" y="110842"/>
                    <a:pt x="97058" y="109894"/>
                    <a:pt x="97058" y="109894"/>
                  </a:cubicBezTo>
                  <a:cubicBezTo>
                    <a:pt x="97058" y="109894"/>
                    <a:pt x="97352" y="109263"/>
                    <a:pt x="97647" y="109263"/>
                  </a:cubicBezTo>
                  <a:cubicBezTo>
                    <a:pt x="97647" y="109263"/>
                    <a:pt x="98235" y="108947"/>
                    <a:pt x="98235" y="108947"/>
                  </a:cubicBezTo>
                  <a:cubicBezTo>
                    <a:pt x="97941" y="109894"/>
                    <a:pt x="97941" y="109894"/>
                    <a:pt x="97941" y="109894"/>
                  </a:cubicBezTo>
                  <a:cubicBezTo>
                    <a:pt x="97941" y="109894"/>
                    <a:pt x="98529" y="111157"/>
                    <a:pt x="98529" y="111473"/>
                  </a:cubicBezTo>
                  <a:cubicBezTo>
                    <a:pt x="98529" y="111473"/>
                    <a:pt x="98529" y="111789"/>
                    <a:pt x="98235" y="112105"/>
                  </a:cubicBezTo>
                  <a:cubicBezTo>
                    <a:pt x="98235" y="112736"/>
                    <a:pt x="98235" y="113052"/>
                    <a:pt x="98235" y="113052"/>
                  </a:cubicBezTo>
                  <a:cubicBezTo>
                    <a:pt x="97941" y="113368"/>
                    <a:pt x="97941" y="113684"/>
                    <a:pt x="97941" y="114000"/>
                  </a:cubicBezTo>
                  <a:cubicBezTo>
                    <a:pt x="97647" y="114000"/>
                    <a:pt x="96764" y="114631"/>
                    <a:pt x="96764" y="114631"/>
                  </a:cubicBezTo>
                  <a:cubicBezTo>
                    <a:pt x="95294" y="114315"/>
                    <a:pt x="95294" y="114315"/>
                    <a:pt x="95294" y="114315"/>
                  </a:cubicBezTo>
                  <a:cubicBezTo>
                    <a:pt x="95294" y="114315"/>
                    <a:pt x="94705" y="114631"/>
                    <a:pt x="94411" y="114947"/>
                  </a:cubicBezTo>
                  <a:cubicBezTo>
                    <a:pt x="93823" y="114947"/>
                    <a:pt x="92941" y="115894"/>
                    <a:pt x="92647" y="115894"/>
                  </a:cubicBezTo>
                  <a:cubicBezTo>
                    <a:pt x="92352" y="115894"/>
                    <a:pt x="91470" y="115894"/>
                    <a:pt x="90588" y="115894"/>
                  </a:cubicBezTo>
                  <a:cubicBezTo>
                    <a:pt x="89705" y="116210"/>
                    <a:pt x="87352" y="116842"/>
                    <a:pt x="87352" y="116842"/>
                  </a:cubicBezTo>
                  <a:cubicBezTo>
                    <a:pt x="87352" y="116842"/>
                    <a:pt x="87058" y="117157"/>
                    <a:pt x="86764" y="117473"/>
                  </a:cubicBezTo>
                  <a:cubicBezTo>
                    <a:pt x="86176" y="117473"/>
                    <a:pt x="85000" y="118105"/>
                    <a:pt x="84705" y="118105"/>
                  </a:cubicBezTo>
                  <a:cubicBezTo>
                    <a:pt x="84411" y="118421"/>
                    <a:pt x="83529" y="119052"/>
                    <a:pt x="83235" y="119052"/>
                  </a:cubicBezTo>
                  <a:cubicBezTo>
                    <a:pt x="82941" y="119052"/>
                    <a:pt x="82647" y="119368"/>
                    <a:pt x="81470" y="119368"/>
                  </a:cubicBezTo>
                  <a:cubicBezTo>
                    <a:pt x="80000" y="119684"/>
                    <a:pt x="79705" y="120000"/>
                    <a:pt x="79705" y="120000"/>
                  </a:cubicBezTo>
                  <a:cubicBezTo>
                    <a:pt x="78823" y="120000"/>
                    <a:pt x="78823" y="120000"/>
                    <a:pt x="78823" y="120000"/>
                  </a:cubicBezTo>
                  <a:cubicBezTo>
                    <a:pt x="78823" y="117789"/>
                    <a:pt x="78823" y="117789"/>
                    <a:pt x="78823" y="117789"/>
                  </a:cubicBezTo>
                  <a:cubicBezTo>
                    <a:pt x="78823" y="117789"/>
                    <a:pt x="78823" y="116842"/>
                    <a:pt x="77941" y="117157"/>
                  </a:cubicBezTo>
                  <a:cubicBezTo>
                    <a:pt x="77058" y="117473"/>
                    <a:pt x="78235" y="117157"/>
                    <a:pt x="76470" y="117473"/>
                  </a:cubicBezTo>
                  <a:cubicBezTo>
                    <a:pt x="75000" y="117789"/>
                    <a:pt x="74117" y="116842"/>
                    <a:pt x="74117" y="116842"/>
                  </a:cubicBezTo>
                  <a:cubicBezTo>
                    <a:pt x="74117" y="116842"/>
                    <a:pt x="72647" y="116842"/>
                    <a:pt x="72058" y="117157"/>
                  </a:cubicBezTo>
                  <a:cubicBezTo>
                    <a:pt x="71470" y="117157"/>
                    <a:pt x="70588" y="117157"/>
                    <a:pt x="70294" y="117157"/>
                  </a:cubicBezTo>
                  <a:cubicBezTo>
                    <a:pt x="70000" y="117473"/>
                    <a:pt x="70000" y="117157"/>
                    <a:pt x="69117" y="117473"/>
                  </a:cubicBezTo>
                  <a:cubicBezTo>
                    <a:pt x="68235" y="117473"/>
                    <a:pt x="67352" y="117789"/>
                    <a:pt x="67352" y="117789"/>
                  </a:cubicBezTo>
                  <a:cubicBezTo>
                    <a:pt x="66470" y="117157"/>
                    <a:pt x="66470" y="117157"/>
                    <a:pt x="66470" y="117157"/>
                  </a:cubicBezTo>
                  <a:cubicBezTo>
                    <a:pt x="66470" y="117157"/>
                    <a:pt x="65588" y="117157"/>
                    <a:pt x="65294" y="117473"/>
                  </a:cubicBezTo>
                  <a:cubicBezTo>
                    <a:pt x="64705" y="117789"/>
                    <a:pt x="65000" y="118105"/>
                    <a:pt x="64411" y="118105"/>
                  </a:cubicBezTo>
                  <a:cubicBezTo>
                    <a:pt x="63823" y="118105"/>
                    <a:pt x="64117" y="118421"/>
                    <a:pt x="63529" y="118105"/>
                  </a:cubicBezTo>
                  <a:cubicBezTo>
                    <a:pt x="62647" y="117789"/>
                    <a:pt x="62058" y="117473"/>
                    <a:pt x="62058" y="117473"/>
                  </a:cubicBezTo>
                  <a:cubicBezTo>
                    <a:pt x="61764" y="115578"/>
                    <a:pt x="61764" y="115578"/>
                    <a:pt x="61764" y="115578"/>
                  </a:cubicBezTo>
                  <a:cubicBezTo>
                    <a:pt x="61764" y="115578"/>
                    <a:pt x="61764" y="115578"/>
                    <a:pt x="61764" y="114631"/>
                  </a:cubicBezTo>
                  <a:cubicBezTo>
                    <a:pt x="61470" y="114000"/>
                    <a:pt x="61176" y="112736"/>
                    <a:pt x="61176" y="112736"/>
                  </a:cubicBezTo>
                  <a:cubicBezTo>
                    <a:pt x="61764" y="111789"/>
                    <a:pt x="61764" y="111789"/>
                    <a:pt x="61764" y="111789"/>
                  </a:cubicBezTo>
                  <a:cubicBezTo>
                    <a:pt x="61764" y="111789"/>
                    <a:pt x="62058" y="112421"/>
                    <a:pt x="62058" y="112736"/>
                  </a:cubicBezTo>
                  <a:cubicBezTo>
                    <a:pt x="62058" y="112736"/>
                    <a:pt x="62058" y="113684"/>
                    <a:pt x="62352" y="113684"/>
                  </a:cubicBezTo>
                  <a:cubicBezTo>
                    <a:pt x="62941" y="113684"/>
                    <a:pt x="63529" y="113684"/>
                    <a:pt x="63529" y="113684"/>
                  </a:cubicBezTo>
                  <a:close/>
                  <a:moveTo>
                    <a:pt x="50588" y="100736"/>
                  </a:moveTo>
                  <a:cubicBezTo>
                    <a:pt x="50588" y="100736"/>
                    <a:pt x="50588" y="100736"/>
                    <a:pt x="50588" y="100736"/>
                  </a:cubicBezTo>
                  <a:cubicBezTo>
                    <a:pt x="51470" y="100421"/>
                    <a:pt x="51470" y="100421"/>
                    <a:pt x="51470" y="100421"/>
                  </a:cubicBezTo>
                  <a:cubicBezTo>
                    <a:pt x="51764" y="101368"/>
                    <a:pt x="51764" y="101368"/>
                    <a:pt x="51764" y="101368"/>
                  </a:cubicBezTo>
                  <a:cubicBezTo>
                    <a:pt x="52647" y="101684"/>
                    <a:pt x="52647" y="101684"/>
                    <a:pt x="52647" y="101684"/>
                  </a:cubicBezTo>
                  <a:cubicBezTo>
                    <a:pt x="52647" y="101684"/>
                    <a:pt x="53823" y="102315"/>
                    <a:pt x="53823" y="102631"/>
                  </a:cubicBezTo>
                  <a:cubicBezTo>
                    <a:pt x="53823" y="102631"/>
                    <a:pt x="53235" y="103578"/>
                    <a:pt x="53235" y="103578"/>
                  </a:cubicBezTo>
                  <a:cubicBezTo>
                    <a:pt x="53235" y="103578"/>
                    <a:pt x="53235" y="104210"/>
                    <a:pt x="53235" y="104526"/>
                  </a:cubicBezTo>
                  <a:cubicBezTo>
                    <a:pt x="53235" y="104526"/>
                    <a:pt x="52647" y="104526"/>
                    <a:pt x="52352" y="104526"/>
                  </a:cubicBezTo>
                  <a:cubicBezTo>
                    <a:pt x="52058" y="104210"/>
                    <a:pt x="51176" y="103894"/>
                    <a:pt x="51176" y="103894"/>
                  </a:cubicBezTo>
                  <a:cubicBezTo>
                    <a:pt x="51176" y="102631"/>
                    <a:pt x="51176" y="102631"/>
                    <a:pt x="51176" y="102631"/>
                  </a:cubicBezTo>
                  <a:cubicBezTo>
                    <a:pt x="50294" y="101684"/>
                    <a:pt x="50294" y="101684"/>
                    <a:pt x="50294" y="101684"/>
                  </a:cubicBezTo>
                  <a:cubicBezTo>
                    <a:pt x="50588" y="100736"/>
                    <a:pt x="50588" y="100736"/>
                    <a:pt x="50588" y="100736"/>
                  </a:cubicBezTo>
                  <a:close/>
                  <a:moveTo>
                    <a:pt x="27058" y="73263"/>
                  </a:moveTo>
                  <a:cubicBezTo>
                    <a:pt x="27058" y="73263"/>
                    <a:pt x="27058" y="73263"/>
                    <a:pt x="27058" y="73263"/>
                  </a:cubicBezTo>
                  <a:cubicBezTo>
                    <a:pt x="27058" y="73263"/>
                    <a:pt x="26470" y="73263"/>
                    <a:pt x="26470" y="73263"/>
                  </a:cubicBezTo>
                  <a:cubicBezTo>
                    <a:pt x="26176" y="73263"/>
                    <a:pt x="25882" y="73263"/>
                    <a:pt x="25588" y="73263"/>
                  </a:cubicBezTo>
                  <a:cubicBezTo>
                    <a:pt x="25294" y="73263"/>
                    <a:pt x="25588" y="73894"/>
                    <a:pt x="25588" y="74210"/>
                  </a:cubicBezTo>
                  <a:cubicBezTo>
                    <a:pt x="25588" y="74210"/>
                    <a:pt x="25588" y="74842"/>
                    <a:pt x="25588" y="75157"/>
                  </a:cubicBezTo>
                  <a:cubicBezTo>
                    <a:pt x="25294" y="75473"/>
                    <a:pt x="25000" y="75789"/>
                    <a:pt x="25000" y="76105"/>
                  </a:cubicBezTo>
                  <a:cubicBezTo>
                    <a:pt x="25000" y="76105"/>
                    <a:pt x="25000" y="76736"/>
                    <a:pt x="25000" y="77052"/>
                  </a:cubicBezTo>
                  <a:cubicBezTo>
                    <a:pt x="24705" y="77052"/>
                    <a:pt x="24117" y="77684"/>
                    <a:pt x="23823" y="77684"/>
                  </a:cubicBezTo>
                  <a:cubicBezTo>
                    <a:pt x="23529" y="78000"/>
                    <a:pt x="22941" y="78315"/>
                    <a:pt x="22941" y="78315"/>
                  </a:cubicBezTo>
                  <a:cubicBezTo>
                    <a:pt x="23529" y="79894"/>
                    <a:pt x="23529" y="79894"/>
                    <a:pt x="23529" y="79894"/>
                  </a:cubicBezTo>
                  <a:cubicBezTo>
                    <a:pt x="23529" y="79894"/>
                    <a:pt x="24117" y="79578"/>
                    <a:pt x="24411" y="79894"/>
                  </a:cubicBezTo>
                  <a:cubicBezTo>
                    <a:pt x="24705" y="80210"/>
                    <a:pt x="25588" y="80842"/>
                    <a:pt x="25882" y="80842"/>
                  </a:cubicBezTo>
                  <a:cubicBezTo>
                    <a:pt x="25882" y="80842"/>
                    <a:pt x="26470" y="82736"/>
                    <a:pt x="26470" y="82736"/>
                  </a:cubicBezTo>
                  <a:cubicBezTo>
                    <a:pt x="26764" y="83052"/>
                    <a:pt x="27058" y="82736"/>
                    <a:pt x="27058" y="82736"/>
                  </a:cubicBezTo>
                  <a:cubicBezTo>
                    <a:pt x="27058" y="82736"/>
                    <a:pt x="27647" y="83052"/>
                    <a:pt x="27941" y="83368"/>
                  </a:cubicBezTo>
                  <a:cubicBezTo>
                    <a:pt x="28235" y="83368"/>
                    <a:pt x="28823" y="83684"/>
                    <a:pt x="29117" y="84000"/>
                  </a:cubicBezTo>
                  <a:cubicBezTo>
                    <a:pt x="29411" y="84000"/>
                    <a:pt x="30000" y="84947"/>
                    <a:pt x="30294" y="84947"/>
                  </a:cubicBezTo>
                  <a:cubicBezTo>
                    <a:pt x="30588" y="85263"/>
                    <a:pt x="31176" y="85894"/>
                    <a:pt x="31176" y="85894"/>
                  </a:cubicBezTo>
                  <a:cubicBezTo>
                    <a:pt x="31176" y="85894"/>
                    <a:pt x="31764" y="86842"/>
                    <a:pt x="32058" y="87473"/>
                  </a:cubicBezTo>
                  <a:cubicBezTo>
                    <a:pt x="32058" y="87789"/>
                    <a:pt x="32058" y="87789"/>
                    <a:pt x="31764" y="88105"/>
                  </a:cubicBezTo>
                  <a:cubicBezTo>
                    <a:pt x="31470" y="88421"/>
                    <a:pt x="31470" y="88736"/>
                    <a:pt x="31176" y="89368"/>
                  </a:cubicBezTo>
                  <a:cubicBezTo>
                    <a:pt x="30882" y="90000"/>
                    <a:pt x="31470" y="90631"/>
                    <a:pt x="31470" y="90631"/>
                  </a:cubicBezTo>
                  <a:cubicBezTo>
                    <a:pt x="31470" y="92210"/>
                    <a:pt x="31470" y="92210"/>
                    <a:pt x="31470" y="92210"/>
                  </a:cubicBezTo>
                  <a:cubicBezTo>
                    <a:pt x="31764" y="92842"/>
                    <a:pt x="31764" y="92842"/>
                    <a:pt x="31764" y="92842"/>
                  </a:cubicBezTo>
                  <a:cubicBezTo>
                    <a:pt x="31764" y="92842"/>
                    <a:pt x="32058" y="93157"/>
                    <a:pt x="32352" y="93157"/>
                  </a:cubicBezTo>
                  <a:cubicBezTo>
                    <a:pt x="32647" y="93473"/>
                    <a:pt x="32647" y="93473"/>
                    <a:pt x="32647" y="93473"/>
                  </a:cubicBezTo>
                  <a:cubicBezTo>
                    <a:pt x="32647" y="93473"/>
                    <a:pt x="33235" y="94105"/>
                    <a:pt x="33529" y="94421"/>
                  </a:cubicBezTo>
                  <a:cubicBezTo>
                    <a:pt x="33529" y="94736"/>
                    <a:pt x="33235" y="95052"/>
                    <a:pt x="33235" y="95368"/>
                  </a:cubicBezTo>
                  <a:cubicBezTo>
                    <a:pt x="33235" y="95684"/>
                    <a:pt x="33529" y="96947"/>
                    <a:pt x="33529" y="96947"/>
                  </a:cubicBezTo>
                  <a:cubicBezTo>
                    <a:pt x="33529" y="96947"/>
                    <a:pt x="34117" y="96631"/>
                    <a:pt x="34705" y="96315"/>
                  </a:cubicBezTo>
                  <a:cubicBezTo>
                    <a:pt x="35000" y="96315"/>
                    <a:pt x="35294" y="96631"/>
                    <a:pt x="35588" y="96631"/>
                  </a:cubicBezTo>
                  <a:cubicBezTo>
                    <a:pt x="35882" y="96947"/>
                    <a:pt x="35882" y="97263"/>
                    <a:pt x="35882" y="97263"/>
                  </a:cubicBezTo>
                  <a:cubicBezTo>
                    <a:pt x="35882" y="97263"/>
                    <a:pt x="36764" y="96631"/>
                    <a:pt x="36764" y="96315"/>
                  </a:cubicBezTo>
                  <a:cubicBezTo>
                    <a:pt x="36764" y="96315"/>
                    <a:pt x="36764" y="95684"/>
                    <a:pt x="36764" y="95684"/>
                  </a:cubicBezTo>
                  <a:cubicBezTo>
                    <a:pt x="36764" y="95684"/>
                    <a:pt x="36764" y="94421"/>
                    <a:pt x="36764" y="94105"/>
                  </a:cubicBezTo>
                  <a:cubicBezTo>
                    <a:pt x="36764" y="93789"/>
                    <a:pt x="36470" y="92842"/>
                    <a:pt x="36470" y="92526"/>
                  </a:cubicBezTo>
                  <a:cubicBezTo>
                    <a:pt x="36470" y="92526"/>
                    <a:pt x="36764" y="91894"/>
                    <a:pt x="36764" y="91894"/>
                  </a:cubicBezTo>
                  <a:cubicBezTo>
                    <a:pt x="36764" y="91894"/>
                    <a:pt x="37647" y="91578"/>
                    <a:pt x="37941" y="91578"/>
                  </a:cubicBezTo>
                  <a:cubicBezTo>
                    <a:pt x="38235" y="91578"/>
                    <a:pt x="38529" y="91894"/>
                    <a:pt x="38823" y="92210"/>
                  </a:cubicBezTo>
                  <a:cubicBezTo>
                    <a:pt x="38823" y="92526"/>
                    <a:pt x="38823" y="93789"/>
                    <a:pt x="38823" y="93789"/>
                  </a:cubicBezTo>
                  <a:cubicBezTo>
                    <a:pt x="40588" y="94105"/>
                    <a:pt x="40588" y="94105"/>
                    <a:pt x="40588" y="94105"/>
                  </a:cubicBezTo>
                  <a:cubicBezTo>
                    <a:pt x="40588" y="94105"/>
                    <a:pt x="41176" y="94421"/>
                    <a:pt x="41176" y="94421"/>
                  </a:cubicBezTo>
                  <a:cubicBezTo>
                    <a:pt x="41176" y="94736"/>
                    <a:pt x="41470" y="95368"/>
                    <a:pt x="41764" y="95684"/>
                  </a:cubicBezTo>
                  <a:cubicBezTo>
                    <a:pt x="42058" y="96000"/>
                    <a:pt x="42352" y="96315"/>
                    <a:pt x="42352" y="96315"/>
                  </a:cubicBezTo>
                  <a:cubicBezTo>
                    <a:pt x="42352" y="96315"/>
                    <a:pt x="42941" y="97894"/>
                    <a:pt x="43235" y="98210"/>
                  </a:cubicBezTo>
                  <a:cubicBezTo>
                    <a:pt x="43235" y="98526"/>
                    <a:pt x="43235" y="99157"/>
                    <a:pt x="43235" y="99789"/>
                  </a:cubicBezTo>
                  <a:cubicBezTo>
                    <a:pt x="43235" y="100421"/>
                    <a:pt x="43235" y="100421"/>
                    <a:pt x="43235" y="100421"/>
                  </a:cubicBezTo>
                  <a:cubicBezTo>
                    <a:pt x="43235" y="100421"/>
                    <a:pt x="44117" y="100736"/>
                    <a:pt x="44411" y="101052"/>
                  </a:cubicBezTo>
                  <a:cubicBezTo>
                    <a:pt x="45000" y="101368"/>
                    <a:pt x="44705" y="101052"/>
                    <a:pt x="45000" y="100736"/>
                  </a:cubicBezTo>
                  <a:cubicBezTo>
                    <a:pt x="45294" y="100421"/>
                    <a:pt x="45000" y="100105"/>
                    <a:pt x="45000" y="99789"/>
                  </a:cubicBezTo>
                  <a:cubicBezTo>
                    <a:pt x="45000" y="99473"/>
                    <a:pt x="45000" y="98842"/>
                    <a:pt x="44705" y="98210"/>
                  </a:cubicBezTo>
                  <a:cubicBezTo>
                    <a:pt x="44705" y="97894"/>
                    <a:pt x="44705" y="97578"/>
                    <a:pt x="44705" y="97578"/>
                  </a:cubicBezTo>
                  <a:cubicBezTo>
                    <a:pt x="44705" y="97578"/>
                    <a:pt x="45000" y="96947"/>
                    <a:pt x="45000" y="96631"/>
                  </a:cubicBezTo>
                  <a:cubicBezTo>
                    <a:pt x="45000" y="96631"/>
                    <a:pt x="45000" y="96000"/>
                    <a:pt x="45000" y="95684"/>
                  </a:cubicBezTo>
                  <a:cubicBezTo>
                    <a:pt x="45000" y="95368"/>
                    <a:pt x="45588" y="95052"/>
                    <a:pt x="45588" y="95052"/>
                  </a:cubicBezTo>
                  <a:cubicBezTo>
                    <a:pt x="45588" y="95052"/>
                    <a:pt x="45588" y="94736"/>
                    <a:pt x="45882" y="94105"/>
                  </a:cubicBezTo>
                  <a:cubicBezTo>
                    <a:pt x="46176" y="93789"/>
                    <a:pt x="45882" y="94105"/>
                    <a:pt x="46176" y="94105"/>
                  </a:cubicBezTo>
                  <a:cubicBezTo>
                    <a:pt x="46470" y="93789"/>
                    <a:pt x="46764" y="93789"/>
                    <a:pt x="47352" y="93789"/>
                  </a:cubicBezTo>
                  <a:cubicBezTo>
                    <a:pt x="47647" y="93789"/>
                    <a:pt x="47941" y="94105"/>
                    <a:pt x="47941" y="94105"/>
                  </a:cubicBezTo>
                  <a:cubicBezTo>
                    <a:pt x="48529" y="95052"/>
                    <a:pt x="48529" y="95052"/>
                    <a:pt x="48529" y="95052"/>
                  </a:cubicBezTo>
                  <a:cubicBezTo>
                    <a:pt x="48529" y="95052"/>
                    <a:pt x="48529" y="95052"/>
                    <a:pt x="48529" y="95368"/>
                  </a:cubicBezTo>
                  <a:cubicBezTo>
                    <a:pt x="48529" y="95684"/>
                    <a:pt x="49117" y="96315"/>
                    <a:pt x="49117" y="96315"/>
                  </a:cubicBezTo>
                  <a:cubicBezTo>
                    <a:pt x="50294" y="97263"/>
                    <a:pt x="50294" y="97263"/>
                    <a:pt x="50294" y="97263"/>
                  </a:cubicBezTo>
                  <a:cubicBezTo>
                    <a:pt x="50294" y="97263"/>
                    <a:pt x="50294" y="97578"/>
                    <a:pt x="50294" y="97578"/>
                  </a:cubicBezTo>
                  <a:cubicBezTo>
                    <a:pt x="50294" y="97894"/>
                    <a:pt x="50588" y="98526"/>
                    <a:pt x="50882" y="98842"/>
                  </a:cubicBezTo>
                  <a:cubicBezTo>
                    <a:pt x="51176" y="99473"/>
                    <a:pt x="50882" y="98526"/>
                    <a:pt x="51176" y="98526"/>
                  </a:cubicBezTo>
                  <a:cubicBezTo>
                    <a:pt x="51176" y="98210"/>
                    <a:pt x="51470" y="97894"/>
                    <a:pt x="51470" y="97894"/>
                  </a:cubicBezTo>
                  <a:cubicBezTo>
                    <a:pt x="52058" y="98842"/>
                    <a:pt x="52058" y="98842"/>
                    <a:pt x="52058" y="98842"/>
                  </a:cubicBezTo>
                  <a:cubicBezTo>
                    <a:pt x="52058" y="98842"/>
                    <a:pt x="53235" y="99157"/>
                    <a:pt x="53529" y="99157"/>
                  </a:cubicBezTo>
                  <a:cubicBezTo>
                    <a:pt x="53823" y="98842"/>
                    <a:pt x="54117" y="98526"/>
                    <a:pt x="54117" y="98526"/>
                  </a:cubicBezTo>
                  <a:cubicBezTo>
                    <a:pt x="53529" y="97894"/>
                    <a:pt x="53529" y="97894"/>
                    <a:pt x="53529" y="97894"/>
                  </a:cubicBezTo>
                  <a:cubicBezTo>
                    <a:pt x="52941" y="96947"/>
                    <a:pt x="52941" y="96947"/>
                    <a:pt x="52941" y="96947"/>
                  </a:cubicBezTo>
                  <a:cubicBezTo>
                    <a:pt x="52941" y="96947"/>
                    <a:pt x="52058" y="96000"/>
                    <a:pt x="51764" y="96000"/>
                  </a:cubicBezTo>
                  <a:cubicBezTo>
                    <a:pt x="51470" y="95684"/>
                    <a:pt x="51176" y="95368"/>
                    <a:pt x="51176" y="95052"/>
                  </a:cubicBezTo>
                  <a:cubicBezTo>
                    <a:pt x="50882" y="94736"/>
                    <a:pt x="50882" y="94105"/>
                    <a:pt x="50882" y="94105"/>
                  </a:cubicBezTo>
                  <a:cubicBezTo>
                    <a:pt x="51176" y="93789"/>
                    <a:pt x="51176" y="93157"/>
                    <a:pt x="51470" y="92526"/>
                  </a:cubicBezTo>
                  <a:cubicBezTo>
                    <a:pt x="51764" y="91894"/>
                    <a:pt x="51176" y="92526"/>
                    <a:pt x="51176" y="92526"/>
                  </a:cubicBezTo>
                  <a:cubicBezTo>
                    <a:pt x="51176" y="92526"/>
                    <a:pt x="50588" y="91578"/>
                    <a:pt x="50882" y="91263"/>
                  </a:cubicBezTo>
                  <a:cubicBezTo>
                    <a:pt x="50882" y="91263"/>
                    <a:pt x="49705" y="89368"/>
                    <a:pt x="49705" y="89368"/>
                  </a:cubicBezTo>
                  <a:cubicBezTo>
                    <a:pt x="49705" y="89368"/>
                    <a:pt x="49411" y="88736"/>
                    <a:pt x="49411" y="88736"/>
                  </a:cubicBezTo>
                  <a:cubicBezTo>
                    <a:pt x="49411" y="88736"/>
                    <a:pt x="48529" y="88105"/>
                    <a:pt x="48235" y="88105"/>
                  </a:cubicBezTo>
                  <a:cubicBezTo>
                    <a:pt x="47941" y="87789"/>
                    <a:pt x="47647" y="87473"/>
                    <a:pt x="47647" y="87473"/>
                  </a:cubicBezTo>
                  <a:cubicBezTo>
                    <a:pt x="47647" y="87157"/>
                    <a:pt x="47647" y="86526"/>
                    <a:pt x="47647" y="86210"/>
                  </a:cubicBezTo>
                  <a:cubicBezTo>
                    <a:pt x="47352" y="85894"/>
                    <a:pt x="47058" y="85263"/>
                    <a:pt x="46764" y="84947"/>
                  </a:cubicBezTo>
                  <a:cubicBezTo>
                    <a:pt x="46470" y="84631"/>
                    <a:pt x="46176" y="84000"/>
                    <a:pt x="45882" y="83368"/>
                  </a:cubicBezTo>
                  <a:cubicBezTo>
                    <a:pt x="45588" y="83052"/>
                    <a:pt x="45294" y="82421"/>
                    <a:pt x="45294" y="82421"/>
                  </a:cubicBezTo>
                  <a:cubicBezTo>
                    <a:pt x="45000" y="81157"/>
                    <a:pt x="45000" y="81157"/>
                    <a:pt x="45000" y="81157"/>
                  </a:cubicBezTo>
                  <a:cubicBezTo>
                    <a:pt x="45000" y="80526"/>
                    <a:pt x="45000" y="80526"/>
                    <a:pt x="45000" y="80526"/>
                  </a:cubicBezTo>
                  <a:cubicBezTo>
                    <a:pt x="45882" y="81157"/>
                    <a:pt x="45882" y="81157"/>
                    <a:pt x="45882" y="81157"/>
                  </a:cubicBezTo>
                  <a:cubicBezTo>
                    <a:pt x="45882" y="81157"/>
                    <a:pt x="46470" y="80842"/>
                    <a:pt x="46764" y="80842"/>
                  </a:cubicBezTo>
                  <a:cubicBezTo>
                    <a:pt x="47058" y="80842"/>
                    <a:pt x="47941" y="81157"/>
                    <a:pt x="47941" y="81157"/>
                  </a:cubicBezTo>
                  <a:cubicBezTo>
                    <a:pt x="47941" y="81157"/>
                    <a:pt x="48529" y="81473"/>
                    <a:pt x="48823" y="81473"/>
                  </a:cubicBezTo>
                  <a:cubicBezTo>
                    <a:pt x="48823" y="81473"/>
                    <a:pt x="49117" y="81789"/>
                    <a:pt x="49411" y="81473"/>
                  </a:cubicBezTo>
                  <a:cubicBezTo>
                    <a:pt x="49705" y="81473"/>
                    <a:pt x="50000" y="82105"/>
                    <a:pt x="50000" y="82421"/>
                  </a:cubicBezTo>
                  <a:cubicBezTo>
                    <a:pt x="50000" y="82736"/>
                    <a:pt x="49705" y="83052"/>
                    <a:pt x="49705" y="83052"/>
                  </a:cubicBezTo>
                  <a:cubicBezTo>
                    <a:pt x="49705" y="83368"/>
                    <a:pt x="49705" y="83684"/>
                    <a:pt x="49705" y="83684"/>
                  </a:cubicBezTo>
                  <a:cubicBezTo>
                    <a:pt x="49705" y="83684"/>
                    <a:pt x="50294" y="84000"/>
                    <a:pt x="50588" y="84000"/>
                  </a:cubicBezTo>
                  <a:cubicBezTo>
                    <a:pt x="50588" y="84315"/>
                    <a:pt x="50294" y="84631"/>
                    <a:pt x="50294" y="84631"/>
                  </a:cubicBezTo>
                  <a:cubicBezTo>
                    <a:pt x="50294" y="84631"/>
                    <a:pt x="50294" y="85263"/>
                    <a:pt x="50294" y="85578"/>
                  </a:cubicBezTo>
                  <a:cubicBezTo>
                    <a:pt x="50588" y="85578"/>
                    <a:pt x="50882" y="84947"/>
                    <a:pt x="50882" y="84947"/>
                  </a:cubicBezTo>
                  <a:cubicBezTo>
                    <a:pt x="50882" y="84947"/>
                    <a:pt x="51176" y="84315"/>
                    <a:pt x="51176" y="84000"/>
                  </a:cubicBezTo>
                  <a:cubicBezTo>
                    <a:pt x="51176" y="83684"/>
                    <a:pt x="51764" y="83368"/>
                    <a:pt x="51764" y="83368"/>
                  </a:cubicBezTo>
                  <a:cubicBezTo>
                    <a:pt x="52352" y="82105"/>
                    <a:pt x="52352" y="82105"/>
                    <a:pt x="52352" y="82105"/>
                  </a:cubicBezTo>
                  <a:cubicBezTo>
                    <a:pt x="52941" y="81473"/>
                    <a:pt x="52941" y="81473"/>
                    <a:pt x="52941" y="81473"/>
                  </a:cubicBezTo>
                  <a:cubicBezTo>
                    <a:pt x="52941" y="81473"/>
                    <a:pt x="54117" y="81157"/>
                    <a:pt x="54411" y="80842"/>
                  </a:cubicBezTo>
                  <a:cubicBezTo>
                    <a:pt x="54705" y="80526"/>
                    <a:pt x="54705" y="80842"/>
                    <a:pt x="54705" y="80526"/>
                  </a:cubicBezTo>
                  <a:cubicBezTo>
                    <a:pt x="55000" y="80526"/>
                    <a:pt x="55000" y="79894"/>
                    <a:pt x="55000" y="79894"/>
                  </a:cubicBezTo>
                  <a:cubicBezTo>
                    <a:pt x="54411" y="79263"/>
                    <a:pt x="54411" y="79263"/>
                    <a:pt x="54411" y="79263"/>
                  </a:cubicBezTo>
                  <a:cubicBezTo>
                    <a:pt x="53235" y="79578"/>
                    <a:pt x="53235" y="79578"/>
                    <a:pt x="53235" y="79578"/>
                  </a:cubicBezTo>
                  <a:cubicBezTo>
                    <a:pt x="52941" y="78947"/>
                    <a:pt x="52941" y="78947"/>
                    <a:pt x="52941" y="78947"/>
                  </a:cubicBezTo>
                  <a:cubicBezTo>
                    <a:pt x="52941" y="78947"/>
                    <a:pt x="52941" y="78947"/>
                    <a:pt x="53235" y="78947"/>
                  </a:cubicBezTo>
                  <a:cubicBezTo>
                    <a:pt x="53235" y="78947"/>
                    <a:pt x="53235" y="77684"/>
                    <a:pt x="53235" y="77684"/>
                  </a:cubicBezTo>
                  <a:cubicBezTo>
                    <a:pt x="53235" y="77684"/>
                    <a:pt x="52647" y="78000"/>
                    <a:pt x="52352" y="78000"/>
                  </a:cubicBezTo>
                  <a:cubicBezTo>
                    <a:pt x="52058" y="78000"/>
                    <a:pt x="52352" y="78947"/>
                    <a:pt x="52352" y="78947"/>
                  </a:cubicBezTo>
                  <a:cubicBezTo>
                    <a:pt x="52352" y="78947"/>
                    <a:pt x="50882" y="78631"/>
                    <a:pt x="50588" y="78631"/>
                  </a:cubicBezTo>
                  <a:cubicBezTo>
                    <a:pt x="50294" y="78315"/>
                    <a:pt x="50294" y="78000"/>
                    <a:pt x="50294" y="78000"/>
                  </a:cubicBezTo>
                  <a:cubicBezTo>
                    <a:pt x="50000" y="77684"/>
                    <a:pt x="50588" y="76736"/>
                    <a:pt x="50588" y="76736"/>
                  </a:cubicBezTo>
                  <a:cubicBezTo>
                    <a:pt x="50882" y="75473"/>
                    <a:pt x="50882" y="75473"/>
                    <a:pt x="50882" y="75473"/>
                  </a:cubicBezTo>
                  <a:cubicBezTo>
                    <a:pt x="50882" y="75473"/>
                    <a:pt x="49411" y="75157"/>
                    <a:pt x="49411" y="74842"/>
                  </a:cubicBezTo>
                  <a:cubicBezTo>
                    <a:pt x="49411" y="74526"/>
                    <a:pt x="47941" y="75473"/>
                    <a:pt x="47352" y="74842"/>
                  </a:cubicBezTo>
                  <a:cubicBezTo>
                    <a:pt x="47058" y="74210"/>
                    <a:pt x="47058" y="74210"/>
                    <a:pt x="47058" y="74210"/>
                  </a:cubicBezTo>
                  <a:cubicBezTo>
                    <a:pt x="46470" y="73578"/>
                    <a:pt x="46470" y="73578"/>
                    <a:pt x="46470" y="73578"/>
                  </a:cubicBezTo>
                  <a:cubicBezTo>
                    <a:pt x="45882" y="73578"/>
                    <a:pt x="45882" y="73578"/>
                    <a:pt x="45882" y="73578"/>
                  </a:cubicBezTo>
                  <a:cubicBezTo>
                    <a:pt x="45882" y="73578"/>
                    <a:pt x="45000" y="73894"/>
                    <a:pt x="44705" y="73894"/>
                  </a:cubicBezTo>
                  <a:cubicBezTo>
                    <a:pt x="44411" y="73894"/>
                    <a:pt x="44411" y="73263"/>
                    <a:pt x="44411" y="73263"/>
                  </a:cubicBezTo>
                  <a:cubicBezTo>
                    <a:pt x="42941" y="72631"/>
                    <a:pt x="42941" y="72631"/>
                    <a:pt x="42941" y="72631"/>
                  </a:cubicBezTo>
                  <a:cubicBezTo>
                    <a:pt x="41470" y="72315"/>
                    <a:pt x="41470" y="72315"/>
                    <a:pt x="41470" y="72315"/>
                  </a:cubicBezTo>
                  <a:cubicBezTo>
                    <a:pt x="41470" y="72315"/>
                    <a:pt x="39705" y="72000"/>
                    <a:pt x="39117" y="71684"/>
                  </a:cubicBezTo>
                  <a:cubicBezTo>
                    <a:pt x="38823" y="71684"/>
                    <a:pt x="37352" y="71368"/>
                    <a:pt x="36764" y="71368"/>
                  </a:cubicBezTo>
                  <a:cubicBezTo>
                    <a:pt x="36176" y="71368"/>
                    <a:pt x="35588" y="71368"/>
                    <a:pt x="35000" y="71052"/>
                  </a:cubicBezTo>
                  <a:cubicBezTo>
                    <a:pt x="34705" y="70736"/>
                    <a:pt x="33823" y="70421"/>
                    <a:pt x="33823" y="70421"/>
                  </a:cubicBezTo>
                  <a:cubicBezTo>
                    <a:pt x="33823" y="70421"/>
                    <a:pt x="32058" y="69789"/>
                    <a:pt x="32058" y="69789"/>
                  </a:cubicBezTo>
                  <a:cubicBezTo>
                    <a:pt x="31764" y="69789"/>
                    <a:pt x="31470" y="69789"/>
                    <a:pt x="31470" y="69789"/>
                  </a:cubicBezTo>
                  <a:cubicBezTo>
                    <a:pt x="31176" y="69789"/>
                    <a:pt x="30588" y="70736"/>
                    <a:pt x="30000" y="71052"/>
                  </a:cubicBezTo>
                  <a:cubicBezTo>
                    <a:pt x="29705" y="71052"/>
                    <a:pt x="29705" y="72000"/>
                    <a:pt x="29411" y="72315"/>
                  </a:cubicBezTo>
                  <a:cubicBezTo>
                    <a:pt x="29411" y="72947"/>
                    <a:pt x="29117" y="73263"/>
                    <a:pt x="28823" y="73263"/>
                  </a:cubicBezTo>
                  <a:cubicBezTo>
                    <a:pt x="28823" y="73578"/>
                    <a:pt x="27058" y="72947"/>
                    <a:pt x="27058" y="73263"/>
                  </a:cubicBezTo>
                  <a:close/>
                  <a:moveTo>
                    <a:pt x="17647" y="79578"/>
                  </a:moveTo>
                  <a:cubicBezTo>
                    <a:pt x="17647" y="79578"/>
                    <a:pt x="17647" y="79578"/>
                    <a:pt x="17647" y="79578"/>
                  </a:cubicBezTo>
                  <a:cubicBezTo>
                    <a:pt x="17647" y="79578"/>
                    <a:pt x="18235" y="79263"/>
                    <a:pt x="18235" y="79578"/>
                  </a:cubicBezTo>
                  <a:cubicBezTo>
                    <a:pt x="18235" y="79578"/>
                    <a:pt x="18529" y="79894"/>
                    <a:pt x="18529" y="80210"/>
                  </a:cubicBezTo>
                  <a:cubicBezTo>
                    <a:pt x="18823" y="80210"/>
                    <a:pt x="19411" y="80842"/>
                    <a:pt x="19705" y="80842"/>
                  </a:cubicBezTo>
                  <a:cubicBezTo>
                    <a:pt x="20000" y="80842"/>
                    <a:pt x="20882" y="80842"/>
                    <a:pt x="20882" y="80842"/>
                  </a:cubicBezTo>
                  <a:cubicBezTo>
                    <a:pt x="21764" y="81789"/>
                    <a:pt x="21764" y="81789"/>
                    <a:pt x="21764" y="81789"/>
                  </a:cubicBezTo>
                  <a:cubicBezTo>
                    <a:pt x="21764" y="81789"/>
                    <a:pt x="22647" y="82105"/>
                    <a:pt x="22647" y="82421"/>
                  </a:cubicBezTo>
                  <a:cubicBezTo>
                    <a:pt x="22647" y="82421"/>
                    <a:pt x="21176" y="83368"/>
                    <a:pt x="21176" y="83368"/>
                  </a:cubicBezTo>
                  <a:cubicBezTo>
                    <a:pt x="20882" y="83684"/>
                    <a:pt x="20882" y="83684"/>
                    <a:pt x="20882" y="83684"/>
                  </a:cubicBezTo>
                  <a:cubicBezTo>
                    <a:pt x="20882" y="83684"/>
                    <a:pt x="20882" y="84315"/>
                    <a:pt x="20294" y="84000"/>
                  </a:cubicBezTo>
                  <a:cubicBezTo>
                    <a:pt x="20000" y="84000"/>
                    <a:pt x="19705" y="84000"/>
                    <a:pt x="19411" y="83684"/>
                  </a:cubicBezTo>
                  <a:cubicBezTo>
                    <a:pt x="19411" y="83368"/>
                    <a:pt x="19411" y="83368"/>
                    <a:pt x="19117" y="83052"/>
                  </a:cubicBezTo>
                  <a:cubicBezTo>
                    <a:pt x="18529" y="82736"/>
                    <a:pt x="17352" y="81789"/>
                    <a:pt x="17352" y="81789"/>
                  </a:cubicBezTo>
                  <a:cubicBezTo>
                    <a:pt x="17352" y="80842"/>
                    <a:pt x="17352" y="80842"/>
                    <a:pt x="17352" y="80842"/>
                  </a:cubicBezTo>
                  <a:cubicBezTo>
                    <a:pt x="17352" y="80210"/>
                    <a:pt x="17352" y="80210"/>
                    <a:pt x="17352" y="80210"/>
                  </a:cubicBezTo>
                  <a:cubicBezTo>
                    <a:pt x="17647" y="79578"/>
                    <a:pt x="17647" y="79578"/>
                    <a:pt x="17647" y="79578"/>
                  </a:cubicBezTo>
                  <a:close/>
                  <a:moveTo>
                    <a:pt x="14117" y="73894"/>
                  </a:moveTo>
                  <a:cubicBezTo>
                    <a:pt x="14117" y="73894"/>
                    <a:pt x="14117" y="73894"/>
                    <a:pt x="14117" y="73894"/>
                  </a:cubicBezTo>
                  <a:cubicBezTo>
                    <a:pt x="13235" y="72631"/>
                    <a:pt x="13235" y="72631"/>
                    <a:pt x="13235" y="72631"/>
                  </a:cubicBezTo>
                  <a:cubicBezTo>
                    <a:pt x="12647" y="73894"/>
                    <a:pt x="12647" y="73894"/>
                    <a:pt x="12647" y="73894"/>
                  </a:cubicBezTo>
                  <a:cubicBezTo>
                    <a:pt x="12352" y="75157"/>
                    <a:pt x="12352" y="75157"/>
                    <a:pt x="12352" y="75157"/>
                  </a:cubicBezTo>
                  <a:cubicBezTo>
                    <a:pt x="13235" y="75789"/>
                    <a:pt x="13235" y="75789"/>
                    <a:pt x="13235" y="75789"/>
                  </a:cubicBezTo>
                  <a:cubicBezTo>
                    <a:pt x="13529" y="75789"/>
                    <a:pt x="13529" y="75789"/>
                    <a:pt x="13529" y="75789"/>
                  </a:cubicBezTo>
                  <a:cubicBezTo>
                    <a:pt x="14117" y="74842"/>
                    <a:pt x="14117" y="74842"/>
                    <a:pt x="14117" y="74842"/>
                  </a:cubicBezTo>
                  <a:cubicBezTo>
                    <a:pt x="14705" y="75789"/>
                    <a:pt x="14705" y="75789"/>
                    <a:pt x="14705" y="75789"/>
                  </a:cubicBezTo>
                  <a:cubicBezTo>
                    <a:pt x="15294" y="77052"/>
                    <a:pt x="15294" y="77052"/>
                    <a:pt x="15294" y="77052"/>
                  </a:cubicBezTo>
                  <a:cubicBezTo>
                    <a:pt x="15294" y="77052"/>
                    <a:pt x="15882" y="76421"/>
                    <a:pt x="16176" y="76105"/>
                  </a:cubicBezTo>
                  <a:cubicBezTo>
                    <a:pt x="16470" y="76105"/>
                    <a:pt x="17647" y="77052"/>
                    <a:pt x="17647" y="77052"/>
                  </a:cubicBezTo>
                  <a:cubicBezTo>
                    <a:pt x="17647" y="77052"/>
                    <a:pt x="18823" y="76421"/>
                    <a:pt x="19117" y="76421"/>
                  </a:cubicBezTo>
                  <a:cubicBezTo>
                    <a:pt x="19411" y="76421"/>
                    <a:pt x="18529" y="75473"/>
                    <a:pt x="18529" y="75473"/>
                  </a:cubicBezTo>
                  <a:cubicBezTo>
                    <a:pt x="17647" y="74526"/>
                    <a:pt x="17647" y="74526"/>
                    <a:pt x="17647" y="74526"/>
                  </a:cubicBezTo>
                  <a:cubicBezTo>
                    <a:pt x="17058" y="73894"/>
                    <a:pt x="17058" y="73894"/>
                    <a:pt x="17058" y="73894"/>
                  </a:cubicBezTo>
                  <a:cubicBezTo>
                    <a:pt x="15882" y="73263"/>
                    <a:pt x="15882" y="73263"/>
                    <a:pt x="15882" y="73263"/>
                  </a:cubicBezTo>
                  <a:cubicBezTo>
                    <a:pt x="15882" y="72947"/>
                    <a:pt x="15882" y="72947"/>
                    <a:pt x="15882" y="72947"/>
                  </a:cubicBezTo>
                  <a:cubicBezTo>
                    <a:pt x="16176" y="72315"/>
                    <a:pt x="16176" y="72315"/>
                    <a:pt x="16176" y="72315"/>
                  </a:cubicBezTo>
                  <a:cubicBezTo>
                    <a:pt x="16176" y="72315"/>
                    <a:pt x="16176" y="72947"/>
                    <a:pt x="16764" y="72631"/>
                  </a:cubicBezTo>
                  <a:cubicBezTo>
                    <a:pt x="17352" y="72631"/>
                    <a:pt x="17352" y="72631"/>
                    <a:pt x="17352" y="72315"/>
                  </a:cubicBezTo>
                  <a:cubicBezTo>
                    <a:pt x="17647" y="72315"/>
                    <a:pt x="17352" y="72000"/>
                    <a:pt x="17352" y="72000"/>
                  </a:cubicBezTo>
                  <a:cubicBezTo>
                    <a:pt x="16470" y="71368"/>
                    <a:pt x="16470" y="71368"/>
                    <a:pt x="16470" y="71368"/>
                  </a:cubicBezTo>
                  <a:cubicBezTo>
                    <a:pt x="16764" y="70421"/>
                    <a:pt x="16764" y="70421"/>
                    <a:pt x="16764" y="70421"/>
                  </a:cubicBezTo>
                  <a:cubicBezTo>
                    <a:pt x="15882" y="69789"/>
                    <a:pt x="15882" y="69789"/>
                    <a:pt x="15882" y="69789"/>
                  </a:cubicBezTo>
                  <a:cubicBezTo>
                    <a:pt x="15588" y="70736"/>
                    <a:pt x="15588" y="70736"/>
                    <a:pt x="15588" y="70736"/>
                  </a:cubicBezTo>
                  <a:cubicBezTo>
                    <a:pt x="14705" y="70421"/>
                    <a:pt x="14705" y="70421"/>
                    <a:pt x="14705" y="70421"/>
                  </a:cubicBezTo>
                  <a:cubicBezTo>
                    <a:pt x="14705" y="70421"/>
                    <a:pt x="14411" y="71052"/>
                    <a:pt x="14411" y="71052"/>
                  </a:cubicBezTo>
                  <a:cubicBezTo>
                    <a:pt x="14411" y="71368"/>
                    <a:pt x="14705" y="72315"/>
                    <a:pt x="14705" y="72315"/>
                  </a:cubicBezTo>
                  <a:cubicBezTo>
                    <a:pt x="14117" y="73894"/>
                    <a:pt x="14117" y="73894"/>
                    <a:pt x="14117" y="73894"/>
                  </a:cubicBezTo>
                  <a:close/>
                  <a:moveTo>
                    <a:pt x="3235" y="50842"/>
                  </a:moveTo>
                  <a:cubicBezTo>
                    <a:pt x="3235" y="50842"/>
                    <a:pt x="3235" y="50842"/>
                    <a:pt x="3235" y="50842"/>
                  </a:cubicBezTo>
                  <a:cubicBezTo>
                    <a:pt x="2647" y="50842"/>
                    <a:pt x="2647" y="50842"/>
                    <a:pt x="2647" y="50842"/>
                  </a:cubicBezTo>
                  <a:cubicBezTo>
                    <a:pt x="2647" y="50842"/>
                    <a:pt x="2647" y="51157"/>
                    <a:pt x="2941" y="51473"/>
                  </a:cubicBezTo>
                  <a:cubicBezTo>
                    <a:pt x="3235" y="51789"/>
                    <a:pt x="3823" y="53684"/>
                    <a:pt x="3823" y="53684"/>
                  </a:cubicBezTo>
                  <a:cubicBezTo>
                    <a:pt x="4411" y="54000"/>
                    <a:pt x="4411" y="54000"/>
                    <a:pt x="4411" y="54000"/>
                  </a:cubicBezTo>
                  <a:cubicBezTo>
                    <a:pt x="5588" y="54631"/>
                    <a:pt x="5588" y="54631"/>
                    <a:pt x="5588" y="54631"/>
                  </a:cubicBezTo>
                  <a:cubicBezTo>
                    <a:pt x="6470" y="55578"/>
                    <a:pt x="6470" y="55578"/>
                    <a:pt x="6470" y="55578"/>
                  </a:cubicBezTo>
                  <a:cubicBezTo>
                    <a:pt x="6470" y="55578"/>
                    <a:pt x="7058" y="56526"/>
                    <a:pt x="6176" y="56210"/>
                  </a:cubicBezTo>
                  <a:cubicBezTo>
                    <a:pt x="5294" y="55894"/>
                    <a:pt x="4411" y="55263"/>
                    <a:pt x="4117" y="54947"/>
                  </a:cubicBezTo>
                  <a:cubicBezTo>
                    <a:pt x="3529" y="54947"/>
                    <a:pt x="2941" y="54631"/>
                    <a:pt x="2941" y="54631"/>
                  </a:cubicBezTo>
                  <a:cubicBezTo>
                    <a:pt x="2941" y="54631"/>
                    <a:pt x="2647" y="53052"/>
                    <a:pt x="2647" y="52736"/>
                  </a:cubicBezTo>
                  <a:cubicBezTo>
                    <a:pt x="2352" y="52736"/>
                    <a:pt x="1764" y="52421"/>
                    <a:pt x="1764" y="52421"/>
                  </a:cubicBezTo>
                  <a:cubicBezTo>
                    <a:pt x="0" y="51473"/>
                    <a:pt x="0" y="51473"/>
                    <a:pt x="0" y="51473"/>
                  </a:cubicBezTo>
                  <a:cubicBezTo>
                    <a:pt x="0" y="51473"/>
                    <a:pt x="0" y="50210"/>
                    <a:pt x="294" y="49894"/>
                  </a:cubicBezTo>
                  <a:cubicBezTo>
                    <a:pt x="294" y="49894"/>
                    <a:pt x="294" y="49263"/>
                    <a:pt x="882" y="49263"/>
                  </a:cubicBezTo>
                  <a:cubicBezTo>
                    <a:pt x="1176" y="48947"/>
                    <a:pt x="2058" y="48947"/>
                    <a:pt x="2058" y="48947"/>
                  </a:cubicBezTo>
                  <a:cubicBezTo>
                    <a:pt x="2058" y="48947"/>
                    <a:pt x="2058" y="48000"/>
                    <a:pt x="2352" y="48315"/>
                  </a:cubicBezTo>
                  <a:cubicBezTo>
                    <a:pt x="2647" y="48631"/>
                    <a:pt x="3235" y="49578"/>
                    <a:pt x="3235" y="49578"/>
                  </a:cubicBezTo>
                  <a:lnTo>
                    <a:pt x="3235" y="50842"/>
                  </a:lnTo>
                  <a:close/>
                </a:path>
              </a:pathLst>
            </a:custGeom>
            <a:grpFill/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6" name="Shape 2057"/>
            <p:cNvSpPr/>
            <p:nvPr/>
          </p:nvSpPr>
          <p:spPr>
            <a:xfrm>
              <a:off x="5477832" y="363797"/>
              <a:ext cx="722325" cy="127850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70" y="20761"/>
                  </a:moveTo>
                  <a:cubicBezTo>
                    <a:pt x="6435" y="19723"/>
                    <a:pt x="6435" y="19723"/>
                    <a:pt x="6435" y="19723"/>
                  </a:cubicBezTo>
                  <a:cubicBezTo>
                    <a:pt x="4921" y="19307"/>
                    <a:pt x="4921" y="19307"/>
                    <a:pt x="4921" y="19307"/>
                  </a:cubicBezTo>
                  <a:cubicBezTo>
                    <a:pt x="3028" y="18892"/>
                    <a:pt x="3028" y="18892"/>
                    <a:pt x="3028" y="18892"/>
                  </a:cubicBezTo>
                  <a:cubicBezTo>
                    <a:pt x="3028" y="18062"/>
                    <a:pt x="3028" y="18062"/>
                    <a:pt x="3028" y="18062"/>
                  </a:cubicBezTo>
                  <a:cubicBezTo>
                    <a:pt x="378" y="17231"/>
                    <a:pt x="378" y="17231"/>
                    <a:pt x="378" y="17231"/>
                  </a:cubicBezTo>
                  <a:cubicBezTo>
                    <a:pt x="378" y="17231"/>
                    <a:pt x="0" y="16816"/>
                    <a:pt x="378" y="16816"/>
                  </a:cubicBezTo>
                  <a:cubicBezTo>
                    <a:pt x="757" y="16608"/>
                    <a:pt x="2271" y="16608"/>
                    <a:pt x="2649" y="16608"/>
                  </a:cubicBezTo>
                  <a:cubicBezTo>
                    <a:pt x="2649" y="16401"/>
                    <a:pt x="2649" y="16401"/>
                    <a:pt x="2649" y="16401"/>
                  </a:cubicBezTo>
                  <a:cubicBezTo>
                    <a:pt x="3028" y="16401"/>
                    <a:pt x="3028" y="16401"/>
                    <a:pt x="3028" y="16401"/>
                  </a:cubicBezTo>
                  <a:cubicBezTo>
                    <a:pt x="3406" y="16401"/>
                    <a:pt x="3406" y="16193"/>
                    <a:pt x="3406" y="16193"/>
                  </a:cubicBezTo>
                  <a:cubicBezTo>
                    <a:pt x="3406" y="16193"/>
                    <a:pt x="2271" y="14948"/>
                    <a:pt x="3028" y="14325"/>
                  </a:cubicBezTo>
                  <a:cubicBezTo>
                    <a:pt x="3028" y="14117"/>
                    <a:pt x="3028" y="14117"/>
                    <a:pt x="3028" y="14117"/>
                  </a:cubicBezTo>
                  <a:cubicBezTo>
                    <a:pt x="3028" y="14117"/>
                    <a:pt x="3028" y="14117"/>
                    <a:pt x="3028" y="14117"/>
                  </a:cubicBezTo>
                  <a:cubicBezTo>
                    <a:pt x="3785" y="13702"/>
                    <a:pt x="5299" y="13702"/>
                    <a:pt x="6056" y="14117"/>
                  </a:cubicBezTo>
                  <a:cubicBezTo>
                    <a:pt x="7570" y="14325"/>
                    <a:pt x="7570" y="14325"/>
                    <a:pt x="7570" y="14325"/>
                  </a:cubicBezTo>
                  <a:cubicBezTo>
                    <a:pt x="10220" y="15986"/>
                    <a:pt x="10220" y="15986"/>
                    <a:pt x="10220" y="15986"/>
                  </a:cubicBezTo>
                  <a:cubicBezTo>
                    <a:pt x="12492" y="17439"/>
                    <a:pt x="12492" y="17439"/>
                    <a:pt x="12492" y="17439"/>
                  </a:cubicBezTo>
                  <a:cubicBezTo>
                    <a:pt x="12492" y="17439"/>
                    <a:pt x="15899" y="18892"/>
                    <a:pt x="16656" y="19100"/>
                  </a:cubicBezTo>
                  <a:cubicBezTo>
                    <a:pt x="17413" y="19307"/>
                    <a:pt x="21577" y="19723"/>
                    <a:pt x="21955" y="19930"/>
                  </a:cubicBezTo>
                  <a:cubicBezTo>
                    <a:pt x="23091" y="19100"/>
                    <a:pt x="23091" y="19100"/>
                    <a:pt x="23091" y="19100"/>
                  </a:cubicBezTo>
                  <a:cubicBezTo>
                    <a:pt x="24605" y="18477"/>
                    <a:pt x="24605" y="18477"/>
                    <a:pt x="24605" y="18477"/>
                  </a:cubicBezTo>
                  <a:cubicBezTo>
                    <a:pt x="24227" y="18062"/>
                    <a:pt x="24227" y="18062"/>
                    <a:pt x="24227" y="18062"/>
                  </a:cubicBezTo>
                  <a:cubicBezTo>
                    <a:pt x="26119" y="17439"/>
                    <a:pt x="26119" y="17439"/>
                    <a:pt x="26119" y="17439"/>
                  </a:cubicBezTo>
                  <a:cubicBezTo>
                    <a:pt x="27634" y="18062"/>
                    <a:pt x="27634" y="18062"/>
                    <a:pt x="27634" y="18062"/>
                  </a:cubicBezTo>
                  <a:cubicBezTo>
                    <a:pt x="31419" y="18477"/>
                    <a:pt x="31419" y="18477"/>
                    <a:pt x="31419" y="18477"/>
                  </a:cubicBezTo>
                  <a:cubicBezTo>
                    <a:pt x="32933" y="19100"/>
                    <a:pt x="32933" y="19100"/>
                    <a:pt x="32933" y="19100"/>
                  </a:cubicBezTo>
                  <a:cubicBezTo>
                    <a:pt x="32933" y="19100"/>
                    <a:pt x="33312" y="19100"/>
                    <a:pt x="33690" y="18892"/>
                  </a:cubicBezTo>
                  <a:cubicBezTo>
                    <a:pt x="33690" y="18892"/>
                    <a:pt x="33690" y="18892"/>
                    <a:pt x="33690" y="18892"/>
                  </a:cubicBezTo>
                  <a:cubicBezTo>
                    <a:pt x="34069" y="18892"/>
                    <a:pt x="34069" y="18892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477"/>
                    <a:pt x="34447" y="18477"/>
                    <a:pt x="34447" y="18477"/>
                  </a:cubicBezTo>
                  <a:cubicBezTo>
                    <a:pt x="34447" y="18269"/>
                    <a:pt x="34447" y="17024"/>
                    <a:pt x="34447" y="17024"/>
                  </a:cubicBezTo>
                  <a:cubicBezTo>
                    <a:pt x="34447" y="17024"/>
                    <a:pt x="33312" y="16608"/>
                    <a:pt x="34447" y="16193"/>
                  </a:cubicBezTo>
                  <a:cubicBezTo>
                    <a:pt x="35583" y="15570"/>
                    <a:pt x="37097" y="14948"/>
                    <a:pt x="37097" y="14948"/>
                  </a:cubicBezTo>
                  <a:cubicBezTo>
                    <a:pt x="37097" y="14948"/>
                    <a:pt x="37854" y="14740"/>
                    <a:pt x="37854" y="14117"/>
                  </a:cubicBezTo>
                  <a:cubicBezTo>
                    <a:pt x="37854" y="13494"/>
                    <a:pt x="37097" y="11833"/>
                    <a:pt x="37097" y="11833"/>
                  </a:cubicBezTo>
                  <a:cubicBezTo>
                    <a:pt x="37097" y="11833"/>
                    <a:pt x="36340" y="10795"/>
                    <a:pt x="36340" y="10380"/>
                  </a:cubicBezTo>
                  <a:cubicBezTo>
                    <a:pt x="37097" y="7889"/>
                    <a:pt x="35205" y="6020"/>
                    <a:pt x="36340" y="5813"/>
                  </a:cubicBezTo>
                  <a:cubicBezTo>
                    <a:pt x="36340" y="5813"/>
                    <a:pt x="36340" y="5813"/>
                    <a:pt x="36340" y="5813"/>
                  </a:cubicBezTo>
                  <a:cubicBezTo>
                    <a:pt x="37097" y="5605"/>
                    <a:pt x="37097" y="5605"/>
                    <a:pt x="37097" y="5605"/>
                  </a:cubicBezTo>
                  <a:cubicBezTo>
                    <a:pt x="38233" y="5190"/>
                    <a:pt x="38233" y="5190"/>
                    <a:pt x="38233" y="5190"/>
                  </a:cubicBezTo>
                  <a:cubicBezTo>
                    <a:pt x="38233" y="5190"/>
                    <a:pt x="38233" y="4982"/>
                    <a:pt x="38233" y="4982"/>
                  </a:cubicBezTo>
                  <a:cubicBezTo>
                    <a:pt x="38233" y="3944"/>
                    <a:pt x="35962" y="2906"/>
                    <a:pt x="38611" y="2698"/>
                  </a:cubicBezTo>
                  <a:cubicBezTo>
                    <a:pt x="39747" y="2283"/>
                    <a:pt x="39747" y="2283"/>
                    <a:pt x="39747" y="2283"/>
                  </a:cubicBezTo>
                  <a:cubicBezTo>
                    <a:pt x="43154" y="2283"/>
                    <a:pt x="43154" y="2283"/>
                    <a:pt x="43154" y="2283"/>
                  </a:cubicBezTo>
                  <a:cubicBezTo>
                    <a:pt x="43911" y="1038"/>
                    <a:pt x="43911" y="1038"/>
                    <a:pt x="43911" y="1038"/>
                  </a:cubicBezTo>
                  <a:cubicBezTo>
                    <a:pt x="45425" y="207"/>
                    <a:pt x="45425" y="207"/>
                    <a:pt x="45425" y="207"/>
                  </a:cubicBezTo>
                  <a:cubicBezTo>
                    <a:pt x="46561" y="207"/>
                    <a:pt x="48075" y="0"/>
                    <a:pt x="48832" y="207"/>
                  </a:cubicBezTo>
                  <a:cubicBezTo>
                    <a:pt x="49589" y="830"/>
                    <a:pt x="49589" y="1245"/>
                    <a:pt x="51104" y="1453"/>
                  </a:cubicBezTo>
                  <a:cubicBezTo>
                    <a:pt x="55646" y="2283"/>
                    <a:pt x="55646" y="2283"/>
                    <a:pt x="55646" y="2283"/>
                  </a:cubicBezTo>
                  <a:cubicBezTo>
                    <a:pt x="58296" y="2491"/>
                    <a:pt x="58296" y="2491"/>
                    <a:pt x="58296" y="2491"/>
                  </a:cubicBezTo>
                  <a:cubicBezTo>
                    <a:pt x="59053" y="2906"/>
                    <a:pt x="59053" y="2906"/>
                    <a:pt x="59053" y="2906"/>
                  </a:cubicBezTo>
                  <a:cubicBezTo>
                    <a:pt x="59053" y="2906"/>
                    <a:pt x="59053" y="2906"/>
                    <a:pt x="59053" y="2906"/>
                  </a:cubicBezTo>
                  <a:cubicBezTo>
                    <a:pt x="59053" y="3321"/>
                    <a:pt x="59053" y="3737"/>
                    <a:pt x="59432" y="3944"/>
                  </a:cubicBezTo>
                  <a:cubicBezTo>
                    <a:pt x="59432" y="4359"/>
                    <a:pt x="59810" y="4982"/>
                    <a:pt x="59810" y="4982"/>
                  </a:cubicBezTo>
                  <a:cubicBezTo>
                    <a:pt x="59810" y="4982"/>
                    <a:pt x="59432" y="5605"/>
                    <a:pt x="59432" y="6020"/>
                  </a:cubicBezTo>
                  <a:cubicBezTo>
                    <a:pt x="59053" y="6228"/>
                    <a:pt x="59053" y="6851"/>
                    <a:pt x="59053" y="7058"/>
                  </a:cubicBezTo>
                  <a:cubicBezTo>
                    <a:pt x="59053" y="7266"/>
                    <a:pt x="59053" y="7474"/>
                    <a:pt x="59053" y="7681"/>
                  </a:cubicBezTo>
                  <a:cubicBezTo>
                    <a:pt x="59053" y="8096"/>
                    <a:pt x="59432" y="8719"/>
                    <a:pt x="59810" y="8927"/>
                  </a:cubicBezTo>
                  <a:cubicBezTo>
                    <a:pt x="59810" y="9134"/>
                    <a:pt x="61703" y="9757"/>
                    <a:pt x="61703" y="9757"/>
                  </a:cubicBezTo>
                  <a:cubicBezTo>
                    <a:pt x="61703" y="9757"/>
                    <a:pt x="61703" y="9965"/>
                    <a:pt x="59810" y="10795"/>
                  </a:cubicBezTo>
                  <a:cubicBezTo>
                    <a:pt x="58296" y="11833"/>
                    <a:pt x="58296" y="11833"/>
                    <a:pt x="58296" y="11833"/>
                  </a:cubicBezTo>
                  <a:cubicBezTo>
                    <a:pt x="60946" y="12249"/>
                    <a:pt x="60946" y="12249"/>
                    <a:pt x="60946" y="12249"/>
                  </a:cubicBezTo>
                  <a:cubicBezTo>
                    <a:pt x="60946" y="13287"/>
                    <a:pt x="60946" y="13287"/>
                    <a:pt x="60946" y="13287"/>
                  </a:cubicBezTo>
                  <a:cubicBezTo>
                    <a:pt x="60946" y="14117"/>
                    <a:pt x="60946" y="14117"/>
                    <a:pt x="60946" y="14117"/>
                  </a:cubicBezTo>
                  <a:cubicBezTo>
                    <a:pt x="60567" y="15363"/>
                    <a:pt x="60567" y="15363"/>
                    <a:pt x="60567" y="15363"/>
                  </a:cubicBezTo>
                  <a:cubicBezTo>
                    <a:pt x="59432" y="16193"/>
                    <a:pt x="59432" y="16193"/>
                    <a:pt x="59432" y="16193"/>
                  </a:cubicBezTo>
                  <a:cubicBezTo>
                    <a:pt x="60946" y="17439"/>
                    <a:pt x="60946" y="17439"/>
                    <a:pt x="60946" y="17439"/>
                  </a:cubicBezTo>
                  <a:cubicBezTo>
                    <a:pt x="62839" y="19100"/>
                    <a:pt x="62839" y="19100"/>
                    <a:pt x="62839" y="19100"/>
                  </a:cubicBezTo>
                  <a:cubicBezTo>
                    <a:pt x="65488" y="19930"/>
                    <a:pt x="65488" y="19930"/>
                    <a:pt x="65488" y="19930"/>
                  </a:cubicBezTo>
                  <a:cubicBezTo>
                    <a:pt x="65488" y="19930"/>
                    <a:pt x="65867" y="19723"/>
                    <a:pt x="68517" y="19930"/>
                  </a:cubicBezTo>
                  <a:cubicBezTo>
                    <a:pt x="71167" y="20346"/>
                    <a:pt x="71924" y="21591"/>
                    <a:pt x="71924" y="21591"/>
                  </a:cubicBezTo>
                  <a:cubicBezTo>
                    <a:pt x="73438" y="22629"/>
                    <a:pt x="73438" y="22629"/>
                    <a:pt x="73438" y="22629"/>
                  </a:cubicBezTo>
                  <a:cubicBezTo>
                    <a:pt x="75709" y="23460"/>
                    <a:pt x="75709" y="23460"/>
                    <a:pt x="75709" y="23460"/>
                  </a:cubicBezTo>
                  <a:cubicBezTo>
                    <a:pt x="76845" y="24083"/>
                    <a:pt x="76845" y="24083"/>
                    <a:pt x="76845" y="24083"/>
                  </a:cubicBezTo>
                  <a:cubicBezTo>
                    <a:pt x="76466" y="25951"/>
                    <a:pt x="76466" y="25951"/>
                    <a:pt x="76466" y="25951"/>
                  </a:cubicBezTo>
                  <a:cubicBezTo>
                    <a:pt x="76466" y="25951"/>
                    <a:pt x="75331" y="26989"/>
                    <a:pt x="75709" y="27820"/>
                  </a:cubicBezTo>
                  <a:cubicBezTo>
                    <a:pt x="75709" y="28858"/>
                    <a:pt x="74574" y="30311"/>
                    <a:pt x="74574" y="30726"/>
                  </a:cubicBezTo>
                  <a:cubicBezTo>
                    <a:pt x="74574" y="30934"/>
                    <a:pt x="73817" y="32595"/>
                    <a:pt x="73817" y="32595"/>
                  </a:cubicBezTo>
                  <a:cubicBezTo>
                    <a:pt x="74952" y="34048"/>
                    <a:pt x="74952" y="34048"/>
                    <a:pt x="74952" y="34048"/>
                  </a:cubicBezTo>
                  <a:cubicBezTo>
                    <a:pt x="76466" y="34878"/>
                    <a:pt x="76466" y="34878"/>
                    <a:pt x="76466" y="34878"/>
                  </a:cubicBezTo>
                  <a:cubicBezTo>
                    <a:pt x="78738" y="36332"/>
                    <a:pt x="78738" y="36332"/>
                    <a:pt x="78738" y="36332"/>
                  </a:cubicBezTo>
                  <a:cubicBezTo>
                    <a:pt x="81766" y="38200"/>
                    <a:pt x="81766" y="38200"/>
                    <a:pt x="81766" y="38200"/>
                  </a:cubicBezTo>
                  <a:cubicBezTo>
                    <a:pt x="82902" y="39653"/>
                    <a:pt x="82902" y="39653"/>
                    <a:pt x="82902" y="39653"/>
                  </a:cubicBezTo>
                  <a:cubicBezTo>
                    <a:pt x="82902" y="39653"/>
                    <a:pt x="85930" y="40692"/>
                    <a:pt x="85930" y="40899"/>
                  </a:cubicBezTo>
                  <a:cubicBezTo>
                    <a:pt x="85930" y="41107"/>
                    <a:pt x="87066" y="42145"/>
                    <a:pt x="87066" y="42145"/>
                  </a:cubicBezTo>
                  <a:cubicBezTo>
                    <a:pt x="88580" y="43598"/>
                    <a:pt x="88580" y="43598"/>
                    <a:pt x="88580" y="43598"/>
                  </a:cubicBezTo>
                  <a:cubicBezTo>
                    <a:pt x="88201" y="44636"/>
                    <a:pt x="88201" y="44636"/>
                    <a:pt x="88201" y="44636"/>
                  </a:cubicBezTo>
                  <a:cubicBezTo>
                    <a:pt x="87066" y="45674"/>
                    <a:pt x="87066" y="45674"/>
                    <a:pt x="87066" y="45674"/>
                  </a:cubicBezTo>
                  <a:cubicBezTo>
                    <a:pt x="87066" y="46297"/>
                    <a:pt x="87066" y="46297"/>
                    <a:pt x="87066" y="46297"/>
                  </a:cubicBezTo>
                  <a:cubicBezTo>
                    <a:pt x="88201" y="47128"/>
                    <a:pt x="88201" y="47128"/>
                    <a:pt x="88201" y="47128"/>
                  </a:cubicBezTo>
                  <a:cubicBezTo>
                    <a:pt x="87823" y="47958"/>
                    <a:pt x="87823" y="47958"/>
                    <a:pt x="87823" y="47958"/>
                  </a:cubicBezTo>
                  <a:cubicBezTo>
                    <a:pt x="88958" y="49204"/>
                    <a:pt x="88958" y="49204"/>
                    <a:pt x="88958" y="49204"/>
                  </a:cubicBezTo>
                  <a:cubicBezTo>
                    <a:pt x="88201" y="50034"/>
                    <a:pt x="88201" y="50034"/>
                    <a:pt x="88201" y="50034"/>
                  </a:cubicBezTo>
                  <a:cubicBezTo>
                    <a:pt x="90094" y="50449"/>
                    <a:pt x="90094" y="50449"/>
                    <a:pt x="90094" y="50449"/>
                  </a:cubicBezTo>
                  <a:cubicBezTo>
                    <a:pt x="90094" y="50449"/>
                    <a:pt x="90473" y="50657"/>
                    <a:pt x="90094" y="51072"/>
                  </a:cubicBezTo>
                  <a:cubicBezTo>
                    <a:pt x="89716" y="51280"/>
                    <a:pt x="89337" y="52733"/>
                    <a:pt x="89337" y="52733"/>
                  </a:cubicBezTo>
                  <a:cubicBezTo>
                    <a:pt x="91230" y="54394"/>
                    <a:pt x="91230" y="54394"/>
                    <a:pt x="91230" y="54394"/>
                  </a:cubicBezTo>
                  <a:cubicBezTo>
                    <a:pt x="93880" y="54602"/>
                    <a:pt x="93880" y="54602"/>
                    <a:pt x="93880" y="54602"/>
                  </a:cubicBezTo>
                  <a:cubicBezTo>
                    <a:pt x="93880" y="54602"/>
                    <a:pt x="95394" y="54602"/>
                    <a:pt x="95394" y="54809"/>
                  </a:cubicBezTo>
                  <a:cubicBezTo>
                    <a:pt x="95772" y="55017"/>
                    <a:pt x="96151" y="55640"/>
                    <a:pt x="96151" y="55640"/>
                  </a:cubicBezTo>
                  <a:cubicBezTo>
                    <a:pt x="95015" y="56885"/>
                    <a:pt x="95015" y="56885"/>
                    <a:pt x="95015" y="56885"/>
                  </a:cubicBezTo>
                  <a:cubicBezTo>
                    <a:pt x="95015" y="56885"/>
                    <a:pt x="95394" y="57508"/>
                    <a:pt x="96529" y="57923"/>
                  </a:cubicBezTo>
                  <a:cubicBezTo>
                    <a:pt x="97287" y="58131"/>
                    <a:pt x="98044" y="58131"/>
                    <a:pt x="98044" y="58546"/>
                  </a:cubicBezTo>
                  <a:cubicBezTo>
                    <a:pt x="98422" y="58961"/>
                    <a:pt x="98422" y="59584"/>
                    <a:pt x="98801" y="59377"/>
                  </a:cubicBezTo>
                  <a:cubicBezTo>
                    <a:pt x="99558" y="59377"/>
                    <a:pt x="101072" y="59584"/>
                    <a:pt x="101072" y="59584"/>
                  </a:cubicBezTo>
                  <a:cubicBezTo>
                    <a:pt x="102208" y="60622"/>
                    <a:pt x="102208" y="60622"/>
                    <a:pt x="102208" y="60622"/>
                  </a:cubicBezTo>
                  <a:cubicBezTo>
                    <a:pt x="102965" y="61453"/>
                    <a:pt x="102965" y="61453"/>
                    <a:pt x="102965" y="61453"/>
                  </a:cubicBezTo>
                  <a:cubicBezTo>
                    <a:pt x="102965" y="61453"/>
                    <a:pt x="102965" y="62076"/>
                    <a:pt x="102965" y="62283"/>
                  </a:cubicBezTo>
                  <a:cubicBezTo>
                    <a:pt x="102965" y="62698"/>
                    <a:pt x="102586" y="63944"/>
                    <a:pt x="102586" y="63944"/>
                  </a:cubicBezTo>
                  <a:cubicBezTo>
                    <a:pt x="100694" y="65605"/>
                    <a:pt x="100694" y="65605"/>
                    <a:pt x="100694" y="65605"/>
                  </a:cubicBezTo>
                  <a:cubicBezTo>
                    <a:pt x="100694" y="65605"/>
                    <a:pt x="102208" y="66643"/>
                    <a:pt x="103343" y="67058"/>
                  </a:cubicBezTo>
                  <a:cubicBezTo>
                    <a:pt x="104479" y="67474"/>
                    <a:pt x="105993" y="68096"/>
                    <a:pt x="106372" y="68096"/>
                  </a:cubicBezTo>
                  <a:cubicBezTo>
                    <a:pt x="106750" y="68096"/>
                    <a:pt x="108643" y="68304"/>
                    <a:pt x="109400" y="68512"/>
                  </a:cubicBezTo>
                  <a:cubicBezTo>
                    <a:pt x="109779" y="68512"/>
                    <a:pt x="111293" y="68927"/>
                    <a:pt x="111671" y="69134"/>
                  </a:cubicBezTo>
                  <a:cubicBezTo>
                    <a:pt x="112050" y="69342"/>
                    <a:pt x="114700" y="70173"/>
                    <a:pt x="114700" y="70173"/>
                  </a:cubicBezTo>
                  <a:cubicBezTo>
                    <a:pt x="116971" y="70795"/>
                    <a:pt x="116971" y="70795"/>
                    <a:pt x="116971" y="70795"/>
                  </a:cubicBezTo>
                  <a:cubicBezTo>
                    <a:pt x="119242" y="71833"/>
                    <a:pt x="119242" y="71833"/>
                    <a:pt x="119242" y="71833"/>
                  </a:cubicBezTo>
                  <a:cubicBezTo>
                    <a:pt x="120000" y="74325"/>
                    <a:pt x="120000" y="74325"/>
                    <a:pt x="120000" y="74325"/>
                  </a:cubicBezTo>
                  <a:cubicBezTo>
                    <a:pt x="120000" y="74325"/>
                    <a:pt x="119242" y="78062"/>
                    <a:pt x="118864" y="78477"/>
                  </a:cubicBezTo>
                  <a:cubicBezTo>
                    <a:pt x="118864" y="78892"/>
                    <a:pt x="117728" y="80761"/>
                    <a:pt x="117350" y="80968"/>
                  </a:cubicBezTo>
                  <a:cubicBezTo>
                    <a:pt x="116593" y="81176"/>
                    <a:pt x="115835" y="81384"/>
                    <a:pt x="115835" y="81799"/>
                  </a:cubicBezTo>
                  <a:cubicBezTo>
                    <a:pt x="115835" y="82214"/>
                    <a:pt x="114700" y="84498"/>
                    <a:pt x="114700" y="84498"/>
                  </a:cubicBezTo>
                  <a:cubicBezTo>
                    <a:pt x="114700" y="84498"/>
                    <a:pt x="113564" y="85951"/>
                    <a:pt x="113564" y="86366"/>
                  </a:cubicBezTo>
                  <a:cubicBezTo>
                    <a:pt x="113564" y="86782"/>
                    <a:pt x="112429" y="88027"/>
                    <a:pt x="112429" y="88442"/>
                  </a:cubicBezTo>
                  <a:cubicBezTo>
                    <a:pt x="112050" y="88650"/>
                    <a:pt x="111293" y="90311"/>
                    <a:pt x="111293" y="90311"/>
                  </a:cubicBezTo>
                  <a:cubicBezTo>
                    <a:pt x="106372" y="95709"/>
                    <a:pt x="106372" y="95709"/>
                    <a:pt x="106372" y="95709"/>
                  </a:cubicBezTo>
                  <a:cubicBezTo>
                    <a:pt x="105236" y="97785"/>
                    <a:pt x="105236" y="97785"/>
                    <a:pt x="105236" y="97785"/>
                  </a:cubicBezTo>
                  <a:cubicBezTo>
                    <a:pt x="105236" y="97785"/>
                    <a:pt x="104100" y="97993"/>
                    <a:pt x="103722" y="98408"/>
                  </a:cubicBezTo>
                  <a:cubicBezTo>
                    <a:pt x="103343" y="99031"/>
                    <a:pt x="102965" y="99446"/>
                    <a:pt x="102586" y="100069"/>
                  </a:cubicBezTo>
                  <a:cubicBezTo>
                    <a:pt x="102586" y="100484"/>
                    <a:pt x="100694" y="102352"/>
                    <a:pt x="100694" y="102352"/>
                  </a:cubicBezTo>
                  <a:cubicBezTo>
                    <a:pt x="99936" y="103391"/>
                    <a:pt x="99936" y="103391"/>
                    <a:pt x="99936" y="103391"/>
                  </a:cubicBezTo>
                  <a:cubicBezTo>
                    <a:pt x="98422" y="104429"/>
                    <a:pt x="98422" y="104429"/>
                    <a:pt x="98422" y="104429"/>
                  </a:cubicBezTo>
                  <a:cubicBezTo>
                    <a:pt x="98422" y="104429"/>
                    <a:pt x="97287" y="104844"/>
                    <a:pt x="97287" y="104844"/>
                  </a:cubicBezTo>
                  <a:cubicBezTo>
                    <a:pt x="97287" y="104844"/>
                    <a:pt x="96529" y="104844"/>
                    <a:pt x="96529" y="104844"/>
                  </a:cubicBezTo>
                  <a:cubicBezTo>
                    <a:pt x="94637" y="104844"/>
                    <a:pt x="94637" y="104844"/>
                    <a:pt x="94637" y="104844"/>
                  </a:cubicBezTo>
                  <a:cubicBezTo>
                    <a:pt x="93501" y="104429"/>
                    <a:pt x="93501" y="104429"/>
                    <a:pt x="93501" y="104429"/>
                  </a:cubicBezTo>
                  <a:cubicBezTo>
                    <a:pt x="93501" y="104429"/>
                    <a:pt x="92365" y="104844"/>
                    <a:pt x="92365" y="104844"/>
                  </a:cubicBezTo>
                  <a:cubicBezTo>
                    <a:pt x="92365" y="105051"/>
                    <a:pt x="91608" y="105259"/>
                    <a:pt x="91608" y="105467"/>
                  </a:cubicBezTo>
                  <a:cubicBezTo>
                    <a:pt x="91608" y="105467"/>
                    <a:pt x="91230" y="105882"/>
                    <a:pt x="90851" y="105882"/>
                  </a:cubicBezTo>
                  <a:cubicBezTo>
                    <a:pt x="90473" y="106089"/>
                    <a:pt x="90094" y="106297"/>
                    <a:pt x="89716" y="106297"/>
                  </a:cubicBezTo>
                  <a:cubicBezTo>
                    <a:pt x="89716" y="106505"/>
                    <a:pt x="88958" y="106505"/>
                    <a:pt x="88958" y="106505"/>
                  </a:cubicBezTo>
                  <a:cubicBezTo>
                    <a:pt x="88958" y="106505"/>
                    <a:pt x="88958" y="106712"/>
                    <a:pt x="88580" y="106920"/>
                  </a:cubicBezTo>
                  <a:cubicBezTo>
                    <a:pt x="88580" y="106920"/>
                    <a:pt x="87444" y="106920"/>
                    <a:pt x="87066" y="106712"/>
                  </a:cubicBezTo>
                  <a:cubicBezTo>
                    <a:pt x="86687" y="106505"/>
                    <a:pt x="85930" y="106297"/>
                    <a:pt x="86309" y="106297"/>
                  </a:cubicBezTo>
                  <a:cubicBezTo>
                    <a:pt x="86309" y="106505"/>
                    <a:pt x="85930" y="106920"/>
                    <a:pt x="85930" y="106920"/>
                  </a:cubicBezTo>
                  <a:cubicBezTo>
                    <a:pt x="85930" y="107128"/>
                    <a:pt x="85173" y="107750"/>
                    <a:pt x="84794" y="107750"/>
                  </a:cubicBezTo>
                  <a:cubicBezTo>
                    <a:pt x="84416" y="107750"/>
                    <a:pt x="83659" y="107543"/>
                    <a:pt x="83280" y="107335"/>
                  </a:cubicBezTo>
                  <a:cubicBezTo>
                    <a:pt x="82902" y="107335"/>
                    <a:pt x="82523" y="107335"/>
                    <a:pt x="82523" y="107335"/>
                  </a:cubicBezTo>
                  <a:cubicBezTo>
                    <a:pt x="82523" y="107543"/>
                    <a:pt x="82523" y="108166"/>
                    <a:pt x="82523" y="108373"/>
                  </a:cubicBezTo>
                  <a:cubicBezTo>
                    <a:pt x="82523" y="108373"/>
                    <a:pt x="82523" y="108581"/>
                    <a:pt x="82523" y="108788"/>
                  </a:cubicBezTo>
                  <a:cubicBezTo>
                    <a:pt x="82145" y="108788"/>
                    <a:pt x="81388" y="108996"/>
                    <a:pt x="81388" y="108996"/>
                  </a:cubicBezTo>
                  <a:cubicBezTo>
                    <a:pt x="81388" y="108996"/>
                    <a:pt x="81766" y="109411"/>
                    <a:pt x="81388" y="109411"/>
                  </a:cubicBezTo>
                  <a:cubicBezTo>
                    <a:pt x="81009" y="109619"/>
                    <a:pt x="80630" y="109826"/>
                    <a:pt x="80252" y="109826"/>
                  </a:cubicBezTo>
                  <a:cubicBezTo>
                    <a:pt x="80252" y="109619"/>
                    <a:pt x="79495" y="109411"/>
                    <a:pt x="79495" y="109411"/>
                  </a:cubicBezTo>
                  <a:cubicBezTo>
                    <a:pt x="79116" y="109619"/>
                    <a:pt x="78738" y="110034"/>
                    <a:pt x="78738" y="110034"/>
                  </a:cubicBezTo>
                  <a:cubicBezTo>
                    <a:pt x="78738" y="110242"/>
                    <a:pt x="78359" y="110449"/>
                    <a:pt x="78359" y="110449"/>
                  </a:cubicBezTo>
                  <a:cubicBezTo>
                    <a:pt x="78359" y="110449"/>
                    <a:pt x="75709" y="112110"/>
                    <a:pt x="75709" y="112110"/>
                  </a:cubicBezTo>
                  <a:cubicBezTo>
                    <a:pt x="75331" y="112110"/>
                    <a:pt x="74574" y="111487"/>
                    <a:pt x="74574" y="111487"/>
                  </a:cubicBezTo>
                  <a:cubicBezTo>
                    <a:pt x="74574" y="111695"/>
                    <a:pt x="74574" y="112110"/>
                    <a:pt x="74574" y="112110"/>
                  </a:cubicBezTo>
                  <a:cubicBezTo>
                    <a:pt x="74195" y="112318"/>
                    <a:pt x="73438" y="112525"/>
                    <a:pt x="73438" y="112525"/>
                  </a:cubicBezTo>
                  <a:cubicBezTo>
                    <a:pt x="73438" y="112733"/>
                    <a:pt x="73059" y="112525"/>
                    <a:pt x="72681" y="112525"/>
                  </a:cubicBezTo>
                  <a:cubicBezTo>
                    <a:pt x="72681" y="112733"/>
                    <a:pt x="72302" y="112733"/>
                    <a:pt x="72302" y="112941"/>
                  </a:cubicBezTo>
                  <a:cubicBezTo>
                    <a:pt x="72302" y="113148"/>
                    <a:pt x="71924" y="113356"/>
                    <a:pt x="71924" y="113356"/>
                  </a:cubicBezTo>
                  <a:cubicBezTo>
                    <a:pt x="71924" y="113356"/>
                    <a:pt x="71167" y="113564"/>
                    <a:pt x="71167" y="113771"/>
                  </a:cubicBezTo>
                  <a:cubicBezTo>
                    <a:pt x="70788" y="113979"/>
                    <a:pt x="70031" y="114186"/>
                    <a:pt x="70031" y="114186"/>
                  </a:cubicBezTo>
                  <a:cubicBezTo>
                    <a:pt x="70031" y="114186"/>
                    <a:pt x="69652" y="114394"/>
                    <a:pt x="69274" y="114186"/>
                  </a:cubicBezTo>
                  <a:cubicBezTo>
                    <a:pt x="68895" y="114186"/>
                    <a:pt x="68138" y="113564"/>
                    <a:pt x="68138" y="113564"/>
                  </a:cubicBezTo>
                  <a:cubicBezTo>
                    <a:pt x="68138" y="113564"/>
                    <a:pt x="67381" y="113564"/>
                    <a:pt x="67381" y="113771"/>
                  </a:cubicBezTo>
                  <a:cubicBezTo>
                    <a:pt x="67003" y="113979"/>
                    <a:pt x="67003" y="114186"/>
                    <a:pt x="66624" y="114186"/>
                  </a:cubicBezTo>
                  <a:cubicBezTo>
                    <a:pt x="66246" y="114394"/>
                    <a:pt x="65867" y="114394"/>
                    <a:pt x="65488" y="114394"/>
                  </a:cubicBezTo>
                  <a:cubicBezTo>
                    <a:pt x="65110" y="114602"/>
                    <a:pt x="64353" y="114602"/>
                    <a:pt x="64353" y="114809"/>
                  </a:cubicBezTo>
                  <a:cubicBezTo>
                    <a:pt x="63974" y="114809"/>
                    <a:pt x="63596" y="115224"/>
                    <a:pt x="63596" y="115432"/>
                  </a:cubicBezTo>
                  <a:cubicBezTo>
                    <a:pt x="63596" y="115640"/>
                    <a:pt x="64353" y="115640"/>
                    <a:pt x="63596" y="115640"/>
                  </a:cubicBezTo>
                  <a:cubicBezTo>
                    <a:pt x="62839" y="115847"/>
                    <a:pt x="61703" y="115847"/>
                    <a:pt x="61703" y="115847"/>
                  </a:cubicBezTo>
                  <a:cubicBezTo>
                    <a:pt x="61703" y="115847"/>
                    <a:pt x="60946" y="116055"/>
                    <a:pt x="60946" y="116262"/>
                  </a:cubicBezTo>
                  <a:cubicBezTo>
                    <a:pt x="60567" y="116470"/>
                    <a:pt x="60946" y="116470"/>
                    <a:pt x="60189" y="116678"/>
                  </a:cubicBezTo>
                  <a:cubicBezTo>
                    <a:pt x="59810" y="116678"/>
                    <a:pt x="59432" y="116885"/>
                    <a:pt x="59432" y="116885"/>
                  </a:cubicBezTo>
                  <a:cubicBezTo>
                    <a:pt x="58675" y="116470"/>
                    <a:pt x="58675" y="116470"/>
                    <a:pt x="58675" y="116470"/>
                  </a:cubicBezTo>
                  <a:cubicBezTo>
                    <a:pt x="59053" y="116055"/>
                    <a:pt x="59053" y="116055"/>
                    <a:pt x="59053" y="116055"/>
                  </a:cubicBezTo>
                  <a:cubicBezTo>
                    <a:pt x="59053" y="116055"/>
                    <a:pt x="58675" y="115640"/>
                    <a:pt x="58675" y="115847"/>
                  </a:cubicBezTo>
                  <a:cubicBezTo>
                    <a:pt x="58296" y="116262"/>
                    <a:pt x="58675" y="116470"/>
                    <a:pt x="58675" y="116470"/>
                  </a:cubicBezTo>
                  <a:cubicBezTo>
                    <a:pt x="58675" y="116470"/>
                    <a:pt x="58296" y="116470"/>
                    <a:pt x="58296" y="116678"/>
                  </a:cubicBezTo>
                  <a:cubicBezTo>
                    <a:pt x="57917" y="116885"/>
                    <a:pt x="58296" y="116885"/>
                    <a:pt x="57917" y="117093"/>
                  </a:cubicBezTo>
                  <a:cubicBezTo>
                    <a:pt x="57917" y="117301"/>
                    <a:pt x="57539" y="117508"/>
                    <a:pt x="57160" y="117508"/>
                  </a:cubicBezTo>
                  <a:cubicBezTo>
                    <a:pt x="57160" y="117716"/>
                    <a:pt x="56782" y="117716"/>
                    <a:pt x="56403" y="117716"/>
                  </a:cubicBezTo>
                  <a:cubicBezTo>
                    <a:pt x="56403" y="117716"/>
                    <a:pt x="55646" y="117716"/>
                    <a:pt x="55646" y="117716"/>
                  </a:cubicBezTo>
                  <a:cubicBezTo>
                    <a:pt x="55268" y="117716"/>
                    <a:pt x="54889" y="117508"/>
                    <a:pt x="55268" y="117508"/>
                  </a:cubicBezTo>
                  <a:cubicBezTo>
                    <a:pt x="55268" y="117508"/>
                    <a:pt x="56025" y="117301"/>
                    <a:pt x="56025" y="117301"/>
                  </a:cubicBezTo>
                  <a:cubicBezTo>
                    <a:pt x="56025" y="117301"/>
                    <a:pt x="56403" y="117093"/>
                    <a:pt x="56025" y="117093"/>
                  </a:cubicBezTo>
                  <a:cubicBezTo>
                    <a:pt x="55646" y="116885"/>
                    <a:pt x="55268" y="116678"/>
                    <a:pt x="55268" y="116678"/>
                  </a:cubicBezTo>
                  <a:cubicBezTo>
                    <a:pt x="55268" y="116678"/>
                    <a:pt x="55646" y="116885"/>
                    <a:pt x="54511" y="116885"/>
                  </a:cubicBezTo>
                  <a:cubicBezTo>
                    <a:pt x="53753" y="117093"/>
                    <a:pt x="53375" y="117093"/>
                    <a:pt x="53375" y="116885"/>
                  </a:cubicBezTo>
                  <a:cubicBezTo>
                    <a:pt x="53375" y="116885"/>
                    <a:pt x="52618" y="116885"/>
                    <a:pt x="52996" y="116678"/>
                  </a:cubicBezTo>
                  <a:cubicBezTo>
                    <a:pt x="53753" y="116470"/>
                    <a:pt x="53753" y="116262"/>
                    <a:pt x="54132" y="116262"/>
                  </a:cubicBezTo>
                  <a:cubicBezTo>
                    <a:pt x="54511" y="116262"/>
                    <a:pt x="54511" y="115847"/>
                    <a:pt x="54511" y="115640"/>
                  </a:cubicBezTo>
                  <a:cubicBezTo>
                    <a:pt x="54511" y="115640"/>
                    <a:pt x="55268" y="116055"/>
                    <a:pt x="54132" y="115640"/>
                  </a:cubicBezTo>
                  <a:cubicBezTo>
                    <a:pt x="53375" y="115017"/>
                    <a:pt x="53375" y="115017"/>
                    <a:pt x="53375" y="115017"/>
                  </a:cubicBezTo>
                  <a:cubicBezTo>
                    <a:pt x="53375" y="115017"/>
                    <a:pt x="52996" y="115224"/>
                    <a:pt x="52996" y="115432"/>
                  </a:cubicBezTo>
                  <a:cubicBezTo>
                    <a:pt x="53375" y="115640"/>
                    <a:pt x="54132" y="115847"/>
                    <a:pt x="52996" y="116055"/>
                  </a:cubicBezTo>
                  <a:cubicBezTo>
                    <a:pt x="51861" y="116055"/>
                    <a:pt x="51861" y="116055"/>
                    <a:pt x="51861" y="116055"/>
                  </a:cubicBezTo>
                  <a:cubicBezTo>
                    <a:pt x="51482" y="116262"/>
                    <a:pt x="50347" y="116262"/>
                    <a:pt x="50347" y="116262"/>
                  </a:cubicBezTo>
                  <a:cubicBezTo>
                    <a:pt x="50347" y="116262"/>
                    <a:pt x="49589" y="116262"/>
                    <a:pt x="49968" y="116470"/>
                  </a:cubicBezTo>
                  <a:cubicBezTo>
                    <a:pt x="49968" y="116678"/>
                    <a:pt x="50725" y="116885"/>
                    <a:pt x="50725" y="116885"/>
                  </a:cubicBezTo>
                  <a:cubicBezTo>
                    <a:pt x="50725" y="116885"/>
                    <a:pt x="50725" y="117093"/>
                    <a:pt x="49968" y="117093"/>
                  </a:cubicBezTo>
                  <a:cubicBezTo>
                    <a:pt x="49589" y="117301"/>
                    <a:pt x="48832" y="117301"/>
                    <a:pt x="48832" y="117301"/>
                  </a:cubicBezTo>
                  <a:cubicBezTo>
                    <a:pt x="48454" y="117508"/>
                    <a:pt x="48454" y="117508"/>
                    <a:pt x="48454" y="117508"/>
                  </a:cubicBezTo>
                  <a:cubicBezTo>
                    <a:pt x="48454" y="117508"/>
                    <a:pt x="48075" y="117508"/>
                    <a:pt x="48075" y="117301"/>
                  </a:cubicBezTo>
                  <a:cubicBezTo>
                    <a:pt x="48075" y="117301"/>
                    <a:pt x="48454" y="117093"/>
                    <a:pt x="48454" y="116885"/>
                  </a:cubicBezTo>
                  <a:cubicBezTo>
                    <a:pt x="48454" y="116678"/>
                    <a:pt x="48832" y="116885"/>
                    <a:pt x="48454" y="116678"/>
                  </a:cubicBezTo>
                  <a:cubicBezTo>
                    <a:pt x="48075" y="116262"/>
                    <a:pt x="47697" y="116262"/>
                    <a:pt x="47697" y="116055"/>
                  </a:cubicBezTo>
                  <a:cubicBezTo>
                    <a:pt x="48075" y="115847"/>
                    <a:pt x="48832" y="115640"/>
                    <a:pt x="48832" y="115640"/>
                  </a:cubicBezTo>
                  <a:cubicBezTo>
                    <a:pt x="48832" y="115432"/>
                    <a:pt x="48832" y="115224"/>
                    <a:pt x="48832" y="115224"/>
                  </a:cubicBezTo>
                  <a:cubicBezTo>
                    <a:pt x="48832" y="115224"/>
                    <a:pt x="48454" y="115224"/>
                    <a:pt x="48832" y="115017"/>
                  </a:cubicBezTo>
                  <a:cubicBezTo>
                    <a:pt x="49211" y="114602"/>
                    <a:pt x="49589" y="114394"/>
                    <a:pt x="49589" y="114394"/>
                  </a:cubicBezTo>
                  <a:cubicBezTo>
                    <a:pt x="49589" y="114186"/>
                    <a:pt x="49211" y="113979"/>
                    <a:pt x="48832" y="113979"/>
                  </a:cubicBezTo>
                  <a:cubicBezTo>
                    <a:pt x="48832" y="113979"/>
                    <a:pt x="48454" y="114394"/>
                    <a:pt x="48454" y="114602"/>
                  </a:cubicBezTo>
                  <a:cubicBezTo>
                    <a:pt x="48454" y="114602"/>
                    <a:pt x="48832" y="115017"/>
                    <a:pt x="47697" y="114809"/>
                  </a:cubicBezTo>
                  <a:cubicBezTo>
                    <a:pt x="46561" y="114809"/>
                    <a:pt x="45804" y="114809"/>
                    <a:pt x="45425" y="114602"/>
                  </a:cubicBezTo>
                  <a:cubicBezTo>
                    <a:pt x="45425" y="114394"/>
                    <a:pt x="44668" y="114186"/>
                    <a:pt x="45804" y="114186"/>
                  </a:cubicBezTo>
                  <a:cubicBezTo>
                    <a:pt x="46940" y="113979"/>
                    <a:pt x="46940" y="113979"/>
                    <a:pt x="46940" y="113979"/>
                  </a:cubicBezTo>
                  <a:cubicBezTo>
                    <a:pt x="47318" y="113771"/>
                    <a:pt x="47318" y="113564"/>
                    <a:pt x="47318" y="113356"/>
                  </a:cubicBezTo>
                  <a:cubicBezTo>
                    <a:pt x="46940" y="113356"/>
                    <a:pt x="46561" y="112941"/>
                    <a:pt x="46561" y="113148"/>
                  </a:cubicBezTo>
                  <a:cubicBezTo>
                    <a:pt x="46182" y="113564"/>
                    <a:pt x="46182" y="113771"/>
                    <a:pt x="46182" y="113771"/>
                  </a:cubicBezTo>
                  <a:cubicBezTo>
                    <a:pt x="46182" y="113771"/>
                    <a:pt x="44668" y="113771"/>
                    <a:pt x="44668" y="113771"/>
                  </a:cubicBezTo>
                  <a:cubicBezTo>
                    <a:pt x="44668" y="113771"/>
                    <a:pt x="44290" y="113564"/>
                    <a:pt x="44290" y="113356"/>
                  </a:cubicBezTo>
                  <a:cubicBezTo>
                    <a:pt x="44290" y="113356"/>
                    <a:pt x="44668" y="112525"/>
                    <a:pt x="44668" y="112525"/>
                  </a:cubicBezTo>
                  <a:cubicBezTo>
                    <a:pt x="44668" y="112525"/>
                    <a:pt x="45425" y="112318"/>
                    <a:pt x="45047" y="112318"/>
                  </a:cubicBezTo>
                  <a:cubicBezTo>
                    <a:pt x="45047" y="112318"/>
                    <a:pt x="44290" y="112110"/>
                    <a:pt x="44290" y="112318"/>
                  </a:cubicBezTo>
                  <a:cubicBezTo>
                    <a:pt x="43911" y="112318"/>
                    <a:pt x="44290" y="112525"/>
                    <a:pt x="44290" y="112733"/>
                  </a:cubicBezTo>
                  <a:cubicBezTo>
                    <a:pt x="44290" y="112941"/>
                    <a:pt x="44290" y="113148"/>
                    <a:pt x="43911" y="113148"/>
                  </a:cubicBezTo>
                  <a:cubicBezTo>
                    <a:pt x="43533" y="113356"/>
                    <a:pt x="42018" y="113356"/>
                    <a:pt x="42018" y="113356"/>
                  </a:cubicBezTo>
                  <a:cubicBezTo>
                    <a:pt x="42018" y="113148"/>
                    <a:pt x="41640" y="113148"/>
                    <a:pt x="42018" y="112941"/>
                  </a:cubicBezTo>
                  <a:cubicBezTo>
                    <a:pt x="42018" y="112733"/>
                    <a:pt x="42018" y="112525"/>
                    <a:pt x="42018" y="112525"/>
                  </a:cubicBezTo>
                  <a:cubicBezTo>
                    <a:pt x="42018" y="112525"/>
                    <a:pt x="41640" y="112110"/>
                    <a:pt x="41640" y="112318"/>
                  </a:cubicBezTo>
                  <a:cubicBezTo>
                    <a:pt x="41261" y="112318"/>
                    <a:pt x="40883" y="112318"/>
                    <a:pt x="40883" y="112318"/>
                  </a:cubicBezTo>
                  <a:cubicBezTo>
                    <a:pt x="40883" y="111903"/>
                    <a:pt x="40883" y="111903"/>
                    <a:pt x="40883" y="111903"/>
                  </a:cubicBezTo>
                  <a:cubicBezTo>
                    <a:pt x="40126" y="111903"/>
                    <a:pt x="40126" y="111903"/>
                    <a:pt x="40126" y="111903"/>
                  </a:cubicBezTo>
                  <a:cubicBezTo>
                    <a:pt x="39747" y="111903"/>
                    <a:pt x="39747" y="111903"/>
                    <a:pt x="39747" y="111903"/>
                  </a:cubicBezTo>
                  <a:cubicBezTo>
                    <a:pt x="39747" y="111903"/>
                    <a:pt x="39369" y="111695"/>
                    <a:pt x="39369" y="111695"/>
                  </a:cubicBezTo>
                  <a:cubicBezTo>
                    <a:pt x="38990" y="111695"/>
                    <a:pt x="38990" y="111695"/>
                    <a:pt x="38990" y="111903"/>
                  </a:cubicBezTo>
                  <a:cubicBezTo>
                    <a:pt x="38611" y="111903"/>
                    <a:pt x="37476" y="112110"/>
                    <a:pt x="37476" y="112110"/>
                  </a:cubicBezTo>
                  <a:cubicBezTo>
                    <a:pt x="37476" y="112110"/>
                    <a:pt x="37476" y="111695"/>
                    <a:pt x="37097" y="112110"/>
                  </a:cubicBezTo>
                  <a:cubicBezTo>
                    <a:pt x="37097" y="112318"/>
                    <a:pt x="35205" y="112318"/>
                    <a:pt x="35205" y="112318"/>
                  </a:cubicBezTo>
                  <a:cubicBezTo>
                    <a:pt x="35205" y="112318"/>
                    <a:pt x="34826" y="111903"/>
                    <a:pt x="34826" y="111695"/>
                  </a:cubicBezTo>
                  <a:cubicBezTo>
                    <a:pt x="34826" y="111695"/>
                    <a:pt x="35205" y="111072"/>
                    <a:pt x="35205" y="111072"/>
                  </a:cubicBezTo>
                  <a:cubicBezTo>
                    <a:pt x="35583" y="110865"/>
                    <a:pt x="35583" y="110865"/>
                    <a:pt x="35583" y="110865"/>
                  </a:cubicBezTo>
                  <a:cubicBezTo>
                    <a:pt x="35205" y="110657"/>
                    <a:pt x="35205" y="110657"/>
                    <a:pt x="35205" y="110657"/>
                  </a:cubicBezTo>
                  <a:cubicBezTo>
                    <a:pt x="35205" y="110657"/>
                    <a:pt x="34069" y="110657"/>
                    <a:pt x="34447" y="110657"/>
                  </a:cubicBezTo>
                  <a:cubicBezTo>
                    <a:pt x="34447" y="110449"/>
                    <a:pt x="35205" y="110034"/>
                    <a:pt x="35205" y="110034"/>
                  </a:cubicBezTo>
                  <a:cubicBezTo>
                    <a:pt x="35205" y="110034"/>
                    <a:pt x="35583" y="109826"/>
                    <a:pt x="35583" y="109826"/>
                  </a:cubicBezTo>
                  <a:cubicBezTo>
                    <a:pt x="35962" y="109619"/>
                    <a:pt x="36719" y="109619"/>
                    <a:pt x="36340" y="109411"/>
                  </a:cubicBezTo>
                  <a:cubicBezTo>
                    <a:pt x="35962" y="109411"/>
                    <a:pt x="35583" y="109204"/>
                    <a:pt x="35583" y="109204"/>
                  </a:cubicBezTo>
                  <a:cubicBezTo>
                    <a:pt x="35583" y="109204"/>
                    <a:pt x="35205" y="109204"/>
                    <a:pt x="35205" y="108996"/>
                  </a:cubicBezTo>
                  <a:cubicBezTo>
                    <a:pt x="35205" y="108996"/>
                    <a:pt x="35583" y="108581"/>
                    <a:pt x="35583" y="108373"/>
                  </a:cubicBezTo>
                  <a:cubicBezTo>
                    <a:pt x="35583" y="108166"/>
                    <a:pt x="35205" y="107958"/>
                    <a:pt x="35205" y="107958"/>
                  </a:cubicBezTo>
                  <a:cubicBezTo>
                    <a:pt x="34826" y="107958"/>
                    <a:pt x="35205" y="108166"/>
                    <a:pt x="34447" y="108166"/>
                  </a:cubicBezTo>
                  <a:cubicBezTo>
                    <a:pt x="34069" y="108373"/>
                    <a:pt x="32933" y="108788"/>
                    <a:pt x="32933" y="108788"/>
                  </a:cubicBezTo>
                  <a:cubicBezTo>
                    <a:pt x="32933" y="108581"/>
                    <a:pt x="32933" y="108373"/>
                    <a:pt x="32933" y="108166"/>
                  </a:cubicBezTo>
                  <a:cubicBezTo>
                    <a:pt x="33312" y="107958"/>
                    <a:pt x="34447" y="107958"/>
                    <a:pt x="34826" y="107750"/>
                  </a:cubicBezTo>
                  <a:cubicBezTo>
                    <a:pt x="34826" y="107543"/>
                    <a:pt x="34069" y="106920"/>
                    <a:pt x="34069" y="106920"/>
                  </a:cubicBezTo>
                  <a:cubicBezTo>
                    <a:pt x="34069" y="106920"/>
                    <a:pt x="34826" y="107128"/>
                    <a:pt x="34447" y="106712"/>
                  </a:cubicBezTo>
                  <a:cubicBezTo>
                    <a:pt x="33690" y="106505"/>
                    <a:pt x="33690" y="106505"/>
                    <a:pt x="33690" y="106505"/>
                  </a:cubicBezTo>
                  <a:cubicBezTo>
                    <a:pt x="33690" y="106297"/>
                    <a:pt x="33690" y="106089"/>
                    <a:pt x="34069" y="105882"/>
                  </a:cubicBezTo>
                  <a:cubicBezTo>
                    <a:pt x="34447" y="105467"/>
                    <a:pt x="34826" y="105467"/>
                    <a:pt x="34826" y="105259"/>
                  </a:cubicBezTo>
                  <a:cubicBezTo>
                    <a:pt x="34826" y="105259"/>
                    <a:pt x="33690" y="105051"/>
                    <a:pt x="33690" y="104844"/>
                  </a:cubicBezTo>
                  <a:cubicBezTo>
                    <a:pt x="33690" y="104636"/>
                    <a:pt x="32933" y="104636"/>
                    <a:pt x="33690" y="104221"/>
                  </a:cubicBezTo>
                  <a:cubicBezTo>
                    <a:pt x="34069" y="104013"/>
                    <a:pt x="34447" y="104013"/>
                    <a:pt x="34447" y="104013"/>
                  </a:cubicBezTo>
                  <a:cubicBezTo>
                    <a:pt x="34447" y="104013"/>
                    <a:pt x="34447" y="103391"/>
                    <a:pt x="34447" y="103183"/>
                  </a:cubicBezTo>
                  <a:cubicBezTo>
                    <a:pt x="34447" y="102975"/>
                    <a:pt x="34826" y="102975"/>
                    <a:pt x="34826" y="102768"/>
                  </a:cubicBezTo>
                  <a:cubicBezTo>
                    <a:pt x="34447" y="102560"/>
                    <a:pt x="34069" y="102560"/>
                    <a:pt x="33690" y="102145"/>
                  </a:cubicBezTo>
                  <a:cubicBezTo>
                    <a:pt x="33690" y="101937"/>
                    <a:pt x="33690" y="101937"/>
                    <a:pt x="33690" y="101730"/>
                  </a:cubicBezTo>
                  <a:cubicBezTo>
                    <a:pt x="34069" y="101730"/>
                    <a:pt x="34447" y="101522"/>
                    <a:pt x="34069" y="101522"/>
                  </a:cubicBezTo>
                  <a:cubicBezTo>
                    <a:pt x="34069" y="101314"/>
                    <a:pt x="34069" y="101107"/>
                    <a:pt x="34069" y="101107"/>
                  </a:cubicBezTo>
                  <a:cubicBezTo>
                    <a:pt x="34069" y="101107"/>
                    <a:pt x="34069" y="101107"/>
                    <a:pt x="33690" y="100692"/>
                  </a:cubicBezTo>
                  <a:cubicBezTo>
                    <a:pt x="33312" y="100484"/>
                    <a:pt x="33312" y="100069"/>
                    <a:pt x="33312" y="99861"/>
                  </a:cubicBezTo>
                  <a:cubicBezTo>
                    <a:pt x="33312" y="99653"/>
                    <a:pt x="33690" y="98823"/>
                    <a:pt x="33690" y="98823"/>
                  </a:cubicBezTo>
                  <a:cubicBezTo>
                    <a:pt x="33690" y="98823"/>
                    <a:pt x="33690" y="98200"/>
                    <a:pt x="32933" y="97993"/>
                  </a:cubicBezTo>
                  <a:cubicBezTo>
                    <a:pt x="32555" y="97577"/>
                    <a:pt x="31798" y="97370"/>
                    <a:pt x="31798" y="97370"/>
                  </a:cubicBezTo>
                  <a:cubicBezTo>
                    <a:pt x="31798" y="97370"/>
                    <a:pt x="31798" y="96955"/>
                    <a:pt x="31798" y="96747"/>
                  </a:cubicBezTo>
                  <a:cubicBezTo>
                    <a:pt x="31798" y="96747"/>
                    <a:pt x="31041" y="96539"/>
                    <a:pt x="31041" y="96332"/>
                  </a:cubicBezTo>
                  <a:cubicBezTo>
                    <a:pt x="31041" y="96124"/>
                    <a:pt x="30662" y="95709"/>
                    <a:pt x="30662" y="95709"/>
                  </a:cubicBezTo>
                  <a:cubicBezTo>
                    <a:pt x="30662" y="95709"/>
                    <a:pt x="30283" y="95709"/>
                    <a:pt x="30662" y="95294"/>
                  </a:cubicBezTo>
                  <a:cubicBezTo>
                    <a:pt x="30662" y="94671"/>
                    <a:pt x="30662" y="94463"/>
                    <a:pt x="30662" y="94256"/>
                  </a:cubicBezTo>
                  <a:cubicBezTo>
                    <a:pt x="30283" y="94048"/>
                    <a:pt x="29905" y="93633"/>
                    <a:pt x="29905" y="93425"/>
                  </a:cubicBezTo>
                  <a:cubicBezTo>
                    <a:pt x="29905" y="93217"/>
                    <a:pt x="29905" y="92802"/>
                    <a:pt x="29905" y="92802"/>
                  </a:cubicBezTo>
                  <a:cubicBezTo>
                    <a:pt x="29905" y="92802"/>
                    <a:pt x="29905" y="92595"/>
                    <a:pt x="29526" y="92387"/>
                  </a:cubicBezTo>
                  <a:cubicBezTo>
                    <a:pt x="29148" y="92179"/>
                    <a:pt x="28012" y="91141"/>
                    <a:pt x="28012" y="91141"/>
                  </a:cubicBezTo>
                  <a:cubicBezTo>
                    <a:pt x="28012" y="91141"/>
                    <a:pt x="27634" y="91141"/>
                    <a:pt x="27634" y="90726"/>
                  </a:cubicBezTo>
                  <a:cubicBezTo>
                    <a:pt x="27255" y="90311"/>
                    <a:pt x="27255" y="89896"/>
                    <a:pt x="27255" y="89896"/>
                  </a:cubicBezTo>
                  <a:cubicBezTo>
                    <a:pt x="27255" y="89896"/>
                    <a:pt x="27255" y="89273"/>
                    <a:pt x="27255" y="89273"/>
                  </a:cubicBezTo>
                  <a:cubicBezTo>
                    <a:pt x="26119" y="88650"/>
                    <a:pt x="26119" y="88650"/>
                    <a:pt x="26119" y="88650"/>
                  </a:cubicBezTo>
                  <a:cubicBezTo>
                    <a:pt x="26498" y="87820"/>
                    <a:pt x="26498" y="87820"/>
                    <a:pt x="26498" y="87820"/>
                  </a:cubicBezTo>
                  <a:cubicBezTo>
                    <a:pt x="26498" y="86989"/>
                    <a:pt x="26498" y="86989"/>
                    <a:pt x="26498" y="86989"/>
                  </a:cubicBezTo>
                  <a:cubicBezTo>
                    <a:pt x="26498" y="86989"/>
                    <a:pt x="26498" y="85951"/>
                    <a:pt x="26876" y="85951"/>
                  </a:cubicBezTo>
                  <a:cubicBezTo>
                    <a:pt x="27255" y="85951"/>
                    <a:pt x="28012" y="85328"/>
                    <a:pt x="28012" y="85328"/>
                  </a:cubicBezTo>
                  <a:cubicBezTo>
                    <a:pt x="28012" y="85328"/>
                    <a:pt x="28769" y="84705"/>
                    <a:pt x="28391" y="84498"/>
                  </a:cubicBezTo>
                  <a:cubicBezTo>
                    <a:pt x="28391" y="84290"/>
                    <a:pt x="28012" y="83460"/>
                    <a:pt x="28012" y="83460"/>
                  </a:cubicBezTo>
                  <a:cubicBezTo>
                    <a:pt x="28012" y="83460"/>
                    <a:pt x="28769" y="82837"/>
                    <a:pt x="28391" y="82837"/>
                  </a:cubicBezTo>
                  <a:cubicBezTo>
                    <a:pt x="28391" y="82629"/>
                    <a:pt x="27634" y="81799"/>
                    <a:pt x="27634" y="81799"/>
                  </a:cubicBezTo>
                  <a:cubicBezTo>
                    <a:pt x="26498" y="82422"/>
                    <a:pt x="26498" y="82422"/>
                    <a:pt x="26498" y="82422"/>
                  </a:cubicBezTo>
                  <a:cubicBezTo>
                    <a:pt x="25741" y="82214"/>
                    <a:pt x="25741" y="82214"/>
                    <a:pt x="25741" y="82214"/>
                  </a:cubicBezTo>
                  <a:cubicBezTo>
                    <a:pt x="26119" y="81384"/>
                    <a:pt x="26119" y="81384"/>
                    <a:pt x="26119" y="81384"/>
                  </a:cubicBezTo>
                  <a:cubicBezTo>
                    <a:pt x="26119" y="81384"/>
                    <a:pt x="25362" y="80968"/>
                    <a:pt x="25362" y="80761"/>
                  </a:cubicBezTo>
                  <a:cubicBezTo>
                    <a:pt x="25362" y="80553"/>
                    <a:pt x="26119" y="80138"/>
                    <a:pt x="26119" y="80138"/>
                  </a:cubicBezTo>
                  <a:cubicBezTo>
                    <a:pt x="26119" y="80138"/>
                    <a:pt x="26876" y="80968"/>
                    <a:pt x="26876" y="81176"/>
                  </a:cubicBezTo>
                  <a:cubicBezTo>
                    <a:pt x="26876" y="81384"/>
                    <a:pt x="27634" y="81591"/>
                    <a:pt x="27634" y="81591"/>
                  </a:cubicBezTo>
                  <a:cubicBezTo>
                    <a:pt x="28012" y="81384"/>
                    <a:pt x="28012" y="80968"/>
                    <a:pt x="28391" y="80968"/>
                  </a:cubicBezTo>
                  <a:cubicBezTo>
                    <a:pt x="28769" y="80968"/>
                    <a:pt x="29148" y="81176"/>
                    <a:pt x="29148" y="81384"/>
                  </a:cubicBezTo>
                  <a:cubicBezTo>
                    <a:pt x="29148" y="81384"/>
                    <a:pt x="30662" y="81176"/>
                    <a:pt x="30662" y="81176"/>
                  </a:cubicBezTo>
                  <a:cubicBezTo>
                    <a:pt x="30662" y="81176"/>
                    <a:pt x="30283" y="80968"/>
                    <a:pt x="31419" y="80968"/>
                  </a:cubicBezTo>
                  <a:cubicBezTo>
                    <a:pt x="32555" y="81176"/>
                    <a:pt x="32555" y="80968"/>
                    <a:pt x="32555" y="80553"/>
                  </a:cubicBezTo>
                  <a:cubicBezTo>
                    <a:pt x="32555" y="80346"/>
                    <a:pt x="31419" y="79515"/>
                    <a:pt x="32176" y="79515"/>
                  </a:cubicBezTo>
                  <a:cubicBezTo>
                    <a:pt x="33312" y="79515"/>
                    <a:pt x="33690" y="79723"/>
                    <a:pt x="33690" y="79723"/>
                  </a:cubicBezTo>
                  <a:cubicBezTo>
                    <a:pt x="33690" y="79723"/>
                    <a:pt x="33690" y="79930"/>
                    <a:pt x="33690" y="80138"/>
                  </a:cubicBezTo>
                  <a:cubicBezTo>
                    <a:pt x="33690" y="80553"/>
                    <a:pt x="34826" y="80968"/>
                    <a:pt x="34826" y="80553"/>
                  </a:cubicBezTo>
                  <a:cubicBezTo>
                    <a:pt x="35205" y="80138"/>
                    <a:pt x="35205" y="80346"/>
                    <a:pt x="35205" y="79930"/>
                  </a:cubicBezTo>
                  <a:cubicBezTo>
                    <a:pt x="35205" y="79515"/>
                    <a:pt x="34447" y="79515"/>
                    <a:pt x="34069" y="79100"/>
                  </a:cubicBezTo>
                  <a:cubicBezTo>
                    <a:pt x="34069" y="78892"/>
                    <a:pt x="33690" y="79307"/>
                    <a:pt x="33690" y="78685"/>
                  </a:cubicBezTo>
                  <a:cubicBezTo>
                    <a:pt x="34069" y="78062"/>
                    <a:pt x="34069" y="77854"/>
                    <a:pt x="34447" y="77854"/>
                  </a:cubicBezTo>
                  <a:cubicBezTo>
                    <a:pt x="35205" y="77647"/>
                    <a:pt x="34447" y="77854"/>
                    <a:pt x="35205" y="77647"/>
                  </a:cubicBezTo>
                  <a:cubicBezTo>
                    <a:pt x="35962" y="77647"/>
                    <a:pt x="36340" y="77231"/>
                    <a:pt x="35962" y="76608"/>
                  </a:cubicBezTo>
                  <a:cubicBezTo>
                    <a:pt x="35962" y="76193"/>
                    <a:pt x="35583" y="75986"/>
                    <a:pt x="35962" y="75778"/>
                  </a:cubicBezTo>
                  <a:cubicBezTo>
                    <a:pt x="36719" y="75570"/>
                    <a:pt x="36340" y="75363"/>
                    <a:pt x="37097" y="75570"/>
                  </a:cubicBezTo>
                  <a:cubicBezTo>
                    <a:pt x="37854" y="75778"/>
                    <a:pt x="37476" y="75778"/>
                    <a:pt x="38233" y="75778"/>
                  </a:cubicBezTo>
                  <a:cubicBezTo>
                    <a:pt x="38611" y="75570"/>
                    <a:pt x="38611" y="74532"/>
                    <a:pt x="38611" y="74532"/>
                  </a:cubicBezTo>
                  <a:cubicBezTo>
                    <a:pt x="38233" y="74740"/>
                    <a:pt x="37476" y="74325"/>
                    <a:pt x="37476" y="74325"/>
                  </a:cubicBezTo>
                  <a:cubicBezTo>
                    <a:pt x="37097" y="74325"/>
                    <a:pt x="37097" y="73910"/>
                    <a:pt x="37476" y="73702"/>
                  </a:cubicBezTo>
                  <a:cubicBezTo>
                    <a:pt x="37476" y="73702"/>
                    <a:pt x="37476" y="73287"/>
                    <a:pt x="37854" y="73287"/>
                  </a:cubicBezTo>
                  <a:cubicBezTo>
                    <a:pt x="38611" y="73287"/>
                    <a:pt x="38611" y="73494"/>
                    <a:pt x="39369" y="73287"/>
                  </a:cubicBezTo>
                  <a:cubicBezTo>
                    <a:pt x="39747" y="73079"/>
                    <a:pt x="39747" y="73079"/>
                    <a:pt x="40126" y="72871"/>
                  </a:cubicBezTo>
                  <a:cubicBezTo>
                    <a:pt x="40504" y="72664"/>
                    <a:pt x="40883" y="72664"/>
                    <a:pt x="41261" y="72249"/>
                  </a:cubicBezTo>
                  <a:cubicBezTo>
                    <a:pt x="41261" y="72041"/>
                    <a:pt x="41640" y="70795"/>
                    <a:pt x="41640" y="70795"/>
                  </a:cubicBezTo>
                  <a:cubicBezTo>
                    <a:pt x="41261" y="70588"/>
                    <a:pt x="42018" y="70795"/>
                    <a:pt x="42776" y="70588"/>
                  </a:cubicBezTo>
                  <a:cubicBezTo>
                    <a:pt x="43154" y="70380"/>
                    <a:pt x="43533" y="69134"/>
                    <a:pt x="43911" y="68927"/>
                  </a:cubicBezTo>
                  <a:cubicBezTo>
                    <a:pt x="44290" y="68512"/>
                    <a:pt x="45425" y="67681"/>
                    <a:pt x="45425" y="67474"/>
                  </a:cubicBezTo>
                  <a:cubicBezTo>
                    <a:pt x="45425" y="67266"/>
                    <a:pt x="46561" y="65813"/>
                    <a:pt x="46561" y="65813"/>
                  </a:cubicBezTo>
                  <a:cubicBezTo>
                    <a:pt x="48075" y="64359"/>
                    <a:pt x="48075" y="64359"/>
                    <a:pt x="48075" y="64359"/>
                  </a:cubicBezTo>
                  <a:cubicBezTo>
                    <a:pt x="48075" y="64359"/>
                    <a:pt x="48075" y="63944"/>
                    <a:pt x="47697" y="63529"/>
                  </a:cubicBezTo>
                  <a:cubicBezTo>
                    <a:pt x="47697" y="63321"/>
                    <a:pt x="47318" y="62491"/>
                    <a:pt x="47697" y="62283"/>
                  </a:cubicBezTo>
                  <a:cubicBezTo>
                    <a:pt x="48075" y="62283"/>
                    <a:pt x="48454" y="61660"/>
                    <a:pt x="48454" y="61660"/>
                  </a:cubicBezTo>
                  <a:cubicBezTo>
                    <a:pt x="48454" y="60830"/>
                    <a:pt x="48454" y="60830"/>
                    <a:pt x="48454" y="60830"/>
                  </a:cubicBezTo>
                  <a:cubicBezTo>
                    <a:pt x="48454" y="60830"/>
                    <a:pt x="50347" y="60207"/>
                    <a:pt x="50347" y="60207"/>
                  </a:cubicBezTo>
                  <a:cubicBezTo>
                    <a:pt x="52618" y="60000"/>
                    <a:pt x="51104" y="59377"/>
                    <a:pt x="53753" y="60000"/>
                  </a:cubicBezTo>
                  <a:cubicBezTo>
                    <a:pt x="53753" y="60000"/>
                    <a:pt x="55268" y="59792"/>
                    <a:pt x="54889" y="59584"/>
                  </a:cubicBezTo>
                  <a:cubicBezTo>
                    <a:pt x="54889" y="59584"/>
                    <a:pt x="53375" y="58754"/>
                    <a:pt x="53375" y="58754"/>
                  </a:cubicBezTo>
                  <a:cubicBezTo>
                    <a:pt x="54132" y="58131"/>
                    <a:pt x="54132" y="58131"/>
                    <a:pt x="54132" y="58131"/>
                  </a:cubicBezTo>
                  <a:cubicBezTo>
                    <a:pt x="54132" y="58131"/>
                    <a:pt x="55268" y="57716"/>
                    <a:pt x="54132" y="57508"/>
                  </a:cubicBezTo>
                  <a:cubicBezTo>
                    <a:pt x="53375" y="57301"/>
                    <a:pt x="52618" y="57093"/>
                    <a:pt x="52618" y="56885"/>
                  </a:cubicBezTo>
                  <a:cubicBezTo>
                    <a:pt x="52618" y="56885"/>
                    <a:pt x="52239" y="56055"/>
                    <a:pt x="52239" y="55847"/>
                  </a:cubicBezTo>
                  <a:cubicBezTo>
                    <a:pt x="52239" y="55640"/>
                    <a:pt x="51861" y="55017"/>
                    <a:pt x="51861" y="55017"/>
                  </a:cubicBezTo>
                  <a:cubicBezTo>
                    <a:pt x="51861" y="55017"/>
                    <a:pt x="51861" y="54186"/>
                    <a:pt x="51861" y="53979"/>
                  </a:cubicBezTo>
                  <a:cubicBezTo>
                    <a:pt x="51861" y="53771"/>
                    <a:pt x="51482" y="53148"/>
                    <a:pt x="51104" y="52941"/>
                  </a:cubicBezTo>
                  <a:cubicBezTo>
                    <a:pt x="50725" y="52733"/>
                    <a:pt x="49211" y="52110"/>
                    <a:pt x="49211" y="52110"/>
                  </a:cubicBezTo>
                  <a:cubicBezTo>
                    <a:pt x="46561" y="51487"/>
                    <a:pt x="46561" y="51487"/>
                    <a:pt x="46561" y="51487"/>
                  </a:cubicBezTo>
                  <a:cubicBezTo>
                    <a:pt x="45804" y="51903"/>
                    <a:pt x="45804" y="51903"/>
                    <a:pt x="45804" y="51903"/>
                  </a:cubicBezTo>
                  <a:cubicBezTo>
                    <a:pt x="43911" y="50865"/>
                    <a:pt x="43911" y="50865"/>
                    <a:pt x="43911" y="50865"/>
                  </a:cubicBezTo>
                  <a:cubicBezTo>
                    <a:pt x="42397" y="50657"/>
                    <a:pt x="42397" y="50657"/>
                    <a:pt x="42397" y="50657"/>
                  </a:cubicBezTo>
                  <a:cubicBezTo>
                    <a:pt x="40883" y="50657"/>
                    <a:pt x="40883" y="50657"/>
                    <a:pt x="40883" y="50657"/>
                  </a:cubicBezTo>
                  <a:cubicBezTo>
                    <a:pt x="38233" y="47543"/>
                    <a:pt x="38233" y="47543"/>
                    <a:pt x="38233" y="47543"/>
                  </a:cubicBezTo>
                  <a:cubicBezTo>
                    <a:pt x="35962" y="46920"/>
                    <a:pt x="35962" y="46920"/>
                    <a:pt x="35962" y="46920"/>
                  </a:cubicBezTo>
                  <a:cubicBezTo>
                    <a:pt x="34447" y="46089"/>
                    <a:pt x="34447" y="46089"/>
                    <a:pt x="34447" y="46089"/>
                  </a:cubicBezTo>
                  <a:cubicBezTo>
                    <a:pt x="34447" y="45051"/>
                    <a:pt x="34447" y="45051"/>
                    <a:pt x="34447" y="45051"/>
                  </a:cubicBezTo>
                  <a:cubicBezTo>
                    <a:pt x="33312" y="44221"/>
                    <a:pt x="33312" y="44221"/>
                    <a:pt x="33312" y="44221"/>
                  </a:cubicBezTo>
                  <a:cubicBezTo>
                    <a:pt x="33312" y="44221"/>
                    <a:pt x="33690" y="43598"/>
                    <a:pt x="33690" y="43391"/>
                  </a:cubicBezTo>
                  <a:cubicBezTo>
                    <a:pt x="34069" y="43183"/>
                    <a:pt x="34826" y="42145"/>
                    <a:pt x="34826" y="42145"/>
                  </a:cubicBezTo>
                  <a:cubicBezTo>
                    <a:pt x="34826" y="42145"/>
                    <a:pt x="34447" y="41314"/>
                    <a:pt x="34447" y="41107"/>
                  </a:cubicBezTo>
                  <a:cubicBezTo>
                    <a:pt x="34447" y="40899"/>
                    <a:pt x="34826" y="39861"/>
                    <a:pt x="34826" y="39861"/>
                  </a:cubicBezTo>
                  <a:cubicBezTo>
                    <a:pt x="34447" y="38823"/>
                    <a:pt x="34447" y="38823"/>
                    <a:pt x="34447" y="38823"/>
                  </a:cubicBezTo>
                  <a:cubicBezTo>
                    <a:pt x="29905" y="35916"/>
                    <a:pt x="29905" y="35916"/>
                    <a:pt x="29905" y="35916"/>
                  </a:cubicBezTo>
                  <a:cubicBezTo>
                    <a:pt x="30283" y="34671"/>
                    <a:pt x="30283" y="34671"/>
                    <a:pt x="30283" y="34671"/>
                  </a:cubicBezTo>
                  <a:cubicBezTo>
                    <a:pt x="29905" y="34048"/>
                    <a:pt x="29905" y="34048"/>
                    <a:pt x="29905" y="34048"/>
                  </a:cubicBezTo>
                  <a:cubicBezTo>
                    <a:pt x="29526" y="33425"/>
                    <a:pt x="29526" y="33425"/>
                    <a:pt x="29905" y="33010"/>
                  </a:cubicBezTo>
                  <a:cubicBezTo>
                    <a:pt x="29905" y="32802"/>
                    <a:pt x="29905" y="32802"/>
                    <a:pt x="29905" y="32802"/>
                  </a:cubicBezTo>
                  <a:cubicBezTo>
                    <a:pt x="28391" y="33010"/>
                    <a:pt x="28391" y="33010"/>
                    <a:pt x="28391" y="33010"/>
                  </a:cubicBezTo>
                  <a:cubicBezTo>
                    <a:pt x="27255" y="32179"/>
                    <a:pt x="27255" y="32179"/>
                    <a:pt x="27255" y="32179"/>
                  </a:cubicBezTo>
                  <a:cubicBezTo>
                    <a:pt x="27634" y="31141"/>
                    <a:pt x="27634" y="31141"/>
                    <a:pt x="27634" y="31141"/>
                  </a:cubicBezTo>
                  <a:cubicBezTo>
                    <a:pt x="26876" y="28650"/>
                    <a:pt x="26876" y="28650"/>
                    <a:pt x="26876" y="28650"/>
                  </a:cubicBezTo>
                  <a:cubicBezTo>
                    <a:pt x="27634" y="27404"/>
                    <a:pt x="27634" y="27404"/>
                    <a:pt x="27634" y="27404"/>
                  </a:cubicBezTo>
                  <a:cubicBezTo>
                    <a:pt x="25362" y="26782"/>
                    <a:pt x="25362" y="26782"/>
                    <a:pt x="25362" y="26782"/>
                  </a:cubicBezTo>
                  <a:cubicBezTo>
                    <a:pt x="23848" y="25536"/>
                    <a:pt x="23848" y="25536"/>
                    <a:pt x="23848" y="25536"/>
                  </a:cubicBezTo>
                  <a:cubicBezTo>
                    <a:pt x="23848" y="25536"/>
                    <a:pt x="23470" y="25951"/>
                    <a:pt x="23091" y="25743"/>
                  </a:cubicBezTo>
                  <a:cubicBezTo>
                    <a:pt x="22712" y="25536"/>
                    <a:pt x="20820" y="23875"/>
                    <a:pt x="20820" y="23875"/>
                  </a:cubicBezTo>
                  <a:cubicBezTo>
                    <a:pt x="17413" y="23252"/>
                    <a:pt x="17413" y="23252"/>
                    <a:pt x="17413" y="23252"/>
                  </a:cubicBezTo>
                  <a:cubicBezTo>
                    <a:pt x="15899" y="22837"/>
                    <a:pt x="15899" y="22837"/>
                    <a:pt x="15899" y="22837"/>
                  </a:cubicBezTo>
                  <a:cubicBezTo>
                    <a:pt x="14006" y="22629"/>
                    <a:pt x="14006" y="22629"/>
                    <a:pt x="14006" y="22629"/>
                  </a:cubicBezTo>
                  <a:cubicBezTo>
                    <a:pt x="14006" y="22629"/>
                    <a:pt x="13627" y="23044"/>
                    <a:pt x="13249" y="22629"/>
                  </a:cubicBezTo>
                  <a:cubicBezTo>
                    <a:pt x="12870" y="22214"/>
                    <a:pt x="12113" y="21799"/>
                    <a:pt x="12113" y="21799"/>
                  </a:cubicBezTo>
                  <a:cubicBezTo>
                    <a:pt x="10599" y="22006"/>
                    <a:pt x="10599" y="22006"/>
                    <a:pt x="10599" y="22006"/>
                  </a:cubicBezTo>
                  <a:cubicBezTo>
                    <a:pt x="9463" y="21176"/>
                    <a:pt x="9463" y="21176"/>
                    <a:pt x="9463" y="21176"/>
                  </a:cubicBezTo>
                  <a:cubicBezTo>
                    <a:pt x="9463" y="21176"/>
                    <a:pt x="9085" y="21176"/>
                    <a:pt x="8706" y="21176"/>
                  </a:cubicBezTo>
                  <a:cubicBezTo>
                    <a:pt x="8328" y="20968"/>
                    <a:pt x="7570" y="20761"/>
                    <a:pt x="7570" y="20761"/>
                  </a:cubicBezTo>
                  <a:close/>
                  <a:moveTo>
                    <a:pt x="53753" y="117923"/>
                  </a:moveTo>
                  <a:cubicBezTo>
                    <a:pt x="53753" y="117923"/>
                    <a:pt x="53753" y="117923"/>
                    <a:pt x="53753" y="117923"/>
                  </a:cubicBezTo>
                  <a:cubicBezTo>
                    <a:pt x="53753" y="117923"/>
                    <a:pt x="53753" y="118131"/>
                    <a:pt x="53753" y="118339"/>
                  </a:cubicBezTo>
                  <a:cubicBezTo>
                    <a:pt x="53753" y="118339"/>
                    <a:pt x="54132" y="118546"/>
                    <a:pt x="54511" y="118546"/>
                  </a:cubicBezTo>
                  <a:cubicBezTo>
                    <a:pt x="54511" y="118546"/>
                    <a:pt x="55268" y="118339"/>
                    <a:pt x="55646" y="118131"/>
                  </a:cubicBezTo>
                  <a:cubicBezTo>
                    <a:pt x="56403" y="117923"/>
                    <a:pt x="55646" y="118131"/>
                    <a:pt x="55646" y="118131"/>
                  </a:cubicBezTo>
                  <a:cubicBezTo>
                    <a:pt x="54889" y="117716"/>
                    <a:pt x="54889" y="117716"/>
                    <a:pt x="54889" y="117716"/>
                  </a:cubicBezTo>
                  <a:cubicBezTo>
                    <a:pt x="54889" y="117716"/>
                    <a:pt x="54132" y="117923"/>
                    <a:pt x="53753" y="117923"/>
                  </a:cubicBezTo>
                  <a:close/>
                  <a:moveTo>
                    <a:pt x="48832" y="117923"/>
                  </a:moveTo>
                  <a:cubicBezTo>
                    <a:pt x="48832" y="117923"/>
                    <a:pt x="48832" y="117923"/>
                    <a:pt x="48832" y="117923"/>
                  </a:cubicBezTo>
                  <a:cubicBezTo>
                    <a:pt x="48832" y="117923"/>
                    <a:pt x="48832" y="118339"/>
                    <a:pt x="48832" y="118339"/>
                  </a:cubicBezTo>
                  <a:cubicBezTo>
                    <a:pt x="48832" y="118546"/>
                    <a:pt x="49211" y="118546"/>
                    <a:pt x="49589" y="118339"/>
                  </a:cubicBezTo>
                  <a:cubicBezTo>
                    <a:pt x="49589" y="118339"/>
                    <a:pt x="49968" y="118339"/>
                    <a:pt x="50347" y="118131"/>
                  </a:cubicBezTo>
                  <a:cubicBezTo>
                    <a:pt x="50725" y="117923"/>
                    <a:pt x="50347" y="117716"/>
                    <a:pt x="49968" y="117716"/>
                  </a:cubicBezTo>
                  <a:cubicBezTo>
                    <a:pt x="49968" y="117508"/>
                    <a:pt x="49589" y="117716"/>
                    <a:pt x="49589" y="117716"/>
                  </a:cubicBezTo>
                  <a:cubicBezTo>
                    <a:pt x="49211" y="117716"/>
                    <a:pt x="48832" y="117923"/>
                    <a:pt x="48832" y="117923"/>
                  </a:cubicBezTo>
                  <a:close/>
                  <a:moveTo>
                    <a:pt x="39747" y="115432"/>
                  </a:moveTo>
                  <a:cubicBezTo>
                    <a:pt x="39747" y="115432"/>
                    <a:pt x="39747" y="115432"/>
                    <a:pt x="39747" y="115432"/>
                  </a:cubicBezTo>
                  <a:cubicBezTo>
                    <a:pt x="39369" y="115640"/>
                    <a:pt x="39369" y="115640"/>
                    <a:pt x="39369" y="115640"/>
                  </a:cubicBezTo>
                  <a:cubicBezTo>
                    <a:pt x="39369" y="115640"/>
                    <a:pt x="38990" y="115847"/>
                    <a:pt x="39369" y="116055"/>
                  </a:cubicBezTo>
                  <a:cubicBezTo>
                    <a:pt x="39369" y="116470"/>
                    <a:pt x="39747" y="116470"/>
                    <a:pt x="39747" y="116470"/>
                  </a:cubicBezTo>
                  <a:cubicBezTo>
                    <a:pt x="39747" y="116470"/>
                    <a:pt x="40126" y="116262"/>
                    <a:pt x="40883" y="116262"/>
                  </a:cubicBezTo>
                  <a:cubicBezTo>
                    <a:pt x="41261" y="116262"/>
                    <a:pt x="42018" y="115847"/>
                    <a:pt x="42018" y="115640"/>
                  </a:cubicBezTo>
                  <a:cubicBezTo>
                    <a:pt x="42397" y="115640"/>
                    <a:pt x="42397" y="115224"/>
                    <a:pt x="42776" y="115224"/>
                  </a:cubicBezTo>
                  <a:cubicBezTo>
                    <a:pt x="43154" y="115224"/>
                    <a:pt x="44290" y="115432"/>
                    <a:pt x="44668" y="115432"/>
                  </a:cubicBezTo>
                  <a:cubicBezTo>
                    <a:pt x="45047" y="115432"/>
                    <a:pt x="44290" y="114809"/>
                    <a:pt x="44290" y="114809"/>
                  </a:cubicBezTo>
                  <a:cubicBezTo>
                    <a:pt x="44290" y="114602"/>
                    <a:pt x="43154" y="114809"/>
                    <a:pt x="43154" y="114809"/>
                  </a:cubicBezTo>
                  <a:cubicBezTo>
                    <a:pt x="43154" y="114809"/>
                    <a:pt x="42397" y="114809"/>
                    <a:pt x="42018" y="114602"/>
                  </a:cubicBezTo>
                  <a:cubicBezTo>
                    <a:pt x="41640" y="114602"/>
                    <a:pt x="41640" y="114602"/>
                    <a:pt x="41640" y="114602"/>
                  </a:cubicBezTo>
                  <a:cubicBezTo>
                    <a:pt x="41261" y="114809"/>
                    <a:pt x="41261" y="115017"/>
                    <a:pt x="40883" y="115224"/>
                  </a:cubicBezTo>
                  <a:cubicBezTo>
                    <a:pt x="40504" y="115432"/>
                    <a:pt x="40504" y="115224"/>
                    <a:pt x="40504" y="115017"/>
                  </a:cubicBezTo>
                  <a:cubicBezTo>
                    <a:pt x="40504" y="115017"/>
                    <a:pt x="39747" y="114809"/>
                    <a:pt x="39369" y="115017"/>
                  </a:cubicBezTo>
                  <a:cubicBezTo>
                    <a:pt x="39369" y="115017"/>
                    <a:pt x="39747" y="115224"/>
                    <a:pt x="39747" y="115432"/>
                  </a:cubicBezTo>
                  <a:close/>
                  <a:moveTo>
                    <a:pt x="36719" y="115432"/>
                  </a:moveTo>
                  <a:cubicBezTo>
                    <a:pt x="36719" y="115432"/>
                    <a:pt x="36719" y="115432"/>
                    <a:pt x="36719" y="115432"/>
                  </a:cubicBezTo>
                  <a:cubicBezTo>
                    <a:pt x="36719" y="115432"/>
                    <a:pt x="37476" y="115640"/>
                    <a:pt x="38233" y="115640"/>
                  </a:cubicBezTo>
                  <a:cubicBezTo>
                    <a:pt x="38611" y="115640"/>
                    <a:pt x="38233" y="115432"/>
                    <a:pt x="38611" y="115224"/>
                  </a:cubicBezTo>
                  <a:cubicBezTo>
                    <a:pt x="38611" y="115017"/>
                    <a:pt x="38233" y="115224"/>
                    <a:pt x="37854" y="115017"/>
                  </a:cubicBezTo>
                  <a:cubicBezTo>
                    <a:pt x="37476" y="115017"/>
                    <a:pt x="37476" y="115017"/>
                    <a:pt x="37097" y="115017"/>
                  </a:cubicBezTo>
                  <a:cubicBezTo>
                    <a:pt x="36340" y="115017"/>
                    <a:pt x="36719" y="115432"/>
                    <a:pt x="36719" y="115432"/>
                  </a:cubicBezTo>
                  <a:close/>
                  <a:moveTo>
                    <a:pt x="33312" y="113148"/>
                  </a:moveTo>
                  <a:cubicBezTo>
                    <a:pt x="33312" y="113148"/>
                    <a:pt x="33312" y="113148"/>
                    <a:pt x="33312" y="113148"/>
                  </a:cubicBezTo>
                  <a:cubicBezTo>
                    <a:pt x="32933" y="114186"/>
                    <a:pt x="34826" y="113564"/>
                    <a:pt x="34826" y="112941"/>
                  </a:cubicBezTo>
                  <a:cubicBezTo>
                    <a:pt x="34447" y="112525"/>
                    <a:pt x="34826" y="112525"/>
                    <a:pt x="34069" y="112110"/>
                  </a:cubicBezTo>
                  <a:cubicBezTo>
                    <a:pt x="33690" y="111487"/>
                    <a:pt x="33690" y="112110"/>
                    <a:pt x="33312" y="112318"/>
                  </a:cubicBezTo>
                  <a:cubicBezTo>
                    <a:pt x="32933" y="112733"/>
                    <a:pt x="33690" y="112733"/>
                    <a:pt x="33690" y="112941"/>
                  </a:cubicBezTo>
                  <a:cubicBezTo>
                    <a:pt x="33690" y="113148"/>
                    <a:pt x="33312" y="112941"/>
                    <a:pt x="33312" y="113148"/>
                  </a:cubicBezTo>
                  <a:close/>
                  <a:moveTo>
                    <a:pt x="30283" y="115640"/>
                  </a:moveTo>
                  <a:cubicBezTo>
                    <a:pt x="30283" y="115640"/>
                    <a:pt x="30283" y="115640"/>
                    <a:pt x="30283" y="115640"/>
                  </a:cubicBezTo>
                  <a:cubicBezTo>
                    <a:pt x="30283" y="115640"/>
                    <a:pt x="29905" y="115847"/>
                    <a:pt x="30283" y="116262"/>
                  </a:cubicBezTo>
                  <a:cubicBezTo>
                    <a:pt x="30283" y="116470"/>
                    <a:pt x="30283" y="116262"/>
                    <a:pt x="31419" y="115847"/>
                  </a:cubicBezTo>
                  <a:cubicBezTo>
                    <a:pt x="32176" y="115432"/>
                    <a:pt x="31041" y="115640"/>
                    <a:pt x="31041" y="115640"/>
                  </a:cubicBezTo>
                  <a:cubicBezTo>
                    <a:pt x="31041" y="115432"/>
                    <a:pt x="30662" y="115640"/>
                    <a:pt x="30283" y="115640"/>
                  </a:cubicBezTo>
                  <a:close/>
                  <a:moveTo>
                    <a:pt x="30283" y="116885"/>
                  </a:moveTo>
                  <a:cubicBezTo>
                    <a:pt x="30283" y="116885"/>
                    <a:pt x="30283" y="116885"/>
                    <a:pt x="30283" y="116885"/>
                  </a:cubicBezTo>
                  <a:cubicBezTo>
                    <a:pt x="30283" y="116885"/>
                    <a:pt x="30283" y="117301"/>
                    <a:pt x="30662" y="117301"/>
                  </a:cubicBezTo>
                  <a:cubicBezTo>
                    <a:pt x="31041" y="117301"/>
                    <a:pt x="31041" y="117093"/>
                    <a:pt x="31419" y="116885"/>
                  </a:cubicBezTo>
                  <a:cubicBezTo>
                    <a:pt x="31419" y="116678"/>
                    <a:pt x="31041" y="116678"/>
                    <a:pt x="31041" y="116470"/>
                  </a:cubicBezTo>
                  <a:cubicBezTo>
                    <a:pt x="30662" y="116470"/>
                    <a:pt x="30283" y="116678"/>
                    <a:pt x="30283" y="116885"/>
                  </a:cubicBezTo>
                  <a:close/>
                  <a:moveTo>
                    <a:pt x="29148" y="117923"/>
                  </a:moveTo>
                  <a:cubicBezTo>
                    <a:pt x="29148" y="117923"/>
                    <a:pt x="29148" y="117923"/>
                    <a:pt x="29148" y="117923"/>
                  </a:cubicBezTo>
                  <a:cubicBezTo>
                    <a:pt x="28391" y="117923"/>
                    <a:pt x="28391" y="117923"/>
                    <a:pt x="28391" y="117923"/>
                  </a:cubicBezTo>
                  <a:cubicBezTo>
                    <a:pt x="28391" y="117923"/>
                    <a:pt x="28391" y="117923"/>
                    <a:pt x="27255" y="118339"/>
                  </a:cubicBezTo>
                  <a:cubicBezTo>
                    <a:pt x="26119" y="118546"/>
                    <a:pt x="26876" y="118754"/>
                    <a:pt x="26876" y="118961"/>
                  </a:cubicBezTo>
                  <a:cubicBezTo>
                    <a:pt x="26876" y="119377"/>
                    <a:pt x="28012" y="118961"/>
                    <a:pt x="28769" y="118754"/>
                  </a:cubicBezTo>
                  <a:cubicBezTo>
                    <a:pt x="29148" y="118754"/>
                    <a:pt x="28769" y="118546"/>
                    <a:pt x="29148" y="118546"/>
                  </a:cubicBezTo>
                  <a:cubicBezTo>
                    <a:pt x="29148" y="118546"/>
                    <a:pt x="29148" y="118546"/>
                    <a:pt x="29905" y="118339"/>
                  </a:cubicBezTo>
                  <a:cubicBezTo>
                    <a:pt x="30662" y="118131"/>
                    <a:pt x="30283" y="118131"/>
                    <a:pt x="30283" y="117923"/>
                  </a:cubicBezTo>
                  <a:cubicBezTo>
                    <a:pt x="30283" y="117923"/>
                    <a:pt x="29526" y="117716"/>
                    <a:pt x="29148" y="117923"/>
                  </a:cubicBezTo>
                  <a:close/>
                  <a:moveTo>
                    <a:pt x="19305" y="118961"/>
                  </a:moveTo>
                  <a:cubicBezTo>
                    <a:pt x="19305" y="118961"/>
                    <a:pt x="19305" y="118961"/>
                    <a:pt x="19305" y="118961"/>
                  </a:cubicBezTo>
                  <a:cubicBezTo>
                    <a:pt x="19684" y="118961"/>
                    <a:pt x="20063" y="118754"/>
                    <a:pt x="20441" y="118961"/>
                  </a:cubicBezTo>
                  <a:cubicBezTo>
                    <a:pt x="20820" y="119169"/>
                    <a:pt x="20441" y="119584"/>
                    <a:pt x="20441" y="119584"/>
                  </a:cubicBezTo>
                  <a:cubicBezTo>
                    <a:pt x="20063" y="119792"/>
                    <a:pt x="19684" y="120000"/>
                    <a:pt x="19305" y="120000"/>
                  </a:cubicBezTo>
                  <a:cubicBezTo>
                    <a:pt x="18927" y="120000"/>
                    <a:pt x="18548" y="120000"/>
                    <a:pt x="18170" y="119792"/>
                  </a:cubicBezTo>
                  <a:cubicBezTo>
                    <a:pt x="18170" y="119584"/>
                    <a:pt x="18170" y="118961"/>
                    <a:pt x="18170" y="118961"/>
                  </a:cubicBezTo>
                  <a:cubicBezTo>
                    <a:pt x="18548" y="118961"/>
                    <a:pt x="19305" y="118961"/>
                    <a:pt x="19305" y="118961"/>
                  </a:cubicBezTo>
                  <a:close/>
                  <a:moveTo>
                    <a:pt x="22334" y="115847"/>
                  </a:moveTo>
                  <a:cubicBezTo>
                    <a:pt x="22334" y="115847"/>
                    <a:pt x="22334" y="115847"/>
                    <a:pt x="22334" y="115847"/>
                  </a:cubicBezTo>
                  <a:cubicBezTo>
                    <a:pt x="22334" y="115847"/>
                    <a:pt x="22334" y="115847"/>
                    <a:pt x="22334" y="115847"/>
                  </a:cubicBezTo>
                  <a:cubicBezTo>
                    <a:pt x="22334" y="115847"/>
                    <a:pt x="22334" y="116262"/>
                    <a:pt x="21955" y="116262"/>
                  </a:cubicBezTo>
                  <a:cubicBezTo>
                    <a:pt x="21198" y="116470"/>
                    <a:pt x="21577" y="115847"/>
                    <a:pt x="21577" y="115640"/>
                  </a:cubicBezTo>
                  <a:cubicBezTo>
                    <a:pt x="21577" y="115432"/>
                    <a:pt x="20063" y="115847"/>
                    <a:pt x="20063" y="115847"/>
                  </a:cubicBezTo>
                  <a:cubicBezTo>
                    <a:pt x="20063" y="115847"/>
                    <a:pt x="20063" y="116470"/>
                    <a:pt x="19684" y="116678"/>
                  </a:cubicBezTo>
                  <a:cubicBezTo>
                    <a:pt x="19305" y="116678"/>
                    <a:pt x="19305" y="116678"/>
                    <a:pt x="18927" y="116885"/>
                  </a:cubicBezTo>
                  <a:cubicBezTo>
                    <a:pt x="18548" y="117093"/>
                    <a:pt x="18548" y="117508"/>
                    <a:pt x="18548" y="117508"/>
                  </a:cubicBezTo>
                  <a:cubicBezTo>
                    <a:pt x="18927" y="117716"/>
                    <a:pt x="19684" y="117716"/>
                    <a:pt x="19684" y="117716"/>
                  </a:cubicBezTo>
                  <a:cubicBezTo>
                    <a:pt x="20063" y="117716"/>
                    <a:pt x="20063" y="117716"/>
                    <a:pt x="21198" y="118131"/>
                  </a:cubicBezTo>
                  <a:cubicBezTo>
                    <a:pt x="22712" y="118339"/>
                    <a:pt x="21577" y="118131"/>
                    <a:pt x="22712" y="118131"/>
                  </a:cubicBezTo>
                  <a:cubicBezTo>
                    <a:pt x="23470" y="118131"/>
                    <a:pt x="23091" y="118339"/>
                    <a:pt x="23470" y="118339"/>
                  </a:cubicBezTo>
                  <a:cubicBezTo>
                    <a:pt x="23848" y="118339"/>
                    <a:pt x="24227" y="118754"/>
                    <a:pt x="24605" y="118961"/>
                  </a:cubicBezTo>
                  <a:cubicBezTo>
                    <a:pt x="25362" y="119169"/>
                    <a:pt x="25741" y="118754"/>
                    <a:pt x="26119" y="118754"/>
                  </a:cubicBezTo>
                  <a:cubicBezTo>
                    <a:pt x="26119" y="118546"/>
                    <a:pt x="26876" y="117923"/>
                    <a:pt x="26876" y="117923"/>
                  </a:cubicBezTo>
                  <a:cubicBezTo>
                    <a:pt x="26876" y="117923"/>
                    <a:pt x="24605" y="117508"/>
                    <a:pt x="24605" y="117508"/>
                  </a:cubicBezTo>
                  <a:cubicBezTo>
                    <a:pt x="24227" y="117508"/>
                    <a:pt x="23848" y="116885"/>
                    <a:pt x="24605" y="116885"/>
                  </a:cubicBezTo>
                  <a:cubicBezTo>
                    <a:pt x="24984" y="116885"/>
                    <a:pt x="24984" y="117093"/>
                    <a:pt x="25362" y="117301"/>
                  </a:cubicBezTo>
                  <a:cubicBezTo>
                    <a:pt x="25362" y="117508"/>
                    <a:pt x="25741" y="117508"/>
                    <a:pt x="26119" y="117508"/>
                  </a:cubicBezTo>
                  <a:cubicBezTo>
                    <a:pt x="26498" y="117508"/>
                    <a:pt x="26876" y="117301"/>
                    <a:pt x="26876" y="117093"/>
                  </a:cubicBezTo>
                  <a:cubicBezTo>
                    <a:pt x="26876" y="116885"/>
                    <a:pt x="26498" y="117093"/>
                    <a:pt x="25741" y="116470"/>
                  </a:cubicBezTo>
                  <a:cubicBezTo>
                    <a:pt x="24605" y="115847"/>
                    <a:pt x="25741" y="116055"/>
                    <a:pt x="26119" y="116055"/>
                  </a:cubicBezTo>
                  <a:cubicBezTo>
                    <a:pt x="26119" y="115847"/>
                    <a:pt x="26876" y="115432"/>
                    <a:pt x="26876" y="115432"/>
                  </a:cubicBezTo>
                  <a:cubicBezTo>
                    <a:pt x="27255" y="115224"/>
                    <a:pt x="26119" y="115224"/>
                    <a:pt x="25741" y="115017"/>
                  </a:cubicBezTo>
                  <a:cubicBezTo>
                    <a:pt x="25362" y="115017"/>
                    <a:pt x="25362" y="115017"/>
                    <a:pt x="25362" y="115017"/>
                  </a:cubicBezTo>
                  <a:cubicBezTo>
                    <a:pt x="25362" y="115224"/>
                    <a:pt x="24227" y="115017"/>
                    <a:pt x="23848" y="114809"/>
                  </a:cubicBezTo>
                  <a:cubicBezTo>
                    <a:pt x="23848" y="114809"/>
                    <a:pt x="23848" y="114394"/>
                    <a:pt x="23470" y="114186"/>
                  </a:cubicBezTo>
                  <a:cubicBezTo>
                    <a:pt x="23470" y="114186"/>
                    <a:pt x="22712" y="114186"/>
                    <a:pt x="21955" y="114186"/>
                  </a:cubicBezTo>
                  <a:cubicBezTo>
                    <a:pt x="21198" y="114186"/>
                    <a:pt x="21577" y="114809"/>
                    <a:pt x="21577" y="114809"/>
                  </a:cubicBezTo>
                  <a:cubicBezTo>
                    <a:pt x="21577" y="114809"/>
                    <a:pt x="21955" y="115224"/>
                    <a:pt x="22334" y="115432"/>
                  </a:cubicBezTo>
                  <a:cubicBezTo>
                    <a:pt x="22334" y="115432"/>
                    <a:pt x="22334" y="115847"/>
                    <a:pt x="22334" y="115847"/>
                  </a:cubicBezTo>
                  <a:close/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3175" cap="flat" cmpd="sng">
              <a:solidFill>
                <a:srgbClr val="FFFFFF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</p:grpSp>
      <p:sp>
        <p:nvSpPr>
          <p:cNvPr id="57" name="Title 56"/>
          <p:cNvSpPr>
            <a:spLocks noGrp="1"/>
          </p:cNvSpPr>
          <p:nvPr>
            <p:ph type="title"/>
          </p:nvPr>
        </p:nvSpPr>
        <p:spPr>
          <a:xfrm>
            <a:off x="587298" y="293579"/>
            <a:ext cx="10515600" cy="739056"/>
          </a:xfrm>
        </p:spPr>
        <p:txBody>
          <a:bodyPr/>
          <a:lstStyle/>
          <a:p>
            <a:r>
              <a:rPr lang="en-US"/>
              <a:t>Where we started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DBDD2848-2226-4BC7-8465-88EBDCBE3C27}"/>
              </a:ext>
            </a:extLst>
          </p:cNvPr>
          <p:cNvSpPr/>
          <p:nvPr/>
        </p:nvSpPr>
        <p:spPr bwMode="auto">
          <a:xfrm>
            <a:off x="2191658" y="6001655"/>
            <a:ext cx="1277256" cy="26125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lIns="82800" tIns="46800" rIns="82800" bIns="46800" rtlCol="0" anchor="ctr"/>
          <a:lstStyle>
            <a:defPPr>
              <a:defRPr lang="de-DE"/>
            </a:defPPr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entral Region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772686CE-AFA4-4A61-8A5C-C2CA3D64A19C}"/>
              </a:ext>
            </a:extLst>
          </p:cNvPr>
          <p:cNvSpPr/>
          <p:nvPr/>
        </p:nvSpPr>
        <p:spPr bwMode="auto">
          <a:xfrm>
            <a:off x="2191657" y="6273797"/>
            <a:ext cx="1277256" cy="261258"/>
          </a:xfrm>
          <a:prstGeom prst="round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txBody>
          <a:bodyPr lIns="82800" tIns="46800" rIns="82800" bIns="46800" rtlCol="0" anchor="ctr"/>
          <a:lstStyle>
            <a:defPPr>
              <a:defRPr lang="de-DE"/>
            </a:defPPr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orthern Region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B0A09BA5-35D0-45CE-90C0-BF51345850D9}"/>
              </a:ext>
            </a:extLst>
          </p:cNvPr>
          <p:cNvSpPr/>
          <p:nvPr/>
        </p:nvSpPr>
        <p:spPr bwMode="auto">
          <a:xfrm>
            <a:off x="2191656" y="6555010"/>
            <a:ext cx="1277256" cy="26125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txBody>
          <a:bodyPr lIns="82800" tIns="46800" rIns="82800" bIns="46800" rtlCol="0" anchor="ctr"/>
          <a:lstStyle>
            <a:defPPr>
              <a:defRPr lang="de-DE"/>
            </a:defPPr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UIType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Western Reg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8B1CD8B-6730-CF44-8C82-B6553B5BFABA}"/>
              </a:ext>
            </a:extLst>
          </p:cNvPr>
          <p:cNvGrpSpPr/>
          <p:nvPr/>
        </p:nvGrpSpPr>
        <p:grpSpPr>
          <a:xfrm>
            <a:off x="6150648" y="1839685"/>
            <a:ext cx="5435380" cy="871008"/>
            <a:chOff x="6150648" y="1839685"/>
            <a:chExt cx="5435380" cy="871008"/>
          </a:xfrm>
        </p:grpSpPr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AC543207-4950-804C-AD97-3E84F26D8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0648" y="1977536"/>
              <a:ext cx="463934" cy="463934"/>
            </a:xfrm>
            <a:prstGeom prst="rect">
              <a:avLst/>
            </a:prstGeom>
          </p:spPr>
        </p:pic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DA866049-006A-0F44-8759-E673443FBD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72272" y="2073493"/>
              <a:ext cx="1181229" cy="203390"/>
            </a:xfrm>
            <a:prstGeom prst="rect">
              <a:avLst/>
            </a:prstGeom>
          </p:spPr>
        </p:pic>
        <p:pic>
          <p:nvPicPr>
            <p:cNvPr id="95" name="Grafik 94">
              <a:extLst>
                <a:ext uri="{FF2B5EF4-FFF2-40B4-BE49-F238E27FC236}">
                  <a16:creationId xmlns:a16="http://schemas.microsoft.com/office/drawing/2014/main" id="{2A026191-875F-D54B-A32D-7497083D5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2886" y="2325811"/>
              <a:ext cx="736278" cy="240090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B4FEBB4-4CFF-4B9F-B813-7BA42FB62666}"/>
                </a:ext>
              </a:extLst>
            </p:cNvPr>
            <p:cNvSpPr txBox="1"/>
            <p:nvPr/>
          </p:nvSpPr>
          <p:spPr>
            <a:xfrm>
              <a:off x="8842828" y="1839685"/>
              <a:ext cx="2743200" cy="871008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7800" marR="0" lvl="0" indent="-177800" algn="ctr" defTabSz="1425575" rtl="0" eaLnBrk="1" fontAlgn="base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TUIType" pitchFamily="34" charset="0"/>
                <a:buNone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Segoe UI"/>
                </a:rPr>
                <a:t>Digital disruption</a:t>
              </a:r>
            </a:p>
            <a:p>
              <a:pPr marL="177800" marR="0" lvl="0" indent="-177800" algn="ctr" defTabSz="1425575" rtl="0" eaLnBrk="1" fontAlgn="base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TUIType" pitchFamily="34" charset="0"/>
                <a:buNone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Segoe UI"/>
                </a:rPr>
                <a:t>New players​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C24E6A8-7B10-B946-B7A5-DA81D8A93A59}"/>
              </a:ext>
            </a:extLst>
          </p:cNvPr>
          <p:cNvGrpSpPr/>
          <p:nvPr/>
        </p:nvGrpSpPr>
        <p:grpSpPr>
          <a:xfrm>
            <a:off x="5223329" y="4336883"/>
            <a:ext cx="5885597" cy="951718"/>
            <a:chOff x="5223329" y="4336883"/>
            <a:chExt cx="5885597" cy="951718"/>
          </a:xfrm>
        </p:grpSpPr>
        <p:pic>
          <p:nvPicPr>
            <p:cNvPr id="96" name="Grafik 95" descr="Ein Bild, das Person, drinnen, Frau, Mann enthält.&#10;&#10;Automatisch generierte Beschreibung">
              <a:extLst>
                <a:ext uri="{FF2B5EF4-FFF2-40B4-BE49-F238E27FC236}">
                  <a16:creationId xmlns:a16="http://schemas.microsoft.com/office/drawing/2014/main" id="{BE44B2B3-58AD-A246-97FF-0B8725A9DF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03575" y="4336883"/>
              <a:ext cx="1705351" cy="95171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49DF83A-FD7C-4722-B9D5-67FCEADC2038}"/>
                </a:ext>
              </a:extLst>
            </p:cNvPr>
            <p:cNvSpPr txBox="1"/>
            <p:nvPr/>
          </p:nvSpPr>
          <p:spPr>
            <a:xfrm>
              <a:off x="5223329" y="4379686"/>
              <a:ext cx="4122057" cy="871008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177800" marR="0" lvl="0" indent="-177800" algn="ctr" defTabSz="1425575" rtl="0" eaLnBrk="1" fontAlgn="base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TUIType" pitchFamily="34" charset="0"/>
                <a:buNone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New innovations</a:t>
              </a: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  <a:p>
              <a:pPr marL="177800" marR="0" lvl="0" indent="-177800" algn="ctr" defTabSz="1425575" rtl="0" eaLnBrk="0" fontAlgn="base" latinLnBrk="0" hangingPunct="0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70000"/>
                <a:buFont typeface="TUIType" pitchFamily="34" charset="0"/>
                <a:buNone/>
                <a:tabLst>
                  <a:tab pos="266700" algn="l"/>
                  <a:tab pos="2085975" algn="l"/>
                  <a:tab pos="4171950" algn="l"/>
                  <a:tab pos="6267450" algn="l"/>
                </a:tabLst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Leading instead of react​</a:t>
              </a:r>
              <a:r>
                <a:rPr kumimoji="0" lang="en-US" sz="2400" b="1" i="0" u="none" strike="noStrike" kern="1200" cap="none" spc="0" normalizeH="0" baseline="0" noProof="0" err="1">
                  <a:ln>
                    <a:noFill/>
                  </a:ln>
                  <a:solidFill>
                    <a:srgbClr val="092A5E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ing</a:t>
              </a: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53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5AD33200-53E4-D842-AC3C-1B5056CA4AEB}"/>
              </a:ext>
            </a:extLst>
          </p:cNvPr>
          <p:cNvSpPr txBox="1"/>
          <p:nvPr/>
        </p:nvSpPr>
        <p:spPr>
          <a:xfrm>
            <a:off x="6920032" y="1340585"/>
            <a:ext cx="5271968" cy="2749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3-4 years migration to new TRIPS system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Business harmonization over time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Upskilling / Skill shift in workforce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249C942A-41D8-624D-BF5B-1FEED13763A7}"/>
              </a:ext>
            </a:extLst>
          </p:cNvPr>
          <p:cNvSpPr txBox="1">
            <a:spLocks/>
          </p:cNvSpPr>
          <p:nvPr/>
        </p:nvSpPr>
        <p:spPr bwMode="gray">
          <a:xfrm>
            <a:off x="6503176" y="474935"/>
            <a:ext cx="6105680" cy="799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29890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539" b="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2pPr>
            <a:lvl3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3pPr>
            <a:lvl4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4pPr>
            <a:lvl5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5pPr>
            <a:lvl6pPr marL="483626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6pPr>
            <a:lvl7pPr marL="967252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7pPr>
            <a:lvl8pPr marL="1450878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8pPr>
            <a:lvl9pPr marL="1934505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9pPr>
          </a:lstStyle>
          <a:p>
            <a:pPr marL="0" marR="0" lvl="0" indent="0" algn="ctr" defTabSz="29890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98908" algn="l"/>
              </a:tabLst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j-ea"/>
                <a:cs typeface="+mj-cs"/>
              </a:rPr>
              <a:t>The plan to transform</a:t>
            </a:r>
          </a:p>
        </p:txBody>
      </p:sp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AA1E1017-AD4C-364F-B1CB-19511130370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706906">
            <a:off x="8399684" y="4179242"/>
            <a:ext cx="1426309" cy="2377181"/>
          </a:xfrm>
          <a:prstGeom prst="rect">
            <a:avLst/>
          </a:prstGeom>
        </p:spPr>
      </p:pic>
      <p:pic>
        <p:nvPicPr>
          <p:cNvPr id="15" name="Grafik 14" descr="Ein Bild, das Text enthält.&#10;&#10;Automatisch generierte Beschreibung">
            <a:extLst>
              <a:ext uri="{FF2B5EF4-FFF2-40B4-BE49-F238E27FC236}">
                <a16:creationId xmlns:a16="http://schemas.microsoft.com/office/drawing/2014/main" id="{7AAD7266-F919-144A-B0B5-8E225F8C3EE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67901">
            <a:off x="8492314" y="4376701"/>
            <a:ext cx="1756057" cy="2377181"/>
          </a:xfrm>
          <a:prstGeom prst="rect">
            <a:avLst/>
          </a:prstGeom>
        </p:spPr>
      </p:pic>
      <p:pic>
        <p:nvPicPr>
          <p:cNvPr id="19" name="Grafik 18" descr="Ein Bild, das Text, Person, stehend, darstellend enthält.&#10;&#10;Automatisch generierte Beschreibung">
            <a:extLst>
              <a:ext uri="{FF2B5EF4-FFF2-40B4-BE49-F238E27FC236}">
                <a16:creationId xmlns:a16="http://schemas.microsoft.com/office/drawing/2014/main" id="{475E385A-0CDA-A543-8F74-5B1B2587E3F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70601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Picture 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"/>
          <a:stretch/>
        </p:blipFill>
        <p:spPr>
          <a:xfrm rot="5400000">
            <a:off x="5900921" y="568973"/>
            <a:ext cx="6855218" cy="5722836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17C113-278A-5649-839A-08CF465BA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41" y="274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17C113-278A-5649-839A-08CF465BA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641" y="274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CE9F5CB-0A3D-EC46-A6F4-AD5C5A5C83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53" y="1154"/>
            <a:ext cx="158697" cy="1586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486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 panose="020B0304030202020203" pitchFamily="34" charset="0"/>
              <a:ea typeface="+mn-ea"/>
              <a:cs typeface="+mn-cs"/>
              <a:sym typeface="TUITypeLight" panose="020B0304030202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E70EBC4-EE4F-A14E-AA9F-9451BC2C44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6762" y="326863"/>
            <a:ext cx="4646734" cy="1570590"/>
          </a:xfrm>
        </p:spPr>
        <p:txBody>
          <a:bodyPr/>
          <a:lstStyle/>
          <a:p>
            <a:r>
              <a:rPr lang="de-DE" sz="5077" err="1"/>
              <a:t>Skill</a:t>
            </a:r>
            <a:r>
              <a:rPr lang="de-DE" sz="5077"/>
              <a:t> </a:t>
            </a:r>
            <a:r>
              <a:rPr lang="de-DE" sz="5077" err="1"/>
              <a:t>Shortage</a:t>
            </a:r>
            <a:br>
              <a:rPr lang="de-DE" sz="5077"/>
            </a:br>
            <a:r>
              <a:rPr lang="de-DE" sz="1904"/>
              <a:t>… </a:t>
            </a:r>
            <a:r>
              <a:rPr lang="de-DE" sz="1904" err="1"/>
              <a:t>by</a:t>
            </a:r>
            <a:r>
              <a:rPr lang="de-DE" sz="1904"/>
              <a:t> 2025:</a:t>
            </a:r>
            <a:br>
              <a:rPr lang="de-DE" sz="1200"/>
            </a:br>
            <a:endParaRPr lang="de-DE" sz="1200"/>
          </a:p>
        </p:txBody>
      </p:sp>
      <p:pic>
        <p:nvPicPr>
          <p:cNvPr id="18" name="Grafik 2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03856" y="6566172"/>
            <a:ext cx="358137" cy="286509"/>
          </a:xfrm>
          <a:prstGeom prst="rect">
            <a:avLst/>
          </a:prstGeom>
        </p:spPr>
      </p:pic>
      <p:sp>
        <p:nvSpPr>
          <p:cNvPr id="44" name="Tekstvak 9"/>
          <p:cNvSpPr txBox="1"/>
          <p:nvPr/>
        </p:nvSpPr>
        <p:spPr>
          <a:xfrm>
            <a:off x="810428" y="3381188"/>
            <a:ext cx="1216982" cy="1088387"/>
          </a:xfrm>
          <a:prstGeom prst="rect">
            <a:avLst/>
          </a:prstGeom>
          <a:noFill/>
        </p:spPr>
        <p:txBody>
          <a:bodyPr wrap="square" lIns="38080" rIns="38080" numCol="1" rtlCol="0">
            <a:noAutofit/>
          </a:bodyPr>
          <a:lstStyle/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nl-NL" sz="1481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50%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of employees </a:t>
            </a: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eed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to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move </a:t>
            </a: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into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nl-NL" sz="1481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ew </a:t>
            </a:r>
            <a:r>
              <a:rPr kumimoji="0" lang="nl-NL" sz="1481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oles</a:t>
            </a:r>
            <a:endParaRPr kumimoji="0" lang="nl-NL" sz="1481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grpSp>
        <p:nvGrpSpPr>
          <p:cNvPr id="49" name="Gruppieren 48"/>
          <p:cNvGrpSpPr/>
          <p:nvPr/>
        </p:nvGrpSpPr>
        <p:grpSpPr>
          <a:xfrm>
            <a:off x="964016" y="2493988"/>
            <a:ext cx="927683" cy="711188"/>
            <a:chOff x="2986354" y="980196"/>
            <a:chExt cx="829094" cy="635607"/>
          </a:xfrm>
        </p:grpSpPr>
        <p:sp>
          <p:nvSpPr>
            <p:cNvPr id="55" name="Freeform 5"/>
            <p:cNvSpPr>
              <a:spLocks noChangeAspect="1" noEditPoints="1"/>
            </p:cNvSpPr>
            <p:nvPr/>
          </p:nvSpPr>
          <p:spPr bwMode="gray">
            <a:xfrm>
              <a:off x="2986354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5"/>
            <p:cNvSpPr>
              <a:spLocks noChangeAspect="1" noEditPoints="1"/>
            </p:cNvSpPr>
            <p:nvPr/>
          </p:nvSpPr>
          <p:spPr bwMode="gray">
            <a:xfrm>
              <a:off x="3201333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5"/>
            <p:cNvSpPr>
              <a:spLocks noChangeAspect="1" noEditPoints="1"/>
            </p:cNvSpPr>
            <p:nvPr/>
          </p:nvSpPr>
          <p:spPr bwMode="gray">
            <a:xfrm>
              <a:off x="3416312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8" name="Freeform 5"/>
            <p:cNvSpPr>
              <a:spLocks noChangeAspect="1" noEditPoints="1"/>
            </p:cNvSpPr>
            <p:nvPr/>
          </p:nvSpPr>
          <p:spPr bwMode="gray">
            <a:xfrm>
              <a:off x="3631290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9" name="Freeform 5"/>
            <p:cNvSpPr>
              <a:spLocks noChangeAspect="1" noEditPoints="1"/>
            </p:cNvSpPr>
            <p:nvPr/>
          </p:nvSpPr>
          <p:spPr bwMode="gray">
            <a:xfrm>
              <a:off x="3093842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0" name="Freeform 5"/>
            <p:cNvSpPr>
              <a:spLocks noChangeAspect="1" noEditPoints="1"/>
            </p:cNvSpPr>
            <p:nvPr/>
          </p:nvSpPr>
          <p:spPr bwMode="gray">
            <a:xfrm>
              <a:off x="3308821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1" name="Freeform 5"/>
            <p:cNvSpPr>
              <a:spLocks noChangeAspect="1" noEditPoints="1"/>
            </p:cNvSpPr>
            <p:nvPr/>
          </p:nvSpPr>
          <p:spPr bwMode="gray">
            <a:xfrm>
              <a:off x="3523797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 5"/>
            <p:cNvSpPr>
              <a:spLocks noChangeAspect="1" noEditPoints="1"/>
            </p:cNvSpPr>
            <p:nvPr/>
          </p:nvSpPr>
          <p:spPr bwMode="gray">
            <a:xfrm>
              <a:off x="3738778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 5"/>
            <p:cNvSpPr>
              <a:spLocks noChangeAspect="1" noEditPoints="1"/>
            </p:cNvSpPr>
            <p:nvPr/>
          </p:nvSpPr>
          <p:spPr bwMode="gray">
            <a:xfrm>
              <a:off x="2986354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 5"/>
            <p:cNvSpPr>
              <a:spLocks noChangeAspect="1" noEditPoints="1"/>
            </p:cNvSpPr>
            <p:nvPr/>
          </p:nvSpPr>
          <p:spPr bwMode="gray">
            <a:xfrm>
              <a:off x="3201333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5" name="Freeform 5"/>
            <p:cNvSpPr>
              <a:spLocks noChangeAspect="1" noEditPoints="1"/>
            </p:cNvSpPr>
            <p:nvPr/>
          </p:nvSpPr>
          <p:spPr bwMode="gray">
            <a:xfrm>
              <a:off x="3416312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6" name="Freeform 5"/>
            <p:cNvSpPr>
              <a:spLocks noChangeAspect="1" noEditPoints="1"/>
            </p:cNvSpPr>
            <p:nvPr/>
          </p:nvSpPr>
          <p:spPr bwMode="gray">
            <a:xfrm>
              <a:off x="3631290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 5"/>
            <p:cNvSpPr>
              <a:spLocks noChangeAspect="1" noEditPoints="1"/>
            </p:cNvSpPr>
            <p:nvPr/>
          </p:nvSpPr>
          <p:spPr bwMode="gray">
            <a:xfrm>
              <a:off x="3093842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5"/>
            <p:cNvSpPr>
              <a:spLocks noChangeAspect="1" noEditPoints="1"/>
            </p:cNvSpPr>
            <p:nvPr/>
          </p:nvSpPr>
          <p:spPr bwMode="gray">
            <a:xfrm>
              <a:off x="3308821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69" name="Freeform 5"/>
            <p:cNvSpPr>
              <a:spLocks noChangeAspect="1" noEditPoints="1"/>
            </p:cNvSpPr>
            <p:nvPr/>
          </p:nvSpPr>
          <p:spPr bwMode="gray">
            <a:xfrm>
              <a:off x="3523797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0" name="Freeform 5"/>
            <p:cNvSpPr>
              <a:spLocks noChangeAspect="1" noEditPoints="1"/>
            </p:cNvSpPr>
            <p:nvPr/>
          </p:nvSpPr>
          <p:spPr bwMode="gray">
            <a:xfrm>
              <a:off x="3738778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1" name="Freeform 5"/>
            <p:cNvSpPr>
              <a:spLocks noChangeAspect="1" noEditPoints="1"/>
            </p:cNvSpPr>
            <p:nvPr/>
          </p:nvSpPr>
          <p:spPr bwMode="gray">
            <a:xfrm>
              <a:off x="2986354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2" name="Freeform 5"/>
            <p:cNvSpPr>
              <a:spLocks noChangeAspect="1" noEditPoints="1"/>
            </p:cNvSpPr>
            <p:nvPr/>
          </p:nvSpPr>
          <p:spPr bwMode="gray">
            <a:xfrm>
              <a:off x="3201333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3" name="Freeform 5"/>
            <p:cNvSpPr>
              <a:spLocks noChangeAspect="1" noEditPoints="1"/>
            </p:cNvSpPr>
            <p:nvPr/>
          </p:nvSpPr>
          <p:spPr bwMode="gray">
            <a:xfrm>
              <a:off x="3416312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4" name="Freeform 5"/>
            <p:cNvSpPr>
              <a:spLocks noChangeAspect="1" noEditPoints="1"/>
            </p:cNvSpPr>
            <p:nvPr/>
          </p:nvSpPr>
          <p:spPr bwMode="gray">
            <a:xfrm>
              <a:off x="3631290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5" name="Freeform 5"/>
            <p:cNvSpPr>
              <a:spLocks noChangeAspect="1" noEditPoints="1"/>
            </p:cNvSpPr>
            <p:nvPr/>
          </p:nvSpPr>
          <p:spPr bwMode="gray">
            <a:xfrm>
              <a:off x="3093842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6" name="Freeform 5"/>
            <p:cNvSpPr>
              <a:spLocks noChangeAspect="1" noEditPoints="1"/>
            </p:cNvSpPr>
            <p:nvPr/>
          </p:nvSpPr>
          <p:spPr bwMode="gray">
            <a:xfrm>
              <a:off x="3308821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7" name="Freeform 5"/>
            <p:cNvSpPr>
              <a:spLocks noChangeAspect="1" noEditPoints="1"/>
            </p:cNvSpPr>
            <p:nvPr/>
          </p:nvSpPr>
          <p:spPr bwMode="gray">
            <a:xfrm>
              <a:off x="3523797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8" name="Freeform 5"/>
            <p:cNvSpPr>
              <a:spLocks noChangeAspect="1" noEditPoints="1"/>
            </p:cNvSpPr>
            <p:nvPr/>
          </p:nvSpPr>
          <p:spPr bwMode="gray">
            <a:xfrm>
              <a:off x="3738778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</p:grpSp>
      <p:sp>
        <p:nvSpPr>
          <p:cNvPr id="33" name="Tekstvak 9"/>
          <p:cNvSpPr txBox="1"/>
          <p:nvPr/>
        </p:nvSpPr>
        <p:spPr>
          <a:xfrm>
            <a:off x="2572355" y="3381188"/>
            <a:ext cx="1255549" cy="1088387"/>
          </a:xfrm>
          <a:prstGeom prst="rect">
            <a:avLst/>
          </a:prstGeom>
          <a:noFill/>
        </p:spPr>
        <p:txBody>
          <a:bodyPr wrap="square" lIns="38080" rIns="38080" numCol="1" rtlCol="0">
            <a:noAutofit/>
          </a:bodyPr>
          <a:lstStyle/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When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emaining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in </a:t>
            </a: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current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nl-NL" sz="1481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ole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: </a:t>
            </a:r>
            <a:r>
              <a:rPr kumimoji="0" lang="nl-NL" sz="1481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update ≤40% </a:t>
            </a:r>
          </a:p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nl-NL" sz="1481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of </a:t>
            </a:r>
            <a:r>
              <a:rPr kumimoji="0" lang="nl-NL" sz="1481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skill</a:t>
            </a:r>
            <a:r>
              <a:rPr kumimoji="0" lang="nl-NL" sz="1481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set</a:t>
            </a:r>
          </a:p>
        </p:txBody>
      </p:sp>
      <p:grpSp>
        <p:nvGrpSpPr>
          <p:cNvPr id="34" name="Gruppieren 33"/>
          <p:cNvGrpSpPr/>
          <p:nvPr/>
        </p:nvGrpSpPr>
        <p:grpSpPr>
          <a:xfrm flipH="1">
            <a:off x="2710617" y="2493988"/>
            <a:ext cx="927683" cy="711188"/>
            <a:chOff x="2986354" y="980196"/>
            <a:chExt cx="829094" cy="635607"/>
          </a:xfrm>
        </p:grpSpPr>
        <p:sp>
          <p:nvSpPr>
            <p:cNvPr id="35" name="Freeform 5"/>
            <p:cNvSpPr>
              <a:spLocks noChangeAspect="1" noEditPoints="1"/>
            </p:cNvSpPr>
            <p:nvPr/>
          </p:nvSpPr>
          <p:spPr bwMode="gray">
            <a:xfrm>
              <a:off x="2986354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 5"/>
            <p:cNvSpPr>
              <a:spLocks noChangeAspect="1" noEditPoints="1"/>
            </p:cNvSpPr>
            <p:nvPr/>
          </p:nvSpPr>
          <p:spPr bwMode="gray">
            <a:xfrm>
              <a:off x="3201333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 5"/>
            <p:cNvSpPr>
              <a:spLocks noChangeAspect="1" noEditPoints="1"/>
            </p:cNvSpPr>
            <p:nvPr/>
          </p:nvSpPr>
          <p:spPr bwMode="gray">
            <a:xfrm>
              <a:off x="3416312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38" name="Freeform 5"/>
            <p:cNvSpPr>
              <a:spLocks noChangeAspect="1" noEditPoints="1"/>
            </p:cNvSpPr>
            <p:nvPr/>
          </p:nvSpPr>
          <p:spPr bwMode="gray">
            <a:xfrm>
              <a:off x="3631290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39" name="Freeform 5"/>
            <p:cNvSpPr>
              <a:spLocks noChangeAspect="1" noEditPoints="1"/>
            </p:cNvSpPr>
            <p:nvPr/>
          </p:nvSpPr>
          <p:spPr bwMode="gray">
            <a:xfrm>
              <a:off x="3093842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0" name="Freeform 5"/>
            <p:cNvSpPr>
              <a:spLocks noChangeAspect="1" noEditPoints="1"/>
            </p:cNvSpPr>
            <p:nvPr/>
          </p:nvSpPr>
          <p:spPr bwMode="gray">
            <a:xfrm>
              <a:off x="3308821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1" name="Freeform 5"/>
            <p:cNvSpPr>
              <a:spLocks noChangeAspect="1" noEditPoints="1"/>
            </p:cNvSpPr>
            <p:nvPr/>
          </p:nvSpPr>
          <p:spPr bwMode="gray">
            <a:xfrm>
              <a:off x="3523797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2" name="Freeform 5"/>
            <p:cNvSpPr>
              <a:spLocks noChangeAspect="1" noEditPoints="1"/>
            </p:cNvSpPr>
            <p:nvPr/>
          </p:nvSpPr>
          <p:spPr bwMode="gray">
            <a:xfrm>
              <a:off x="3738778" y="1427090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3" name="Freeform 5"/>
            <p:cNvSpPr>
              <a:spLocks noChangeAspect="1" noEditPoints="1"/>
            </p:cNvSpPr>
            <p:nvPr/>
          </p:nvSpPr>
          <p:spPr bwMode="gray">
            <a:xfrm>
              <a:off x="2986354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5" name="Freeform 5"/>
            <p:cNvSpPr>
              <a:spLocks noChangeAspect="1" noEditPoints="1"/>
            </p:cNvSpPr>
            <p:nvPr/>
          </p:nvSpPr>
          <p:spPr bwMode="gray">
            <a:xfrm>
              <a:off x="3201333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6" name="Freeform 5"/>
            <p:cNvSpPr>
              <a:spLocks noChangeAspect="1" noEditPoints="1"/>
            </p:cNvSpPr>
            <p:nvPr/>
          </p:nvSpPr>
          <p:spPr bwMode="gray">
            <a:xfrm>
              <a:off x="3416312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7" name="Freeform 5"/>
            <p:cNvSpPr>
              <a:spLocks noChangeAspect="1" noEditPoints="1"/>
            </p:cNvSpPr>
            <p:nvPr/>
          </p:nvSpPr>
          <p:spPr bwMode="gray">
            <a:xfrm>
              <a:off x="3631290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48" name="Freeform 5"/>
            <p:cNvSpPr>
              <a:spLocks noChangeAspect="1" noEditPoints="1"/>
            </p:cNvSpPr>
            <p:nvPr/>
          </p:nvSpPr>
          <p:spPr bwMode="gray">
            <a:xfrm>
              <a:off x="3093842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0" name="Freeform 5"/>
            <p:cNvSpPr>
              <a:spLocks noChangeAspect="1" noEditPoints="1"/>
            </p:cNvSpPr>
            <p:nvPr/>
          </p:nvSpPr>
          <p:spPr bwMode="gray">
            <a:xfrm>
              <a:off x="3308821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5"/>
            <p:cNvSpPr>
              <a:spLocks noChangeAspect="1" noEditPoints="1"/>
            </p:cNvSpPr>
            <p:nvPr/>
          </p:nvSpPr>
          <p:spPr bwMode="gray">
            <a:xfrm>
              <a:off x="3523797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5"/>
            <p:cNvSpPr>
              <a:spLocks noChangeAspect="1" noEditPoints="1"/>
            </p:cNvSpPr>
            <p:nvPr/>
          </p:nvSpPr>
          <p:spPr bwMode="gray">
            <a:xfrm>
              <a:off x="3738778" y="1203643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5"/>
            <p:cNvSpPr>
              <a:spLocks noChangeAspect="1" noEditPoints="1"/>
            </p:cNvSpPr>
            <p:nvPr/>
          </p:nvSpPr>
          <p:spPr bwMode="gray">
            <a:xfrm>
              <a:off x="2986354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5"/>
            <p:cNvSpPr>
              <a:spLocks noChangeAspect="1" noEditPoints="1"/>
            </p:cNvSpPr>
            <p:nvPr/>
          </p:nvSpPr>
          <p:spPr bwMode="gray">
            <a:xfrm>
              <a:off x="3201333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79" name="Freeform 5"/>
            <p:cNvSpPr>
              <a:spLocks noChangeAspect="1" noEditPoints="1"/>
            </p:cNvSpPr>
            <p:nvPr/>
          </p:nvSpPr>
          <p:spPr bwMode="gray">
            <a:xfrm>
              <a:off x="3416312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80" name="Freeform 5"/>
            <p:cNvSpPr>
              <a:spLocks noChangeAspect="1" noEditPoints="1"/>
            </p:cNvSpPr>
            <p:nvPr/>
          </p:nvSpPr>
          <p:spPr bwMode="gray">
            <a:xfrm>
              <a:off x="3631290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81" name="Freeform 5"/>
            <p:cNvSpPr>
              <a:spLocks noChangeAspect="1" noEditPoints="1"/>
            </p:cNvSpPr>
            <p:nvPr/>
          </p:nvSpPr>
          <p:spPr bwMode="gray">
            <a:xfrm>
              <a:off x="3093842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82" name="Freeform 5"/>
            <p:cNvSpPr>
              <a:spLocks noChangeAspect="1" noEditPoints="1"/>
            </p:cNvSpPr>
            <p:nvPr/>
          </p:nvSpPr>
          <p:spPr bwMode="gray">
            <a:xfrm>
              <a:off x="3308821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83" name="Freeform 5"/>
            <p:cNvSpPr>
              <a:spLocks noChangeAspect="1" noEditPoints="1"/>
            </p:cNvSpPr>
            <p:nvPr/>
          </p:nvSpPr>
          <p:spPr bwMode="gray">
            <a:xfrm>
              <a:off x="3523797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84" name="Freeform 5"/>
            <p:cNvSpPr>
              <a:spLocks noChangeAspect="1" noEditPoints="1"/>
            </p:cNvSpPr>
            <p:nvPr/>
          </p:nvSpPr>
          <p:spPr bwMode="gray">
            <a:xfrm>
              <a:off x="3738778" y="98019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</p:grpSp>
      <p:sp>
        <p:nvSpPr>
          <p:cNvPr id="85" name="Tekstvak 9"/>
          <p:cNvSpPr txBox="1"/>
          <p:nvPr/>
        </p:nvSpPr>
        <p:spPr>
          <a:xfrm>
            <a:off x="4366710" y="3381188"/>
            <a:ext cx="1255549" cy="1088387"/>
          </a:xfrm>
          <a:prstGeom prst="rect">
            <a:avLst/>
          </a:prstGeom>
          <a:noFill/>
        </p:spPr>
        <p:txBody>
          <a:bodyPr wrap="square" lIns="38080" rIns="38080" numCol="1" rtlCol="0">
            <a:noAutofit/>
          </a:bodyPr>
          <a:lstStyle/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nl-NL" sz="1481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Train over 70% </a:t>
            </a:r>
            <a:r>
              <a:rPr kumimoji="0" lang="nl-NL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of employees  </a:t>
            </a:r>
            <a:endParaRPr kumimoji="0" lang="nl-NL" sz="1481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grpSp>
        <p:nvGrpSpPr>
          <p:cNvPr id="86" name="Gruppieren 85"/>
          <p:cNvGrpSpPr/>
          <p:nvPr/>
        </p:nvGrpSpPr>
        <p:grpSpPr>
          <a:xfrm>
            <a:off x="4378833" y="2762882"/>
            <a:ext cx="1269361" cy="219023"/>
            <a:chOff x="2898463" y="974682"/>
            <a:chExt cx="1134460" cy="195747"/>
          </a:xfrm>
        </p:grpSpPr>
        <p:sp>
          <p:nvSpPr>
            <p:cNvPr id="100" name="Freeform 5"/>
            <p:cNvSpPr>
              <a:spLocks noChangeAspect="1" noEditPoints="1"/>
            </p:cNvSpPr>
            <p:nvPr/>
          </p:nvSpPr>
          <p:spPr bwMode="gray">
            <a:xfrm>
              <a:off x="3364415" y="974682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3" name="Freeform 5"/>
            <p:cNvSpPr>
              <a:spLocks noChangeAspect="1" noEditPoints="1"/>
            </p:cNvSpPr>
            <p:nvPr/>
          </p:nvSpPr>
          <p:spPr bwMode="gray">
            <a:xfrm>
              <a:off x="2898463" y="976821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4" name="Freeform 5"/>
            <p:cNvSpPr>
              <a:spLocks noChangeAspect="1" noEditPoints="1"/>
            </p:cNvSpPr>
            <p:nvPr/>
          </p:nvSpPr>
          <p:spPr bwMode="gray">
            <a:xfrm>
              <a:off x="3132177" y="975244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5" name="Freeform 5"/>
            <p:cNvSpPr>
              <a:spLocks noChangeAspect="1" noEditPoints="1"/>
            </p:cNvSpPr>
            <p:nvPr/>
          </p:nvSpPr>
          <p:spPr bwMode="gray">
            <a:xfrm>
              <a:off x="3598289" y="975244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6" name="Freeform 5"/>
            <p:cNvSpPr>
              <a:spLocks noChangeAspect="1" noEditPoints="1"/>
            </p:cNvSpPr>
            <p:nvPr/>
          </p:nvSpPr>
          <p:spPr bwMode="gray">
            <a:xfrm>
              <a:off x="3837892" y="98171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7" name="Freeform 5"/>
            <p:cNvSpPr>
              <a:spLocks noChangeAspect="1" noEditPoints="1"/>
            </p:cNvSpPr>
            <p:nvPr/>
          </p:nvSpPr>
          <p:spPr bwMode="gray">
            <a:xfrm>
              <a:off x="3014226" y="975244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8" name="Freeform 5"/>
            <p:cNvSpPr>
              <a:spLocks noChangeAspect="1" noEditPoints="1"/>
            </p:cNvSpPr>
            <p:nvPr/>
          </p:nvSpPr>
          <p:spPr bwMode="gray">
            <a:xfrm>
              <a:off x="3250680" y="975244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09" name="Freeform 5"/>
            <p:cNvSpPr>
              <a:spLocks noChangeAspect="1" noEditPoints="1"/>
            </p:cNvSpPr>
            <p:nvPr/>
          </p:nvSpPr>
          <p:spPr bwMode="gray">
            <a:xfrm>
              <a:off x="3716650" y="981716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  <p:sp>
          <p:nvSpPr>
            <p:cNvPr id="110" name="Freeform 5"/>
            <p:cNvSpPr>
              <a:spLocks noChangeAspect="1" noEditPoints="1"/>
            </p:cNvSpPr>
            <p:nvPr/>
          </p:nvSpPr>
          <p:spPr bwMode="gray">
            <a:xfrm>
              <a:off x="3956253" y="975244"/>
              <a:ext cx="76670" cy="188713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 vert="horz" wrap="square" lIns="102313" tIns="51157" rIns="102313" bIns="5115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023159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7373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de-DE" sz="2686" b="0" i="0" u="none" strike="noStrike" kern="120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" pitchFamily="34" charset="0"/>
                <a:ea typeface="+mn-ea"/>
                <a:cs typeface="+mn-cs"/>
              </a:endParaRPr>
            </a:p>
          </p:txBody>
        </p:sp>
      </p:grpSp>
      <p:sp>
        <p:nvSpPr>
          <p:cNvPr id="111" name="Freeform 5"/>
          <p:cNvSpPr>
            <a:spLocks noChangeAspect="1" noEditPoints="1"/>
          </p:cNvSpPr>
          <p:nvPr/>
        </p:nvSpPr>
        <p:spPr bwMode="gray">
          <a:xfrm>
            <a:off x="5029440" y="2762883"/>
            <a:ext cx="85786" cy="211153"/>
          </a:xfrm>
          <a:custGeom>
            <a:avLst/>
            <a:gdLst>
              <a:gd name="T0" fmla="*/ 195 w 721"/>
              <a:gd name="T1" fmla="*/ 161 h 1779"/>
              <a:gd name="T2" fmla="*/ 360 w 721"/>
              <a:gd name="T3" fmla="*/ 0 h 1779"/>
              <a:gd name="T4" fmla="*/ 526 w 721"/>
              <a:gd name="T5" fmla="*/ 161 h 1779"/>
              <a:gd name="T6" fmla="*/ 360 w 721"/>
              <a:gd name="T7" fmla="*/ 369 h 1779"/>
              <a:gd name="T8" fmla="*/ 195 w 721"/>
              <a:gd name="T9" fmla="*/ 161 h 1779"/>
              <a:gd name="T10" fmla="*/ 696 w 721"/>
              <a:gd name="T11" fmla="*/ 593 h 1779"/>
              <a:gd name="T12" fmla="*/ 497 w 721"/>
              <a:gd name="T13" fmla="*/ 393 h 1779"/>
              <a:gd name="T14" fmla="*/ 360 w 721"/>
              <a:gd name="T15" fmla="*/ 449 h 1779"/>
              <a:gd name="T16" fmla="*/ 223 w 721"/>
              <a:gd name="T17" fmla="*/ 393 h 1779"/>
              <a:gd name="T18" fmla="*/ 24 w 721"/>
              <a:gd name="T19" fmla="*/ 593 h 1779"/>
              <a:gd name="T20" fmla="*/ 0 w 721"/>
              <a:gd name="T21" fmla="*/ 1031 h 1779"/>
              <a:gd name="T22" fmla="*/ 65 w 721"/>
              <a:gd name="T23" fmla="*/ 1096 h 1779"/>
              <a:gd name="T24" fmla="*/ 130 w 721"/>
              <a:gd name="T25" fmla="*/ 1031 h 1779"/>
              <a:gd name="T26" fmla="*/ 141 w 721"/>
              <a:gd name="T27" fmla="*/ 614 h 1779"/>
              <a:gd name="T28" fmla="*/ 158 w 721"/>
              <a:gd name="T29" fmla="*/ 598 h 1779"/>
              <a:gd name="T30" fmla="*/ 174 w 721"/>
              <a:gd name="T31" fmla="*/ 614 h 1779"/>
              <a:gd name="T32" fmla="*/ 174 w 721"/>
              <a:gd name="T33" fmla="*/ 1084 h 1779"/>
              <a:gd name="T34" fmla="*/ 174 w 721"/>
              <a:gd name="T35" fmla="*/ 1122 h 1779"/>
              <a:gd name="T36" fmla="*/ 177 w 721"/>
              <a:gd name="T37" fmla="*/ 1707 h 1779"/>
              <a:gd name="T38" fmla="*/ 249 w 721"/>
              <a:gd name="T39" fmla="*/ 1779 h 1779"/>
              <a:gd name="T40" fmla="*/ 321 w 721"/>
              <a:gd name="T41" fmla="*/ 1707 h 1779"/>
              <a:gd name="T42" fmla="*/ 344 w 721"/>
              <a:gd name="T43" fmla="*/ 1122 h 1779"/>
              <a:gd name="T44" fmla="*/ 360 w 721"/>
              <a:gd name="T45" fmla="*/ 1106 h 1779"/>
              <a:gd name="T46" fmla="*/ 376 w 721"/>
              <a:gd name="T47" fmla="*/ 1122 h 1779"/>
              <a:gd name="T48" fmla="*/ 399 w 721"/>
              <a:gd name="T49" fmla="*/ 1707 h 1779"/>
              <a:gd name="T50" fmla="*/ 471 w 721"/>
              <a:gd name="T51" fmla="*/ 1779 h 1779"/>
              <a:gd name="T52" fmla="*/ 544 w 721"/>
              <a:gd name="T53" fmla="*/ 1707 h 1779"/>
              <a:gd name="T54" fmla="*/ 546 w 721"/>
              <a:gd name="T55" fmla="*/ 1122 h 1779"/>
              <a:gd name="T56" fmla="*/ 546 w 721"/>
              <a:gd name="T57" fmla="*/ 1084 h 1779"/>
              <a:gd name="T58" fmla="*/ 547 w 721"/>
              <a:gd name="T59" fmla="*/ 614 h 1779"/>
              <a:gd name="T60" fmla="*/ 563 w 721"/>
              <a:gd name="T61" fmla="*/ 598 h 1779"/>
              <a:gd name="T62" fmla="*/ 579 w 721"/>
              <a:gd name="T63" fmla="*/ 614 h 1779"/>
              <a:gd name="T64" fmla="*/ 590 w 721"/>
              <a:gd name="T65" fmla="*/ 1031 h 1779"/>
              <a:gd name="T66" fmla="*/ 655 w 721"/>
              <a:gd name="T67" fmla="*/ 1096 h 1779"/>
              <a:gd name="T68" fmla="*/ 721 w 721"/>
              <a:gd name="T69" fmla="*/ 1031 h 1779"/>
              <a:gd name="T70" fmla="*/ 696 w 721"/>
              <a:gd name="T71" fmla="*/ 593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21" h="1779">
                <a:moveTo>
                  <a:pt x="195" y="161"/>
                </a:moveTo>
                <a:cubicBezTo>
                  <a:pt x="195" y="59"/>
                  <a:pt x="269" y="0"/>
                  <a:pt x="360" y="0"/>
                </a:cubicBezTo>
                <a:cubicBezTo>
                  <a:pt x="452" y="0"/>
                  <a:pt x="526" y="59"/>
                  <a:pt x="526" y="161"/>
                </a:cubicBezTo>
                <a:cubicBezTo>
                  <a:pt x="526" y="263"/>
                  <a:pt x="446" y="369"/>
                  <a:pt x="360" y="369"/>
                </a:cubicBezTo>
                <a:cubicBezTo>
                  <a:pt x="275" y="369"/>
                  <a:pt x="195" y="263"/>
                  <a:pt x="195" y="161"/>
                </a:cubicBezTo>
                <a:close/>
                <a:moveTo>
                  <a:pt x="696" y="593"/>
                </a:moveTo>
                <a:cubicBezTo>
                  <a:pt x="696" y="474"/>
                  <a:pt x="572" y="393"/>
                  <a:pt x="497" y="393"/>
                </a:cubicBezTo>
                <a:cubicBezTo>
                  <a:pt x="421" y="393"/>
                  <a:pt x="420" y="449"/>
                  <a:pt x="360" y="449"/>
                </a:cubicBezTo>
                <a:cubicBezTo>
                  <a:pt x="301" y="449"/>
                  <a:pt x="283" y="393"/>
                  <a:pt x="223" y="393"/>
                </a:cubicBezTo>
                <a:cubicBezTo>
                  <a:pt x="164" y="393"/>
                  <a:pt x="24" y="474"/>
                  <a:pt x="24" y="593"/>
                </a:cubicBezTo>
                <a:cubicBezTo>
                  <a:pt x="0" y="1031"/>
                  <a:pt x="0" y="1031"/>
                  <a:pt x="0" y="1031"/>
                </a:cubicBezTo>
                <a:cubicBezTo>
                  <a:pt x="0" y="1067"/>
                  <a:pt x="29" y="1096"/>
                  <a:pt x="65" y="1096"/>
                </a:cubicBezTo>
                <a:cubicBezTo>
                  <a:pt x="101" y="1096"/>
                  <a:pt x="130" y="1067"/>
                  <a:pt x="130" y="1031"/>
                </a:cubicBezTo>
                <a:cubicBezTo>
                  <a:pt x="141" y="614"/>
                  <a:pt x="141" y="614"/>
                  <a:pt x="141" y="614"/>
                </a:cubicBezTo>
                <a:cubicBezTo>
                  <a:pt x="141" y="605"/>
                  <a:pt x="149" y="598"/>
                  <a:pt x="158" y="598"/>
                </a:cubicBezTo>
                <a:cubicBezTo>
                  <a:pt x="166" y="598"/>
                  <a:pt x="174" y="605"/>
                  <a:pt x="174" y="614"/>
                </a:cubicBezTo>
                <a:cubicBezTo>
                  <a:pt x="174" y="1084"/>
                  <a:pt x="174" y="1084"/>
                  <a:pt x="174" y="1084"/>
                </a:cubicBezTo>
                <a:cubicBezTo>
                  <a:pt x="174" y="1122"/>
                  <a:pt x="174" y="1122"/>
                  <a:pt x="174" y="1122"/>
                </a:cubicBezTo>
                <a:cubicBezTo>
                  <a:pt x="177" y="1707"/>
                  <a:pt x="177" y="1707"/>
                  <a:pt x="177" y="1707"/>
                </a:cubicBezTo>
                <a:cubicBezTo>
                  <a:pt x="177" y="1747"/>
                  <a:pt x="209" y="1779"/>
                  <a:pt x="249" y="1779"/>
                </a:cubicBezTo>
                <a:cubicBezTo>
                  <a:pt x="289" y="1779"/>
                  <a:pt x="321" y="1747"/>
                  <a:pt x="321" y="1707"/>
                </a:cubicBezTo>
                <a:cubicBezTo>
                  <a:pt x="344" y="1122"/>
                  <a:pt x="344" y="1122"/>
                  <a:pt x="344" y="1122"/>
                </a:cubicBezTo>
                <a:cubicBezTo>
                  <a:pt x="344" y="1113"/>
                  <a:pt x="351" y="1106"/>
                  <a:pt x="360" y="1106"/>
                </a:cubicBezTo>
                <a:cubicBezTo>
                  <a:pt x="369" y="1106"/>
                  <a:pt x="376" y="1113"/>
                  <a:pt x="376" y="1122"/>
                </a:cubicBezTo>
                <a:cubicBezTo>
                  <a:pt x="399" y="1707"/>
                  <a:pt x="399" y="1707"/>
                  <a:pt x="399" y="1707"/>
                </a:cubicBezTo>
                <a:cubicBezTo>
                  <a:pt x="399" y="1747"/>
                  <a:pt x="432" y="1779"/>
                  <a:pt x="471" y="1779"/>
                </a:cubicBezTo>
                <a:cubicBezTo>
                  <a:pt x="511" y="1779"/>
                  <a:pt x="544" y="1747"/>
                  <a:pt x="544" y="1707"/>
                </a:cubicBezTo>
                <a:cubicBezTo>
                  <a:pt x="546" y="1122"/>
                  <a:pt x="546" y="1122"/>
                  <a:pt x="546" y="1122"/>
                </a:cubicBezTo>
                <a:cubicBezTo>
                  <a:pt x="546" y="1084"/>
                  <a:pt x="546" y="1084"/>
                  <a:pt x="546" y="1084"/>
                </a:cubicBezTo>
                <a:cubicBezTo>
                  <a:pt x="547" y="614"/>
                  <a:pt x="547" y="614"/>
                  <a:pt x="547" y="614"/>
                </a:cubicBezTo>
                <a:cubicBezTo>
                  <a:pt x="547" y="605"/>
                  <a:pt x="554" y="598"/>
                  <a:pt x="563" y="598"/>
                </a:cubicBezTo>
                <a:cubicBezTo>
                  <a:pt x="572" y="598"/>
                  <a:pt x="579" y="605"/>
                  <a:pt x="579" y="614"/>
                </a:cubicBezTo>
                <a:cubicBezTo>
                  <a:pt x="590" y="1031"/>
                  <a:pt x="590" y="1031"/>
                  <a:pt x="590" y="1031"/>
                </a:cubicBezTo>
                <a:cubicBezTo>
                  <a:pt x="590" y="1067"/>
                  <a:pt x="619" y="1096"/>
                  <a:pt x="655" y="1096"/>
                </a:cubicBezTo>
                <a:cubicBezTo>
                  <a:pt x="691" y="1096"/>
                  <a:pt x="721" y="1067"/>
                  <a:pt x="721" y="1031"/>
                </a:cubicBezTo>
                <a:lnTo>
                  <a:pt x="696" y="593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woPt" dir="t">
              <a:rot lat="0" lon="0" rev="8400000"/>
            </a:lightRig>
          </a:scene3d>
          <a:sp3d extrusionH="63500" prstMaterial="matte"/>
        </p:spPr>
        <p:txBody>
          <a:bodyPr vert="horz" wrap="square" lIns="102313" tIns="51157" rIns="102313" bIns="51157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23159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737373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de-DE" sz="2686" b="0" i="0" u="none" strike="noStrike" kern="120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</p:txBody>
      </p:sp>
      <p:sp>
        <p:nvSpPr>
          <p:cNvPr id="112" name="TextBox 8"/>
          <p:cNvSpPr txBox="1"/>
          <p:nvPr/>
        </p:nvSpPr>
        <p:spPr>
          <a:xfrm>
            <a:off x="771398" y="4593813"/>
            <a:ext cx="4876796" cy="30880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481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Jobs of tomorrow: DevOps Engineers and AI specialists.</a:t>
            </a:r>
          </a:p>
        </p:txBody>
      </p:sp>
      <p:sp>
        <p:nvSpPr>
          <p:cNvPr id="114" name="TextBox 8"/>
          <p:cNvSpPr txBox="1"/>
          <p:nvPr/>
        </p:nvSpPr>
        <p:spPr>
          <a:xfrm>
            <a:off x="771398" y="5306255"/>
            <a:ext cx="4876796" cy="8929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GB" sz="10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1269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692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Invest in intensive re- &amp; upskilling </a:t>
            </a:r>
          </a:p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en-GB" sz="1692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of workforce required.</a:t>
            </a:r>
          </a:p>
          <a:p>
            <a:pPr marL="0" marR="0" lvl="0" indent="0" algn="ctr" defTabSz="150797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endParaRPr kumimoji="0" lang="en-GB" sz="84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6606" y="6605690"/>
            <a:ext cx="5376716" cy="24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07973" rtl="0" eaLnBrk="1" fontAlgn="base" latinLnBrk="0" hangingPunct="1">
              <a:lnSpc>
                <a:spcPct val="95000"/>
              </a:lnSpc>
              <a:spcBef>
                <a:spcPts val="635"/>
              </a:spcBef>
              <a:spcAft>
                <a:spcPts val="0"/>
              </a:spcAft>
              <a:buClrTx/>
              <a:buSzPct val="100000"/>
              <a:buFont typeface="Wingdings" pitchFamily="2" charset="2"/>
              <a:buNone/>
              <a:tabLst>
                <a:tab pos="282115" algn="l"/>
                <a:tab pos="2206544" algn="l"/>
                <a:tab pos="4413089" algn="l"/>
                <a:tab pos="6629709" algn="l"/>
              </a:tabLst>
              <a:defRPr/>
            </a:pP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esearch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by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World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Economic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Forum 2020 „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what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will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the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future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of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jobs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de-DE" sz="1058" b="0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be</a:t>
            </a:r>
            <a:r>
              <a:rPr kumimoji="0" lang="de-DE" sz="1058" b="0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like“</a:t>
            </a:r>
          </a:p>
        </p:txBody>
      </p:sp>
    </p:spTree>
    <p:extLst>
      <p:ext uri="{BB962C8B-B14F-4D97-AF65-F5344CB8AC3E}">
        <p14:creationId xmlns:p14="http://schemas.microsoft.com/office/powerpoint/2010/main" val="134559638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alphaModFix amt="45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324F358-240B-7E48-9EFA-A6E46BDDF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…</a:t>
            </a:r>
            <a:r>
              <a:rPr lang="de-DE" b="1" err="1"/>
              <a:t>and</a:t>
            </a:r>
            <a:r>
              <a:rPr lang="de-DE" b="1"/>
              <a:t> </a:t>
            </a:r>
            <a:r>
              <a:rPr lang="de-DE" b="1" err="1"/>
              <a:t>then</a:t>
            </a:r>
            <a:r>
              <a:rPr lang="de-DE" b="1"/>
              <a:t> </a:t>
            </a:r>
            <a:r>
              <a:rPr lang="de-DE" b="1" err="1"/>
              <a:t>Covid</a:t>
            </a:r>
            <a:r>
              <a:rPr lang="de-DE" b="1"/>
              <a:t> </a:t>
            </a:r>
            <a:r>
              <a:rPr lang="de-DE" b="1" err="1"/>
              <a:t>came</a:t>
            </a:r>
            <a:r>
              <a:rPr lang="de-DE" b="1"/>
              <a:t> </a:t>
            </a:r>
            <a:r>
              <a:rPr lang="de-DE" b="1" err="1"/>
              <a:t>around</a:t>
            </a:r>
            <a:r>
              <a:rPr lang="de-DE" b="1"/>
              <a:t>: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C7011E9-347F-B74C-B66A-9CA7D04E43AE}"/>
              </a:ext>
            </a:extLst>
          </p:cNvPr>
          <p:cNvSpPr/>
          <p:nvPr/>
        </p:nvSpPr>
        <p:spPr bwMode="auto">
          <a:xfrm>
            <a:off x="8190933" y="2517075"/>
            <a:ext cx="3636000" cy="29150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1/3 loss of workforce in IT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(reduced contractors)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Furlough/reduced capacity of remaining staff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HR development paused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From 330 to 45 projects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61FCFD7-6E62-D448-B224-47AE4E89EEE3}"/>
              </a:ext>
            </a:extLst>
          </p:cNvPr>
          <p:cNvSpPr/>
          <p:nvPr/>
        </p:nvSpPr>
        <p:spPr bwMode="auto">
          <a:xfrm>
            <a:off x="338558" y="2517075"/>
            <a:ext cx="3636000" cy="2915022"/>
          </a:xfrm>
          <a:prstGeom prst="rect">
            <a:avLst/>
          </a:prstGeom>
          <a:solidFill>
            <a:schemeClr val="accent3">
              <a:lumMod val="20000"/>
              <a:lumOff val="80000"/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91%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eduction in customer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98%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 loss in turnover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Seek financial aid from the German governmen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64D7126-1770-BF47-9593-A28C958B25F8}"/>
              </a:ext>
            </a:extLst>
          </p:cNvPr>
          <p:cNvSpPr/>
          <p:nvPr/>
        </p:nvSpPr>
        <p:spPr bwMode="auto">
          <a:xfrm>
            <a:off x="4264745" y="2517075"/>
            <a:ext cx="3636000" cy="2915022"/>
          </a:xfrm>
          <a:prstGeom prst="rect">
            <a:avLst/>
          </a:prstGeom>
          <a:solidFill>
            <a:schemeClr val="accent3">
              <a:alpha val="89000"/>
            </a:schemeClr>
          </a:solidFill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et burn rate reduced by 70%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Liquidation of existing assets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Reduce cash out</a:t>
            </a: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C7011E9-347F-B74C-B66A-9CA7D04E43AE}"/>
              </a:ext>
            </a:extLst>
          </p:cNvPr>
          <p:cNvSpPr/>
          <p:nvPr/>
        </p:nvSpPr>
        <p:spPr bwMode="auto">
          <a:xfrm>
            <a:off x="8190933" y="1643315"/>
            <a:ext cx="3441600" cy="6426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A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61FCFD7-6E62-D448-B224-47AE4E89EEE3}"/>
              </a:ext>
            </a:extLst>
          </p:cNvPr>
          <p:cNvSpPr/>
          <p:nvPr/>
        </p:nvSpPr>
        <p:spPr bwMode="auto">
          <a:xfrm>
            <a:off x="338558" y="1643315"/>
            <a:ext cx="3441371" cy="642685"/>
          </a:xfrm>
          <a:prstGeom prst="rect">
            <a:avLst/>
          </a:prstGeom>
          <a:noFill/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Impacts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64D7126-1770-BF47-9593-A28C958B25F8}"/>
              </a:ext>
            </a:extLst>
          </p:cNvPr>
          <p:cNvSpPr/>
          <p:nvPr/>
        </p:nvSpPr>
        <p:spPr bwMode="auto">
          <a:xfrm>
            <a:off x="4264745" y="1643315"/>
            <a:ext cx="3441600" cy="642685"/>
          </a:xfrm>
          <a:prstGeom prst="rect">
            <a:avLst/>
          </a:prstGeom>
          <a:noFill/>
          <a:ln>
            <a:noFill/>
          </a:ln>
        </p:spPr>
        <p:txBody>
          <a:bodyPr lIns="82800" tIns="46800" rIns="82800" bIns="46800" rtlCol="0" anchor="ctr"/>
          <a:lstStyle/>
          <a:p>
            <a:pPr marL="0" marR="0" lvl="0" indent="0" algn="ctr" defTabSz="914400" rtl="0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92A5E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Goals</a:t>
            </a:r>
          </a:p>
        </p:txBody>
      </p:sp>
    </p:spTree>
    <p:extLst>
      <p:ext uri="{BB962C8B-B14F-4D97-AF65-F5344CB8AC3E}">
        <p14:creationId xmlns:p14="http://schemas.microsoft.com/office/powerpoint/2010/main" val="33355574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1" grpId="0" animBg="1"/>
      <p:bldP spid="18" grpId="0"/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" descr="CPT0213_LLWS_0156">
            <a:extLst>
              <a:ext uri="{FF2B5EF4-FFF2-40B4-BE49-F238E27FC236}">
                <a16:creationId xmlns:a16="http://schemas.microsoft.com/office/drawing/2014/main" id="{8504162C-E36C-7347-9435-F2A11FD99B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63C81B5-F253-544F-A01C-4DA9E1F9D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635582"/>
            <a:ext cx="6105680" cy="799687"/>
          </a:xfrm>
        </p:spPr>
        <p:txBody>
          <a:bodyPr anchor="ctr"/>
          <a:lstStyle/>
          <a:p>
            <a:pPr algn="ctr"/>
            <a:r>
              <a:rPr lang="de-DE" sz="3200" b="1" err="1"/>
              <a:t>What</a:t>
            </a:r>
            <a:r>
              <a:rPr lang="de-DE" sz="3200" b="1"/>
              <a:t> </a:t>
            </a:r>
            <a:r>
              <a:rPr lang="de-DE" sz="3200" b="1" err="1"/>
              <a:t>we</a:t>
            </a:r>
            <a:r>
              <a:rPr lang="de-DE" sz="3200" b="1"/>
              <a:t> </a:t>
            </a:r>
            <a:r>
              <a:rPr lang="de-DE" sz="3200" b="1" err="1"/>
              <a:t>had</a:t>
            </a:r>
            <a:r>
              <a:rPr lang="de-DE" sz="3200" b="1"/>
              <a:t> </a:t>
            </a:r>
            <a:r>
              <a:rPr lang="de-DE" sz="3200" b="1" err="1"/>
              <a:t>to</a:t>
            </a:r>
            <a:r>
              <a:rPr lang="de-DE" sz="3200" b="1"/>
              <a:t> </a:t>
            </a:r>
            <a:r>
              <a:rPr lang="de-DE" sz="3200" b="1" err="1"/>
              <a:t>cope</a:t>
            </a:r>
            <a:r>
              <a:rPr lang="de-DE" sz="3200" b="1"/>
              <a:t> </a:t>
            </a:r>
            <a:r>
              <a:rPr lang="de-DE" sz="3200" b="1" err="1"/>
              <a:t>with</a:t>
            </a:r>
            <a:r>
              <a:rPr lang="de-DE" sz="3200" b="1"/>
              <a:t>…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6541884" y="1690814"/>
            <a:ext cx="5271968" cy="5242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„Work smarter, not harder“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ew technical features required to adopt to new reality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New responsibilities for workforce emerged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Scaling of skill landscape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Dramatically limited financial resources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pic>
        <p:nvPicPr>
          <p:cNvPr id="17" name="Grafik 2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7056"/>
            <a:ext cx="358137" cy="28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95629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C51AA7C-8AD7-494E-9F76-CE044133C2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" name="Grafik 6">
            <a:extLst>
              <a:ext uri="{FF2B5EF4-FFF2-40B4-BE49-F238E27FC236}">
                <a16:creationId xmlns:a16="http://schemas.microsoft.com/office/drawing/2014/main" id="{280D3721-903E-3C49-8398-F6D5B89B19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6224" y="2782"/>
            <a:ext cx="5703724" cy="6855218"/>
          </a:xfrm>
          <a:prstGeom prst="rect">
            <a:avLst/>
          </a:prstGeom>
        </p:spPr>
      </p:pic>
      <p:pic>
        <p:nvPicPr>
          <p:cNvPr id="25" name="Grafik 21">
            <a:extLst>
              <a:ext uri="{FF2B5EF4-FFF2-40B4-BE49-F238E27FC236}">
                <a16:creationId xmlns:a16="http://schemas.microsoft.com/office/drawing/2014/main" id="{9027130C-98CB-D043-83C1-0F2DE75EDB8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1390" y="6207056"/>
            <a:ext cx="358137" cy="286509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D61AC8D-8F94-B941-BD58-E7803C776ED1}"/>
              </a:ext>
            </a:extLst>
          </p:cNvPr>
          <p:cNvGrpSpPr/>
          <p:nvPr/>
        </p:nvGrpSpPr>
        <p:grpSpPr>
          <a:xfrm>
            <a:off x="502213" y="838905"/>
            <a:ext cx="5465653" cy="4465056"/>
            <a:chOff x="405961" y="806919"/>
            <a:chExt cx="5465653" cy="4465056"/>
          </a:xfrm>
        </p:grpSpPr>
        <p:sp>
          <p:nvSpPr>
            <p:cNvPr id="26" name="Rechteck 5">
              <a:extLst>
                <a:ext uri="{FF2B5EF4-FFF2-40B4-BE49-F238E27FC236}">
                  <a16:creationId xmlns:a16="http://schemas.microsoft.com/office/drawing/2014/main" id="{02A4E16B-1B0B-1C4D-9D60-CF59148F0BAE}"/>
                </a:ext>
              </a:extLst>
            </p:cNvPr>
            <p:cNvSpPr/>
            <p:nvPr/>
          </p:nvSpPr>
          <p:spPr bwMode="gray">
            <a:xfrm>
              <a:off x="405961" y="806920"/>
              <a:ext cx="2618027" cy="2126951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DevOps coaching</a:t>
              </a:r>
            </a:p>
          </p:txBody>
        </p:sp>
        <p:sp>
          <p:nvSpPr>
            <p:cNvPr id="27" name="Rechteck 5">
              <a:extLst>
                <a:ext uri="{FF2B5EF4-FFF2-40B4-BE49-F238E27FC236}">
                  <a16:creationId xmlns:a16="http://schemas.microsoft.com/office/drawing/2014/main" id="{FD2F7EDE-EBA5-0248-BC4A-3C60D8DD1088}"/>
                </a:ext>
              </a:extLst>
            </p:cNvPr>
            <p:cNvSpPr/>
            <p:nvPr/>
          </p:nvSpPr>
          <p:spPr bwMode="gray">
            <a:xfrm>
              <a:off x="3253587" y="806919"/>
              <a:ext cx="2618027" cy="2126951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Metrics</a:t>
              </a:r>
            </a:p>
          </p:txBody>
        </p:sp>
        <p:sp>
          <p:nvSpPr>
            <p:cNvPr id="28" name="Rechteck 5">
              <a:extLst>
                <a:ext uri="{FF2B5EF4-FFF2-40B4-BE49-F238E27FC236}">
                  <a16:creationId xmlns:a16="http://schemas.microsoft.com/office/drawing/2014/main" id="{C318BD00-FC42-364F-B1C1-544863EC7562}"/>
                </a:ext>
              </a:extLst>
            </p:cNvPr>
            <p:cNvSpPr/>
            <p:nvPr/>
          </p:nvSpPr>
          <p:spPr bwMode="gray">
            <a:xfrm>
              <a:off x="3253587" y="3145024"/>
              <a:ext cx="2618027" cy="2126951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for:ward</a:t>
              </a:r>
              <a:endPara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UITypeLight"/>
                <a:ea typeface="+mn-ea"/>
                <a:cs typeface="+mn-cs"/>
              </a:endParaRPr>
            </a:p>
          </p:txBody>
        </p:sp>
        <p:sp>
          <p:nvSpPr>
            <p:cNvPr id="29" name="Rechteck 5">
              <a:extLst>
                <a:ext uri="{FF2B5EF4-FFF2-40B4-BE49-F238E27FC236}">
                  <a16:creationId xmlns:a16="http://schemas.microsoft.com/office/drawing/2014/main" id="{8E8D68EA-1F8B-AA4B-A499-CE9ECD5D74BD}"/>
                </a:ext>
              </a:extLst>
            </p:cNvPr>
            <p:cNvSpPr/>
            <p:nvPr/>
          </p:nvSpPr>
          <p:spPr bwMode="gray">
            <a:xfrm>
              <a:off x="405961" y="3145024"/>
              <a:ext cx="2618027" cy="2126951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6161" tIns="38080" rIns="76161" bIns="380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7252" rtl="0" eaLnBrk="0" fontAlgn="base" latinLnBrk="0" hangingPunct="0">
                <a:lnSpc>
                  <a:spcPct val="95000"/>
                </a:lnSpc>
                <a:spcBef>
                  <a:spcPts val="317"/>
                </a:spcBef>
                <a:spcAft>
                  <a:spcPts val="635"/>
                </a:spcAft>
                <a:buClr>
                  <a:srgbClr val="092A5E"/>
                </a:buClr>
                <a:buSzPct val="100000"/>
                <a:buFont typeface="Wingdings" pitchFamily="2" charset="2"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UITypeLight"/>
                  <a:ea typeface="+mn-ea"/>
                  <a:cs typeface="+mn-cs"/>
                </a:rPr>
                <a:t>Organiz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410427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8C0220AF-A88E-1D43-95D0-DCEF70C581AB}"/>
              </a:ext>
            </a:extLst>
          </p:cNvPr>
          <p:cNvSpPr txBox="1"/>
          <p:nvPr/>
        </p:nvSpPr>
        <p:spPr>
          <a:xfrm>
            <a:off x="6096000" y="1497697"/>
            <a:ext cx="5271968" cy="348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Established DevOps CoP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Best practices – tool expertise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DevOps Maturity Model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n-ea"/>
                <a:cs typeface="+mn-cs"/>
              </a:rPr>
              <a:t>Metrics</a:t>
            </a:r>
          </a:p>
          <a:p>
            <a:pPr marL="342900" marR="0" lvl="0" indent="-342900" algn="l" defTabSz="14255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092A5E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  <a:tab pos="2085975" algn="l"/>
                <a:tab pos="4171950" algn="l"/>
                <a:tab pos="6267450" algn="l"/>
              </a:tabLst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092A5E"/>
              </a:solidFill>
              <a:effectLst/>
              <a:uLnTx/>
              <a:uFillTx/>
              <a:latin typeface="TUITypeLight"/>
              <a:ea typeface="+mn-ea"/>
              <a:cs typeface="+mn-cs"/>
            </a:endParaRPr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B9F0B6F6-06D6-6047-B972-730150000639}"/>
              </a:ext>
            </a:extLst>
          </p:cNvPr>
          <p:cNvSpPr txBox="1">
            <a:spLocks/>
          </p:cNvSpPr>
          <p:nvPr/>
        </p:nvSpPr>
        <p:spPr bwMode="gray">
          <a:xfrm>
            <a:off x="5262288" y="411591"/>
            <a:ext cx="6105680" cy="799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29890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539" b="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2pPr>
            <a:lvl3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3pPr>
            <a:lvl4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4pPr>
            <a:lvl5pPr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5pPr>
            <a:lvl6pPr marL="483626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6pPr>
            <a:lvl7pPr marL="967252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7pPr>
            <a:lvl8pPr marL="1450878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8pPr>
            <a:lvl9pPr marL="1934505" algn="l" defTabSz="298908" rtl="0" eaLnBrk="1" fontAlgn="base" hangingPunct="1">
              <a:lnSpc>
                <a:spcPts val="3279"/>
              </a:lnSpc>
              <a:spcBef>
                <a:spcPct val="0"/>
              </a:spcBef>
              <a:spcAft>
                <a:spcPct val="0"/>
              </a:spcAft>
              <a:tabLst>
                <a:tab pos="298908" algn="l"/>
              </a:tabLst>
              <a:defRPr sz="2962">
                <a:solidFill>
                  <a:schemeClr val="tx2"/>
                </a:solidFill>
                <a:latin typeface="TUIType" pitchFamily="34" charset="0"/>
              </a:defRPr>
            </a:lvl9pPr>
          </a:lstStyle>
          <a:p>
            <a:pPr marL="0" marR="0" lvl="0" indent="0" algn="ctr" defTabSz="29890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98908" algn="l"/>
              </a:tabLst>
              <a:defRPr/>
            </a:pPr>
            <a:r>
              <a:rPr kumimoji="0" lang="de-DE" sz="3200" b="1" i="0" u="none" strike="noStrike" kern="0" cap="none" spc="0" normalizeH="0" baseline="0" noProof="0" err="1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j-ea"/>
                <a:cs typeface="+mj-cs"/>
              </a:rPr>
              <a:t>DevOps</a:t>
            </a:r>
            <a:r>
              <a:rPr kumimoji="0" lang="de-DE" sz="3200" b="1" i="0" u="none" strike="noStrike" kern="0" cap="none" spc="0" normalizeH="0" baseline="0" noProof="0">
                <a:ln>
                  <a:noFill/>
                </a:ln>
                <a:solidFill>
                  <a:srgbClr val="092A5E"/>
                </a:solidFill>
                <a:effectLst/>
                <a:uLnTx/>
                <a:uFillTx/>
                <a:latin typeface="TUITypeLight"/>
                <a:ea typeface="+mj-ea"/>
                <a:cs typeface="+mj-cs"/>
              </a:rPr>
              <a:t> Coaching</a:t>
            </a:r>
          </a:p>
        </p:txBody>
      </p:sp>
      <p:pic>
        <p:nvPicPr>
          <p:cNvPr id="138242" name="Picture 2">
            <a:extLst>
              <a:ext uri="{FF2B5EF4-FFF2-40B4-BE49-F238E27FC236}">
                <a16:creationId xmlns:a16="http://schemas.microsoft.com/office/drawing/2014/main" id="{E68AE041-FE3D-7847-8019-A5027F21C5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334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5F24315F-C6A3-DA4C-8632-F313ED0A671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0768" y="4383263"/>
            <a:ext cx="3286800" cy="185775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5FF1061-F303-C24F-8311-1372CEF3DA9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5128" y="4383262"/>
            <a:ext cx="3286800" cy="185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73199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Y_SXevAp1hsh4s_KBr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d3fYfrt6dgK2PdFS2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QzstxvfSukzkEMQ1_W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mTz73jxmq6jFamovuE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lzAGHme2fVVDbZyy33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TvpKy47Jm6u88vAk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XIJZlcyJs0bQxr9bMk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UZg_o6uZqtaw1zhs3k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IR96s9K69InKluTMcXig"/>
</p:tagLst>
</file>

<file path=ppt/theme/theme1.xml><?xml version="1.0" encoding="utf-8"?>
<a:theme xmlns:a="http://schemas.openxmlformats.org/drawingml/2006/main" name="TUI_PowerPoint_Template_16x9_FINAL_20160928">
  <a:themeElements>
    <a:clrScheme name="TUI">
      <a:dk1>
        <a:srgbClr val="092A5E"/>
      </a:dk1>
      <a:lt1>
        <a:srgbClr val="FFFFFF"/>
      </a:lt1>
      <a:dk2>
        <a:srgbClr val="737373"/>
      </a:dk2>
      <a:lt2>
        <a:srgbClr val="DCDCDC"/>
      </a:lt2>
      <a:accent1>
        <a:srgbClr val="092A5E"/>
      </a:accent1>
      <a:accent2>
        <a:srgbClr val="C2E6FA"/>
      </a:accent2>
      <a:accent3>
        <a:srgbClr val="70CBF4"/>
      </a:accent3>
      <a:accent4>
        <a:srgbClr val="D40E14"/>
      </a:accent4>
      <a:accent5>
        <a:srgbClr val="FFE100"/>
      </a:accent5>
      <a:accent6>
        <a:srgbClr val="AAD700"/>
      </a:accent6>
      <a:hlink>
        <a:srgbClr val="000000"/>
      </a:hlink>
      <a:folHlink>
        <a:srgbClr val="000000"/>
      </a:folHlink>
    </a:clrScheme>
    <a:fontScheme name="Benutzerdefiniert 113">
      <a:majorFont>
        <a:latin typeface="TUITypeLight"/>
        <a:ea typeface=""/>
        <a:cs typeface=""/>
      </a:majorFont>
      <a:minorFont>
        <a:latin typeface="TUIType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>
            <a:alpha val="89000"/>
          </a:srgbClr>
        </a:solidFill>
        <a:ln>
          <a:noFill/>
        </a:ln>
      </a:spPr>
      <a:bodyPr lIns="82800" tIns="46800" rIns="82800" bIns="46800" anchor="ctr"/>
      <a:lstStyle>
        <a:defPPr fontAlgn="auto">
          <a:spcBef>
            <a:spcPts val="0"/>
          </a:spcBef>
          <a:spcAft>
            <a:spcPts val="0"/>
          </a:spcAft>
          <a:buClr>
            <a:srgbClr val="092A5E"/>
          </a:buClr>
          <a:defRPr sz="1800" kern="0" dirty="0" smtClean="0">
            <a:solidFill>
              <a:sysClr val="windowText" lastClr="000000"/>
            </a:solidFill>
            <a:latin typeface="+mn-lt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marL="177800" indent="-177800" algn="l" defTabSz="1425575" eaLnBrk="1" hangingPunct="1">
          <a:spcBef>
            <a:spcPts val="600"/>
          </a:spcBef>
          <a:spcAft>
            <a:spcPts val="0"/>
          </a:spcAft>
          <a:buClrTx/>
          <a:buSzPct val="100000"/>
          <a:buFont typeface="TUIType" pitchFamily="34" charset="0"/>
          <a:buChar char="•"/>
          <a:tabLst>
            <a:tab pos="266700" algn="l"/>
            <a:tab pos="2085975" algn="l"/>
            <a:tab pos="4171950" algn="l"/>
            <a:tab pos="6267450" algn="l"/>
          </a:tabLst>
          <a:defRPr sz="1400" kern="0" dirty="0" err="1">
            <a:solidFill>
              <a:srgbClr val="092A5E"/>
            </a:solidFill>
            <a:latin typeface="TUITypeLight"/>
          </a:defRPr>
        </a:defPPr>
      </a:lstStyle>
    </a:txDef>
  </a:objectDefaults>
  <a:extraClrSchemeLst>
    <a:extraClrScheme>
      <a:clrScheme name="ppt_template 1">
        <a:dk1>
          <a:srgbClr val="000000"/>
        </a:dk1>
        <a:lt1>
          <a:srgbClr val="FFFFFF"/>
        </a:lt1>
        <a:dk2>
          <a:srgbClr val="092A5E"/>
        </a:dk2>
        <a:lt2>
          <a:srgbClr val="9B9B9B"/>
        </a:lt2>
        <a:accent1>
          <a:srgbClr val="6699FF"/>
        </a:accent1>
        <a:accent2>
          <a:srgbClr val="C8E6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B5D0E7"/>
        </a:accent6>
        <a:hlink>
          <a:srgbClr val="FF8800"/>
        </a:hlink>
        <a:folHlink>
          <a:srgbClr val="002D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I GROUP_POTX_Template_16x9_20160827.potx" id="{25211C2D-5FCA-4DAD-9343-88EDE5790FA8}" vid="{001E1DB3-063D-4FDE-9CE9-8E35444630F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9</Words>
  <Application>Microsoft Macintosh PowerPoint</Application>
  <PresentationFormat>Widescreen</PresentationFormat>
  <Paragraphs>232</Paragraphs>
  <Slides>2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TUIType</vt:lpstr>
      <vt:lpstr>TUITypeLight</vt:lpstr>
      <vt:lpstr>Wingdings</vt:lpstr>
      <vt:lpstr>TUI_PowerPoint_Template_16x9_FINAL_20160928</vt:lpstr>
      <vt:lpstr>think-cell Folie</vt:lpstr>
      <vt:lpstr>Who are we?</vt:lpstr>
      <vt:lpstr>TUI before the Corona crisis: world market leader in tourism </vt:lpstr>
      <vt:lpstr>Where we started</vt:lpstr>
      <vt:lpstr>PowerPoint Presentation</vt:lpstr>
      <vt:lpstr>Skill Shortage … by 2025: </vt:lpstr>
      <vt:lpstr>…and then Covid came around:</vt:lpstr>
      <vt:lpstr>What we had to cope with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NE IT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 are we?</dc:title>
  <dc:creator>Rudolph, Christian</dc:creator>
  <cp:lastModifiedBy>Alex Broderick-Forster</cp:lastModifiedBy>
  <cp:revision>2</cp:revision>
  <dcterms:created xsi:type="dcterms:W3CDTF">2021-04-27T15:33:54Z</dcterms:created>
  <dcterms:modified xsi:type="dcterms:W3CDTF">2021-05-14T19:54:33Z</dcterms:modified>
</cp:coreProperties>
</file>